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4.xml" ContentType="application/vnd.openxmlformats-officedocument.themeOverride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256" r:id="rId2"/>
    <p:sldId id="269" r:id="rId3"/>
    <p:sldId id="258" r:id="rId4"/>
    <p:sldId id="270" r:id="rId5"/>
    <p:sldId id="271" r:id="rId6"/>
    <p:sldId id="272" r:id="rId7"/>
    <p:sldId id="275" r:id="rId8"/>
    <p:sldId id="276" r:id="rId9"/>
    <p:sldId id="281" r:id="rId10"/>
    <p:sldId id="282" r:id="rId11"/>
    <p:sldId id="283" r:id="rId12"/>
    <p:sldId id="284" r:id="rId13"/>
    <p:sldId id="277" r:id="rId14"/>
    <p:sldId id="278" r:id="rId15"/>
    <p:sldId id="285" r:id="rId16"/>
    <p:sldId id="286" r:id="rId17"/>
    <p:sldId id="287" r:id="rId18"/>
    <p:sldId id="288" r:id="rId19"/>
    <p:sldId id="289" r:id="rId20"/>
    <p:sldId id="290" r:id="rId21"/>
    <p:sldId id="291" r:id="rId22"/>
    <p:sldId id="292" r:id="rId23"/>
    <p:sldId id="279" r:id="rId24"/>
    <p:sldId id="280" r:id="rId25"/>
    <p:sldId id="293" r:id="rId26"/>
    <p:sldId id="294" r:id="rId27"/>
    <p:sldId id="273" r:id="rId28"/>
    <p:sldId id="274" r:id="rId29"/>
    <p:sldId id="295" r:id="rId30"/>
    <p:sldId id="296" r:id="rId31"/>
    <p:sldId id="297" r:id="rId32"/>
    <p:sldId id="298" r:id="rId33"/>
    <p:sldId id="299" r:id="rId34"/>
    <p:sldId id="300" r:id="rId35"/>
    <p:sldId id="301" r:id="rId36"/>
    <p:sldId id="261" r:id="rId37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D9E0FF"/>
    <a:srgbClr val="F0F0F0"/>
    <a:srgbClr val="93A8FF"/>
    <a:srgbClr val="002CE6"/>
    <a:srgbClr val="FF7711"/>
    <a:srgbClr val="FF8D37"/>
    <a:srgbClr val="C7450B"/>
    <a:srgbClr val="FFFFFF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3325" autoAdjust="0"/>
  </p:normalViewPr>
  <p:slideViewPr>
    <p:cSldViewPr snapToGrid="0">
      <p:cViewPr varScale="1">
        <p:scale>
          <a:sx n="60" d="100"/>
          <a:sy n="60" d="100"/>
        </p:scale>
        <p:origin x="72" y="58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4/1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zh-CN" altLang="en-US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冲：用冷水冲</a:t>
            </a:r>
            <a:r>
              <a:rPr lang="en-US" altLang="zh-CN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;</a:t>
            </a:r>
          </a:p>
          <a:p>
            <a:pPr algn="l"/>
            <a:r>
              <a:rPr lang="zh-CN" altLang="en-US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脱：冲水后或浸泡在冷水中脱去表面衣物</a:t>
            </a:r>
            <a:r>
              <a:rPr lang="en-US" altLang="zh-CN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;</a:t>
            </a:r>
          </a:p>
          <a:p>
            <a:pPr algn="l"/>
            <a:r>
              <a:rPr lang="zh-CN" altLang="en-US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盖：用干净的纱布覆盖创面</a:t>
            </a:r>
            <a:r>
              <a:rPr lang="en-US" altLang="zh-CN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;</a:t>
            </a:r>
          </a:p>
          <a:p>
            <a:pPr algn="l"/>
            <a:r>
              <a:rPr lang="zh-CN" altLang="en-US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泡：泡在冷水中</a:t>
            </a:r>
            <a:r>
              <a:rPr lang="en-US" altLang="zh-CN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;</a:t>
            </a:r>
          </a:p>
          <a:p>
            <a:pPr algn="l"/>
            <a:r>
              <a:rPr lang="zh-CN" altLang="en-US" b="0" i="0" dirty="0">
                <a:solidFill>
                  <a:srgbClr val="555555"/>
                </a:solidFill>
                <a:effectLst/>
                <a:latin typeface="arial" panose="020B0604020202020204" pitchFamily="34" charset="0"/>
              </a:rPr>
              <a:t>送：送至医院。</a:t>
            </a: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265176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9" name="组合 10288">
            <a:extLst>
              <a:ext uri="{FF2B5EF4-FFF2-40B4-BE49-F238E27FC236}">
                <a16:creationId xmlns:a16="http://schemas.microsoft.com/office/drawing/2014/main" id="{78ADF754-8232-4AA3-B53C-BDC82F64AF67}"/>
              </a:ext>
            </a:extLst>
          </p:cNvPr>
          <p:cNvGrpSpPr/>
          <p:nvPr userDrawn="1"/>
        </p:nvGrpSpPr>
        <p:grpSpPr>
          <a:xfrm>
            <a:off x="7790935" y="732429"/>
            <a:ext cx="3640653" cy="4320293"/>
            <a:chOff x="7790935" y="732429"/>
            <a:chExt cx="3640653" cy="4320293"/>
          </a:xfrm>
        </p:grpSpPr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1996DD66-37FC-44B4-83E7-1347E211758D}"/>
                </a:ext>
              </a:extLst>
            </p:cNvPr>
            <p:cNvSpPr/>
            <p:nvPr/>
          </p:nvSpPr>
          <p:spPr>
            <a:xfrm>
              <a:off x="8581503" y="3888967"/>
              <a:ext cx="713037" cy="673424"/>
            </a:xfrm>
            <a:custGeom>
              <a:avLst/>
              <a:gdLst>
                <a:gd name="connsiteX0" fmla="*/ 861974 w 919929"/>
                <a:gd name="connsiteY0" fmla="*/ 654888 h 868822"/>
                <a:gd name="connsiteX1" fmla="*/ 820475 w 919929"/>
                <a:gd name="connsiteY1" fmla="*/ 599283 h 868822"/>
                <a:gd name="connsiteX2" fmla="*/ 824359 w 919929"/>
                <a:gd name="connsiteY2" fmla="*/ 591208 h 868822"/>
                <a:gd name="connsiteX3" fmla="*/ 859419 w 919929"/>
                <a:gd name="connsiteY3" fmla="*/ 445451 h 868822"/>
                <a:gd name="connsiteX4" fmla="*/ 859623 w 919929"/>
                <a:gd name="connsiteY4" fmla="*/ 436558 h 868822"/>
                <a:gd name="connsiteX5" fmla="*/ 922485 w 919929"/>
                <a:gd name="connsiteY5" fmla="*/ 403440 h 868822"/>
                <a:gd name="connsiteX6" fmla="*/ 907971 w 919929"/>
                <a:gd name="connsiteY6" fmla="*/ 322895 h 868822"/>
                <a:gd name="connsiteX7" fmla="*/ 837034 w 919929"/>
                <a:gd name="connsiteY7" fmla="*/ 311243 h 868822"/>
                <a:gd name="connsiteX8" fmla="*/ 833763 w 919929"/>
                <a:gd name="connsiteY8" fmla="*/ 302964 h 868822"/>
                <a:gd name="connsiteX9" fmla="*/ 749641 w 919929"/>
                <a:gd name="connsiteY9" fmla="*/ 176422 h 868822"/>
                <a:gd name="connsiteX10" fmla="*/ 743201 w 919929"/>
                <a:gd name="connsiteY10" fmla="*/ 169983 h 868822"/>
                <a:gd name="connsiteX11" fmla="*/ 762928 w 919929"/>
                <a:gd name="connsiteY11" fmla="*/ 104463 h 868822"/>
                <a:gd name="connsiteX12" fmla="*/ 692401 w 919929"/>
                <a:gd name="connsiteY12" fmla="*/ 57240 h 868822"/>
                <a:gd name="connsiteX13" fmla="*/ 633627 w 919929"/>
                <a:gd name="connsiteY13" fmla="*/ 96490 h 868822"/>
                <a:gd name="connsiteX14" fmla="*/ 625041 w 919929"/>
                <a:gd name="connsiteY14" fmla="*/ 92811 h 868822"/>
                <a:gd name="connsiteX15" fmla="*/ 471004 w 919929"/>
                <a:gd name="connsiteY15" fmla="*/ 59693 h 868822"/>
                <a:gd name="connsiteX16" fmla="*/ 461600 w 919929"/>
                <a:gd name="connsiteY16" fmla="*/ 59489 h 868822"/>
                <a:gd name="connsiteX17" fmla="*/ 426541 w 919929"/>
                <a:gd name="connsiteY17" fmla="*/ 0 h 868822"/>
                <a:gd name="connsiteX18" fmla="*/ 341294 w 919929"/>
                <a:gd name="connsiteY18" fmla="*/ 13697 h 868822"/>
                <a:gd name="connsiteX19" fmla="*/ 329028 w 919929"/>
                <a:gd name="connsiteY19" fmla="*/ 80852 h 868822"/>
                <a:gd name="connsiteX20" fmla="*/ 320238 w 919929"/>
                <a:gd name="connsiteY20" fmla="*/ 83918 h 868822"/>
                <a:gd name="connsiteX21" fmla="*/ 186439 w 919929"/>
                <a:gd name="connsiteY21" fmla="*/ 163441 h 868822"/>
                <a:gd name="connsiteX22" fmla="*/ 179693 w 919929"/>
                <a:gd name="connsiteY22" fmla="*/ 169574 h 868822"/>
                <a:gd name="connsiteX23" fmla="*/ 110494 w 919929"/>
                <a:gd name="connsiteY23" fmla="*/ 150971 h 868822"/>
                <a:gd name="connsiteX24" fmla="*/ 60511 w 919929"/>
                <a:gd name="connsiteY24" fmla="*/ 217615 h 868822"/>
                <a:gd name="connsiteX25" fmla="*/ 102010 w 919929"/>
                <a:gd name="connsiteY25" fmla="*/ 273219 h 868822"/>
                <a:gd name="connsiteX26" fmla="*/ 98126 w 919929"/>
                <a:gd name="connsiteY26" fmla="*/ 281294 h 868822"/>
                <a:gd name="connsiteX27" fmla="*/ 63066 w 919929"/>
                <a:gd name="connsiteY27" fmla="*/ 427052 h 868822"/>
                <a:gd name="connsiteX28" fmla="*/ 62862 w 919929"/>
                <a:gd name="connsiteY28" fmla="*/ 435945 h 868822"/>
                <a:gd name="connsiteX29" fmla="*/ 0 w 919929"/>
                <a:gd name="connsiteY29" fmla="*/ 469062 h 868822"/>
                <a:gd name="connsiteX30" fmla="*/ 14514 w 919929"/>
                <a:gd name="connsiteY30" fmla="*/ 549607 h 868822"/>
                <a:gd name="connsiteX31" fmla="*/ 85451 w 919929"/>
                <a:gd name="connsiteY31" fmla="*/ 561260 h 868822"/>
                <a:gd name="connsiteX32" fmla="*/ 88722 w 919929"/>
                <a:gd name="connsiteY32" fmla="*/ 569539 h 868822"/>
                <a:gd name="connsiteX33" fmla="*/ 172845 w 919929"/>
                <a:gd name="connsiteY33" fmla="*/ 696080 h 868822"/>
                <a:gd name="connsiteX34" fmla="*/ 179284 w 919929"/>
                <a:gd name="connsiteY34" fmla="*/ 702520 h 868822"/>
                <a:gd name="connsiteX35" fmla="*/ 159659 w 919929"/>
                <a:gd name="connsiteY35" fmla="*/ 768039 h 868822"/>
                <a:gd name="connsiteX36" fmla="*/ 230187 w 919929"/>
                <a:gd name="connsiteY36" fmla="*/ 815262 h 868822"/>
                <a:gd name="connsiteX37" fmla="*/ 288960 w 919929"/>
                <a:gd name="connsiteY37" fmla="*/ 776012 h 868822"/>
                <a:gd name="connsiteX38" fmla="*/ 297546 w 919929"/>
                <a:gd name="connsiteY38" fmla="*/ 779692 h 868822"/>
                <a:gd name="connsiteX39" fmla="*/ 451583 w 919929"/>
                <a:gd name="connsiteY39" fmla="*/ 812809 h 868822"/>
                <a:gd name="connsiteX40" fmla="*/ 460987 w 919929"/>
                <a:gd name="connsiteY40" fmla="*/ 813014 h 868822"/>
                <a:gd name="connsiteX41" fmla="*/ 496047 w 919929"/>
                <a:gd name="connsiteY41" fmla="*/ 872503 h 868822"/>
                <a:gd name="connsiteX42" fmla="*/ 581191 w 919929"/>
                <a:gd name="connsiteY42" fmla="*/ 858806 h 868822"/>
                <a:gd name="connsiteX43" fmla="*/ 593457 w 919929"/>
                <a:gd name="connsiteY43" fmla="*/ 791651 h 868822"/>
                <a:gd name="connsiteX44" fmla="*/ 602248 w 919929"/>
                <a:gd name="connsiteY44" fmla="*/ 788584 h 868822"/>
                <a:gd name="connsiteX45" fmla="*/ 736046 w 919929"/>
                <a:gd name="connsiteY45" fmla="*/ 709061 h 868822"/>
                <a:gd name="connsiteX46" fmla="*/ 742792 w 919929"/>
                <a:gd name="connsiteY46" fmla="*/ 702929 h 868822"/>
                <a:gd name="connsiteX47" fmla="*/ 811991 w 919929"/>
                <a:gd name="connsiteY47" fmla="*/ 721532 h 868822"/>
                <a:gd name="connsiteX48" fmla="*/ 861974 w 919929"/>
                <a:gd name="connsiteY48" fmla="*/ 654888 h 868822"/>
                <a:gd name="connsiteX49" fmla="*/ 514036 w 919929"/>
                <a:gd name="connsiteY49" fmla="*/ 729811 h 868822"/>
                <a:gd name="connsiteX50" fmla="*/ 460476 w 919929"/>
                <a:gd name="connsiteY50" fmla="*/ 734104 h 868822"/>
                <a:gd name="connsiteX51" fmla="*/ 279045 w 919929"/>
                <a:gd name="connsiteY51" fmla="*/ 679215 h 868822"/>
                <a:gd name="connsiteX52" fmla="*/ 150766 w 919929"/>
                <a:gd name="connsiteY52" fmla="*/ 486336 h 868822"/>
                <a:gd name="connsiteX53" fmla="*/ 408244 w 919929"/>
                <a:gd name="connsiteY53" fmla="*/ 142896 h 868822"/>
                <a:gd name="connsiteX54" fmla="*/ 643133 w 919929"/>
                <a:gd name="connsiteY54" fmla="*/ 193492 h 868822"/>
                <a:gd name="connsiteX55" fmla="*/ 771412 w 919929"/>
                <a:gd name="connsiteY55" fmla="*/ 386371 h 868822"/>
                <a:gd name="connsiteX56" fmla="*/ 514036 w 919929"/>
                <a:gd name="connsiteY56" fmla="*/ 729811 h 86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919929" h="868822">
                  <a:moveTo>
                    <a:pt x="861974" y="654888"/>
                  </a:moveTo>
                  <a:lnTo>
                    <a:pt x="820475" y="599283"/>
                  </a:lnTo>
                  <a:lnTo>
                    <a:pt x="824359" y="591208"/>
                  </a:lnTo>
                  <a:cubicBezTo>
                    <a:pt x="846438" y="545110"/>
                    <a:pt x="858192" y="496149"/>
                    <a:pt x="859419" y="445451"/>
                  </a:cubicBezTo>
                  <a:lnTo>
                    <a:pt x="859623" y="436558"/>
                  </a:lnTo>
                  <a:lnTo>
                    <a:pt x="922485" y="403440"/>
                  </a:lnTo>
                  <a:lnTo>
                    <a:pt x="907971" y="322895"/>
                  </a:lnTo>
                  <a:lnTo>
                    <a:pt x="837034" y="311243"/>
                  </a:lnTo>
                  <a:lnTo>
                    <a:pt x="833763" y="302964"/>
                  </a:lnTo>
                  <a:cubicBezTo>
                    <a:pt x="814853" y="255536"/>
                    <a:pt x="786540" y="213015"/>
                    <a:pt x="749641" y="176422"/>
                  </a:cubicBezTo>
                  <a:lnTo>
                    <a:pt x="743201" y="169983"/>
                  </a:lnTo>
                  <a:lnTo>
                    <a:pt x="762928" y="104463"/>
                  </a:lnTo>
                  <a:lnTo>
                    <a:pt x="692401" y="57240"/>
                  </a:lnTo>
                  <a:lnTo>
                    <a:pt x="633627" y="96490"/>
                  </a:lnTo>
                  <a:lnTo>
                    <a:pt x="625041" y="92811"/>
                  </a:lnTo>
                  <a:cubicBezTo>
                    <a:pt x="576387" y="71959"/>
                    <a:pt x="524462" y="60818"/>
                    <a:pt x="471004" y="59693"/>
                  </a:cubicBezTo>
                  <a:lnTo>
                    <a:pt x="461600" y="59489"/>
                  </a:lnTo>
                  <a:lnTo>
                    <a:pt x="426541" y="0"/>
                  </a:lnTo>
                  <a:lnTo>
                    <a:pt x="341294" y="13697"/>
                  </a:lnTo>
                  <a:lnTo>
                    <a:pt x="329028" y="80852"/>
                  </a:lnTo>
                  <a:lnTo>
                    <a:pt x="320238" y="83918"/>
                  </a:lnTo>
                  <a:cubicBezTo>
                    <a:pt x="270153" y="101805"/>
                    <a:pt x="225076" y="128586"/>
                    <a:pt x="186439" y="163441"/>
                  </a:cubicBezTo>
                  <a:lnTo>
                    <a:pt x="179693" y="169574"/>
                  </a:lnTo>
                  <a:lnTo>
                    <a:pt x="110494" y="150971"/>
                  </a:lnTo>
                  <a:lnTo>
                    <a:pt x="60511" y="217615"/>
                  </a:lnTo>
                  <a:lnTo>
                    <a:pt x="102010" y="273219"/>
                  </a:lnTo>
                  <a:lnTo>
                    <a:pt x="98126" y="281294"/>
                  </a:lnTo>
                  <a:cubicBezTo>
                    <a:pt x="76048" y="327393"/>
                    <a:pt x="64293" y="376354"/>
                    <a:pt x="63066" y="427052"/>
                  </a:cubicBezTo>
                  <a:lnTo>
                    <a:pt x="62862" y="435945"/>
                  </a:lnTo>
                  <a:lnTo>
                    <a:pt x="0" y="469062"/>
                  </a:lnTo>
                  <a:lnTo>
                    <a:pt x="14514" y="549607"/>
                  </a:lnTo>
                  <a:lnTo>
                    <a:pt x="85451" y="561260"/>
                  </a:lnTo>
                  <a:lnTo>
                    <a:pt x="88722" y="569539"/>
                  </a:lnTo>
                  <a:cubicBezTo>
                    <a:pt x="107632" y="616967"/>
                    <a:pt x="135945" y="659488"/>
                    <a:pt x="172845" y="696080"/>
                  </a:cubicBezTo>
                  <a:lnTo>
                    <a:pt x="179284" y="702520"/>
                  </a:lnTo>
                  <a:lnTo>
                    <a:pt x="159659" y="768039"/>
                  </a:lnTo>
                  <a:lnTo>
                    <a:pt x="230187" y="815262"/>
                  </a:lnTo>
                  <a:lnTo>
                    <a:pt x="288960" y="776012"/>
                  </a:lnTo>
                  <a:lnTo>
                    <a:pt x="297546" y="779692"/>
                  </a:lnTo>
                  <a:cubicBezTo>
                    <a:pt x="346200" y="800544"/>
                    <a:pt x="398125" y="811685"/>
                    <a:pt x="451583" y="812809"/>
                  </a:cubicBezTo>
                  <a:lnTo>
                    <a:pt x="460987" y="813014"/>
                  </a:lnTo>
                  <a:lnTo>
                    <a:pt x="496047" y="872503"/>
                  </a:lnTo>
                  <a:lnTo>
                    <a:pt x="581191" y="858806"/>
                  </a:lnTo>
                  <a:lnTo>
                    <a:pt x="593457" y="791651"/>
                  </a:lnTo>
                  <a:lnTo>
                    <a:pt x="602248" y="788584"/>
                  </a:lnTo>
                  <a:cubicBezTo>
                    <a:pt x="652333" y="770697"/>
                    <a:pt x="697409" y="743917"/>
                    <a:pt x="736046" y="709061"/>
                  </a:cubicBezTo>
                  <a:lnTo>
                    <a:pt x="742792" y="702929"/>
                  </a:lnTo>
                  <a:lnTo>
                    <a:pt x="811991" y="721532"/>
                  </a:lnTo>
                  <a:lnTo>
                    <a:pt x="861974" y="654888"/>
                  </a:lnTo>
                  <a:close/>
                  <a:moveTo>
                    <a:pt x="514036" y="729811"/>
                  </a:moveTo>
                  <a:cubicBezTo>
                    <a:pt x="496149" y="732673"/>
                    <a:pt x="478261" y="734104"/>
                    <a:pt x="460476" y="734104"/>
                  </a:cubicBezTo>
                  <a:cubicBezTo>
                    <a:pt x="395877" y="734104"/>
                    <a:pt x="332912" y="715297"/>
                    <a:pt x="279045" y="679215"/>
                  </a:cubicBezTo>
                  <a:cubicBezTo>
                    <a:pt x="210459" y="633219"/>
                    <a:pt x="164872" y="564735"/>
                    <a:pt x="150766" y="486336"/>
                  </a:cubicBezTo>
                  <a:cubicBezTo>
                    <a:pt x="121635" y="324531"/>
                    <a:pt x="237137" y="170494"/>
                    <a:pt x="408244" y="142896"/>
                  </a:cubicBezTo>
                  <a:cubicBezTo>
                    <a:pt x="491140" y="129506"/>
                    <a:pt x="574547" y="147495"/>
                    <a:pt x="643133" y="193492"/>
                  </a:cubicBezTo>
                  <a:cubicBezTo>
                    <a:pt x="711719" y="239488"/>
                    <a:pt x="757307" y="307972"/>
                    <a:pt x="771412" y="386371"/>
                  </a:cubicBezTo>
                  <a:cubicBezTo>
                    <a:pt x="800748" y="548176"/>
                    <a:pt x="685246" y="702213"/>
                    <a:pt x="514036" y="72981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EA96F605-4EF9-4FF9-8F56-7DA99DCAAF70}"/>
                </a:ext>
              </a:extLst>
            </p:cNvPr>
            <p:cNvSpPr/>
            <p:nvPr/>
          </p:nvSpPr>
          <p:spPr>
            <a:xfrm>
              <a:off x="9116201" y="4398392"/>
              <a:ext cx="522893" cy="491203"/>
            </a:xfrm>
            <a:custGeom>
              <a:avLst/>
              <a:gdLst>
                <a:gd name="connsiteX0" fmla="*/ 603781 w 674615"/>
                <a:gd name="connsiteY0" fmla="*/ 433185 h 633729"/>
                <a:gd name="connsiteX1" fmla="*/ 629437 w 674615"/>
                <a:gd name="connsiteY1" fmla="*/ 326473 h 633729"/>
                <a:gd name="connsiteX2" fmla="*/ 629641 w 674615"/>
                <a:gd name="connsiteY2" fmla="*/ 317580 h 633729"/>
                <a:gd name="connsiteX3" fmla="*/ 675842 w 674615"/>
                <a:gd name="connsiteY3" fmla="*/ 293253 h 633729"/>
                <a:gd name="connsiteX4" fmla="*/ 666131 w 674615"/>
                <a:gd name="connsiteY4" fmla="*/ 238977 h 633729"/>
                <a:gd name="connsiteX5" fmla="*/ 614002 w 674615"/>
                <a:gd name="connsiteY5" fmla="*/ 230493 h 633729"/>
                <a:gd name="connsiteX6" fmla="*/ 610731 w 674615"/>
                <a:gd name="connsiteY6" fmla="*/ 222214 h 633729"/>
                <a:gd name="connsiteX7" fmla="*/ 549198 w 674615"/>
                <a:gd name="connsiteY7" fmla="*/ 129608 h 633729"/>
                <a:gd name="connsiteX8" fmla="*/ 542759 w 674615"/>
                <a:gd name="connsiteY8" fmla="*/ 123168 h 633729"/>
                <a:gd name="connsiteX9" fmla="*/ 557273 w 674615"/>
                <a:gd name="connsiteY9" fmla="*/ 75025 h 633729"/>
                <a:gd name="connsiteX10" fmla="*/ 509743 w 674615"/>
                <a:gd name="connsiteY10" fmla="*/ 43135 h 633729"/>
                <a:gd name="connsiteX11" fmla="*/ 466507 w 674615"/>
                <a:gd name="connsiteY11" fmla="*/ 71959 h 633729"/>
                <a:gd name="connsiteX12" fmla="*/ 457921 w 674615"/>
                <a:gd name="connsiteY12" fmla="*/ 68279 h 633729"/>
                <a:gd name="connsiteX13" fmla="*/ 345076 w 674615"/>
                <a:gd name="connsiteY13" fmla="*/ 43952 h 633729"/>
                <a:gd name="connsiteX14" fmla="*/ 335672 w 674615"/>
                <a:gd name="connsiteY14" fmla="*/ 43748 h 633729"/>
                <a:gd name="connsiteX15" fmla="*/ 309914 w 674615"/>
                <a:gd name="connsiteY15" fmla="*/ 0 h 633729"/>
                <a:gd name="connsiteX16" fmla="*/ 252572 w 674615"/>
                <a:gd name="connsiteY16" fmla="*/ 9199 h 633729"/>
                <a:gd name="connsiteX17" fmla="*/ 243577 w 674615"/>
                <a:gd name="connsiteY17" fmla="*/ 58467 h 633729"/>
                <a:gd name="connsiteX18" fmla="*/ 234787 w 674615"/>
                <a:gd name="connsiteY18" fmla="*/ 61635 h 633729"/>
                <a:gd name="connsiteX19" fmla="*/ 136865 w 674615"/>
                <a:gd name="connsiteY19" fmla="*/ 119897 h 633729"/>
                <a:gd name="connsiteX20" fmla="*/ 130119 w 674615"/>
                <a:gd name="connsiteY20" fmla="*/ 126030 h 633729"/>
                <a:gd name="connsiteX21" fmla="*/ 79216 w 674615"/>
                <a:gd name="connsiteY21" fmla="*/ 112334 h 633729"/>
                <a:gd name="connsiteX22" fmla="*/ 45485 w 674615"/>
                <a:gd name="connsiteY22" fmla="*/ 157308 h 633729"/>
                <a:gd name="connsiteX23" fmla="*/ 75945 w 674615"/>
                <a:gd name="connsiteY23" fmla="*/ 198194 h 633729"/>
                <a:gd name="connsiteX24" fmla="*/ 72061 w 674615"/>
                <a:gd name="connsiteY24" fmla="*/ 206269 h 633729"/>
                <a:gd name="connsiteX25" fmla="*/ 46405 w 674615"/>
                <a:gd name="connsiteY25" fmla="*/ 312981 h 633729"/>
                <a:gd name="connsiteX26" fmla="*/ 46201 w 674615"/>
                <a:gd name="connsiteY26" fmla="*/ 321873 h 633729"/>
                <a:gd name="connsiteX27" fmla="*/ 0 w 674615"/>
                <a:gd name="connsiteY27" fmla="*/ 346200 h 633729"/>
                <a:gd name="connsiteX28" fmla="*/ 9813 w 674615"/>
                <a:gd name="connsiteY28" fmla="*/ 400476 h 633729"/>
                <a:gd name="connsiteX29" fmla="*/ 61942 w 674615"/>
                <a:gd name="connsiteY29" fmla="*/ 408960 h 633729"/>
                <a:gd name="connsiteX30" fmla="*/ 65213 w 674615"/>
                <a:gd name="connsiteY30" fmla="*/ 417239 h 633729"/>
                <a:gd name="connsiteX31" fmla="*/ 126746 w 674615"/>
                <a:gd name="connsiteY31" fmla="*/ 509846 h 633729"/>
                <a:gd name="connsiteX32" fmla="*/ 133185 w 674615"/>
                <a:gd name="connsiteY32" fmla="*/ 516285 h 633729"/>
                <a:gd name="connsiteX33" fmla="*/ 118773 w 674615"/>
                <a:gd name="connsiteY33" fmla="*/ 564428 h 633729"/>
                <a:gd name="connsiteX34" fmla="*/ 166201 w 674615"/>
                <a:gd name="connsiteY34" fmla="*/ 596319 h 633729"/>
                <a:gd name="connsiteX35" fmla="*/ 209437 w 674615"/>
                <a:gd name="connsiteY35" fmla="*/ 567494 h 633729"/>
                <a:gd name="connsiteX36" fmla="*/ 218023 w 674615"/>
                <a:gd name="connsiteY36" fmla="*/ 571174 h 633729"/>
                <a:gd name="connsiteX37" fmla="*/ 330868 w 674615"/>
                <a:gd name="connsiteY37" fmla="*/ 595501 h 633729"/>
                <a:gd name="connsiteX38" fmla="*/ 340272 w 674615"/>
                <a:gd name="connsiteY38" fmla="*/ 595705 h 633729"/>
                <a:gd name="connsiteX39" fmla="*/ 366030 w 674615"/>
                <a:gd name="connsiteY39" fmla="*/ 639453 h 633729"/>
                <a:gd name="connsiteX40" fmla="*/ 423475 w 674615"/>
                <a:gd name="connsiteY40" fmla="*/ 630254 h 633729"/>
                <a:gd name="connsiteX41" fmla="*/ 432469 w 674615"/>
                <a:gd name="connsiteY41" fmla="*/ 580885 h 633729"/>
                <a:gd name="connsiteX42" fmla="*/ 441260 w 674615"/>
                <a:gd name="connsiteY42" fmla="*/ 577818 h 633729"/>
                <a:gd name="connsiteX43" fmla="*/ 539181 w 674615"/>
                <a:gd name="connsiteY43" fmla="*/ 519556 h 633729"/>
                <a:gd name="connsiteX44" fmla="*/ 545927 w 674615"/>
                <a:gd name="connsiteY44" fmla="*/ 513423 h 633729"/>
                <a:gd name="connsiteX45" fmla="*/ 596830 w 674615"/>
                <a:gd name="connsiteY45" fmla="*/ 527120 h 633729"/>
                <a:gd name="connsiteX46" fmla="*/ 630561 w 674615"/>
                <a:gd name="connsiteY46" fmla="*/ 482145 h 633729"/>
                <a:gd name="connsiteX47" fmla="*/ 600101 w 674615"/>
                <a:gd name="connsiteY47" fmla="*/ 441260 h 633729"/>
                <a:gd name="connsiteX48" fmla="*/ 603781 w 674615"/>
                <a:gd name="connsiteY48" fmla="*/ 433185 h 633729"/>
                <a:gd name="connsiteX49" fmla="*/ 377887 w 674615"/>
                <a:gd name="connsiteY49" fmla="*/ 541634 h 633729"/>
                <a:gd name="connsiteX50" fmla="*/ 337410 w 674615"/>
                <a:gd name="connsiteY50" fmla="*/ 544905 h 633729"/>
                <a:gd name="connsiteX51" fmla="*/ 200238 w 674615"/>
                <a:gd name="connsiteY51" fmla="*/ 503406 h 633729"/>
                <a:gd name="connsiteX52" fmla="*/ 103237 w 674615"/>
                <a:gd name="connsiteY52" fmla="*/ 357546 h 633729"/>
                <a:gd name="connsiteX53" fmla="*/ 143713 w 674615"/>
                <a:gd name="connsiteY53" fmla="*/ 189505 h 633729"/>
                <a:gd name="connsiteX54" fmla="*/ 297955 w 674615"/>
                <a:gd name="connsiteY54" fmla="*/ 97819 h 633729"/>
                <a:gd name="connsiteX55" fmla="*/ 475604 w 674615"/>
                <a:gd name="connsiteY55" fmla="*/ 136047 h 633729"/>
                <a:gd name="connsiteX56" fmla="*/ 572605 w 674615"/>
                <a:gd name="connsiteY56" fmla="*/ 281907 h 633729"/>
                <a:gd name="connsiteX57" fmla="*/ 377887 w 674615"/>
                <a:gd name="connsiteY57" fmla="*/ 541634 h 63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74615" h="633729">
                  <a:moveTo>
                    <a:pt x="603781" y="433185"/>
                  </a:moveTo>
                  <a:cubicBezTo>
                    <a:pt x="619931" y="399454"/>
                    <a:pt x="628517" y="363577"/>
                    <a:pt x="629437" y="326473"/>
                  </a:cubicBezTo>
                  <a:lnTo>
                    <a:pt x="629641" y="317580"/>
                  </a:lnTo>
                  <a:lnTo>
                    <a:pt x="675842" y="293253"/>
                  </a:lnTo>
                  <a:lnTo>
                    <a:pt x="666131" y="238977"/>
                  </a:lnTo>
                  <a:lnTo>
                    <a:pt x="614002" y="230493"/>
                  </a:lnTo>
                  <a:lnTo>
                    <a:pt x="610731" y="222214"/>
                  </a:lnTo>
                  <a:cubicBezTo>
                    <a:pt x="596932" y="187563"/>
                    <a:pt x="576183" y="156388"/>
                    <a:pt x="549198" y="129608"/>
                  </a:cubicBezTo>
                  <a:lnTo>
                    <a:pt x="542759" y="123168"/>
                  </a:lnTo>
                  <a:lnTo>
                    <a:pt x="557273" y="75025"/>
                  </a:lnTo>
                  <a:lnTo>
                    <a:pt x="509743" y="43135"/>
                  </a:lnTo>
                  <a:lnTo>
                    <a:pt x="466507" y="71959"/>
                  </a:lnTo>
                  <a:lnTo>
                    <a:pt x="457921" y="68279"/>
                  </a:lnTo>
                  <a:cubicBezTo>
                    <a:pt x="422248" y="53049"/>
                    <a:pt x="384326" y="44872"/>
                    <a:pt x="345076" y="43952"/>
                  </a:cubicBezTo>
                  <a:lnTo>
                    <a:pt x="335672" y="43748"/>
                  </a:lnTo>
                  <a:lnTo>
                    <a:pt x="309914" y="0"/>
                  </a:lnTo>
                  <a:lnTo>
                    <a:pt x="252572" y="9199"/>
                  </a:lnTo>
                  <a:lnTo>
                    <a:pt x="243577" y="58467"/>
                  </a:lnTo>
                  <a:lnTo>
                    <a:pt x="234787" y="61635"/>
                  </a:lnTo>
                  <a:cubicBezTo>
                    <a:pt x="198092" y="74719"/>
                    <a:pt x="165179" y="94344"/>
                    <a:pt x="136865" y="119897"/>
                  </a:cubicBezTo>
                  <a:lnTo>
                    <a:pt x="130119" y="126030"/>
                  </a:lnTo>
                  <a:lnTo>
                    <a:pt x="79216" y="112334"/>
                  </a:lnTo>
                  <a:lnTo>
                    <a:pt x="45485" y="157308"/>
                  </a:lnTo>
                  <a:lnTo>
                    <a:pt x="75945" y="198194"/>
                  </a:lnTo>
                  <a:lnTo>
                    <a:pt x="72061" y="206269"/>
                  </a:lnTo>
                  <a:cubicBezTo>
                    <a:pt x="55911" y="239999"/>
                    <a:pt x="47325" y="275877"/>
                    <a:pt x="46405" y="312981"/>
                  </a:cubicBezTo>
                  <a:lnTo>
                    <a:pt x="46201" y="321873"/>
                  </a:lnTo>
                  <a:lnTo>
                    <a:pt x="0" y="346200"/>
                  </a:lnTo>
                  <a:lnTo>
                    <a:pt x="9813" y="400476"/>
                  </a:lnTo>
                  <a:lnTo>
                    <a:pt x="61942" y="408960"/>
                  </a:lnTo>
                  <a:lnTo>
                    <a:pt x="65213" y="417239"/>
                  </a:lnTo>
                  <a:cubicBezTo>
                    <a:pt x="79012" y="451890"/>
                    <a:pt x="99761" y="483065"/>
                    <a:pt x="126746" y="509846"/>
                  </a:cubicBezTo>
                  <a:lnTo>
                    <a:pt x="133185" y="516285"/>
                  </a:lnTo>
                  <a:lnTo>
                    <a:pt x="118773" y="564428"/>
                  </a:lnTo>
                  <a:lnTo>
                    <a:pt x="166201" y="596319"/>
                  </a:lnTo>
                  <a:lnTo>
                    <a:pt x="209437" y="567494"/>
                  </a:lnTo>
                  <a:lnTo>
                    <a:pt x="218023" y="571174"/>
                  </a:lnTo>
                  <a:cubicBezTo>
                    <a:pt x="253696" y="586404"/>
                    <a:pt x="291618" y="594581"/>
                    <a:pt x="330868" y="595501"/>
                  </a:cubicBezTo>
                  <a:lnTo>
                    <a:pt x="340272" y="595705"/>
                  </a:lnTo>
                  <a:lnTo>
                    <a:pt x="366030" y="639453"/>
                  </a:lnTo>
                  <a:lnTo>
                    <a:pt x="423475" y="630254"/>
                  </a:lnTo>
                  <a:lnTo>
                    <a:pt x="432469" y="580885"/>
                  </a:lnTo>
                  <a:lnTo>
                    <a:pt x="441260" y="577818"/>
                  </a:lnTo>
                  <a:cubicBezTo>
                    <a:pt x="477955" y="564735"/>
                    <a:pt x="510970" y="545110"/>
                    <a:pt x="539181" y="519556"/>
                  </a:cubicBezTo>
                  <a:lnTo>
                    <a:pt x="545927" y="513423"/>
                  </a:lnTo>
                  <a:lnTo>
                    <a:pt x="596830" y="527120"/>
                  </a:lnTo>
                  <a:lnTo>
                    <a:pt x="630561" y="482145"/>
                  </a:lnTo>
                  <a:lnTo>
                    <a:pt x="600101" y="441260"/>
                  </a:lnTo>
                  <a:lnTo>
                    <a:pt x="603781" y="433185"/>
                  </a:lnTo>
                  <a:close/>
                  <a:moveTo>
                    <a:pt x="377887" y="541634"/>
                  </a:moveTo>
                  <a:cubicBezTo>
                    <a:pt x="364394" y="543781"/>
                    <a:pt x="350800" y="544905"/>
                    <a:pt x="337410" y="544905"/>
                  </a:cubicBezTo>
                  <a:cubicBezTo>
                    <a:pt x="288551" y="544905"/>
                    <a:pt x="240920" y="530697"/>
                    <a:pt x="200238" y="503406"/>
                  </a:cubicBezTo>
                  <a:cubicBezTo>
                    <a:pt x="148415" y="468653"/>
                    <a:pt x="113867" y="416830"/>
                    <a:pt x="103237" y="357546"/>
                  </a:cubicBezTo>
                  <a:cubicBezTo>
                    <a:pt x="92606" y="298262"/>
                    <a:pt x="106916" y="238568"/>
                    <a:pt x="143713" y="189505"/>
                  </a:cubicBezTo>
                  <a:cubicBezTo>
                    <a:pt x="180511" y="140443"/>
                    <a:pt x="235298" y="107836"/>
                    <a:pt x="297955" y="97819"/>
                  </a:cubicBezTo>
                  <a:cubicBezTo>
                    <a:pt x="360613" y="87700"/>
                    <a:pt x="423781" y="101294"/>
                    <a:pt x="475604" y="136047"/>
                  </a:cubicBezTo>
                  <a:cubicBezTo>
                    <a:pt x="527427" y="170800"/>
                    <a:pt x="561975" y="222623"/>
                    <a:pt x="572605" y="281907"/>
                  </a:cubicBezTo>
                  <a:cubicBezTo>
                    <a:pt x="594581" y="404360"/>
                    <a:pt x="507290" y="520783"/>
                    <a:pt x="377887" y="54163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151AA5D7-A287-4FC8-A62F-C68BC4852D32}"/>
                </a:ext>
              </a:extLst>
            </p:cNvPr>
            <p:cNvSpPr/>
            <p:nvPr/>
          </p:nvSpPr>
          <p:spPr>
            <a:xfrm>
              <a:off x="7793365" y="734889"/>
              <a:ext cx="3636487" cy="4317833"/>
            </a:xfrm>
            <a:custGeom>
              <a:avLst/>
              <a:gdLst>
                <a:gd name="connsiteX0" fmla="*/ 4685094 w 4691642"/>
                <a:gd name="connsiteY0" fmla="*/ 5575389 h 5570686"/>
                <a:gd name="connsiteX1" fmla="*/ 4352489 w 4691642"/>
                <a:gd name="connsiteY1" fmla="*/ 5560874 h 5570686"/>
                <a:gd name="connsiteX2" fmla="*/ 4252216 w 4691642"/>
                <a:gd name="connsiteY2" fmla="*/ 5560977 h 5570686"/>
                <a:gd name="connsiteX3" fmla="*/ 3870956 w 4691642"/>
                <a:gd name="connsiteY3" fmla="*/ 5560465 h 5570686"/>
                <a:gd name="connsiteX4" fmla="*/ 3813410 w 4691642"/>
                <a:gd name="connsiteY4" fmla="*/ 5560465 h 5570686"/>
                <a:gd name="connsiteX5" fmla="*/ 3709866 w 4691642"/>
                <a:gd name="connsiteY5" fmla="*/ 5560261 h 5570686"/>
                <a:gd name="connsiteX6" fmla="*/ 3606221 w 4691642"/>
                <a:gd name="connsiteY6" fmla="*/ 5560057 h 5570686"/>
                <a:gd name="connsiteX7" fmla="*/ 3399441 w 4691642"/>
                <a:gd name="connsiteY7" fmla="*/ 5562510 h 5570686"/>
                <a:gd name="connsiteX8" fmla="*/ 3311843 w 4691642"/>
                <a:gd name="connsiteY8" fmla="*/ 5565678 h 5570686"/>
                <a:gd name="connsiteX9" fmla="*/ 3154535 w 4691642"/>
                <a:gd name="connsiteY9" fmla="*/ 5569869 h 5570686"/>
                <a:gd name="connsiteX10" fmla="*/ 2994570 w 4691642"/>
                <a:gd name="connsiteY10" fmla="*/ 5561078 h 5570686"/>
                <a:gd name="connsiteX11" fmla="*/ 2992832 w 4691642"/>
                <a:gd name="connsiteY11" fmla="*/ 5560874 h 5570686"/>
                <a:gd name="connsiteX12" fmla="*/ 2991810 w 4691642"/>
                <a:gd name="connsiteY12" fmla="*/ 5562101 h 5570686"/>
                <a:gd name="connsiteX13" fmla="*/ 2982917 w 4691642"/>
                <a:gd name="connsiteY13" fmla="*/ 5565678 h 5570686"/>
                <a:gd name="connsiteX14" fmla="*/ 2973309 w 4691642"/>
                <a:gd name="connsiteY14" fmla="*/ 5561181 h 5570686"/>
                <a:gd name="connsiteX15" fmla="*/ 2821316 w 4691642"/>
                <a:gd name="connsiteY15" fmla="*/ 5301045 h 5570686"/>
                <a:gd name="connsiteX16" fmla="*/ 2770720 w 4691642"/>
                <a:gd name="connsiteY16" fmla="*/ 5206701 h 5570686"/>
                <a:gd name="connsiteX17" fmla="*/ 2553208 w 4691642"/>
                <a:gd name="connsiteY17" fmla="*/ 4797435 h 5570686"/>
                <a:gd name="connsiteX18" fmla="*/ 2510482 w 4691642"/>
                <a:gd name="connsiteY18" fmla="*/ 4711983 h 5570686"/>
                <a:gd name="connsiteX19" fmla="*/ 2455286 w 4691642"/>
                <a:gd name="connsiteY19" fmla="*/ 4602001 h 5570686"/>
                <a:gd name="connsiteX20" fmla="*/ 2432799 w 4691642"/>
                <a:gd name="connsiteY20" fmla="*/ 4556311 h 5570686"/>
                <a:gd name="connsiteX21" fmla="*/ 2346121 w 4691642"/>
                <a:gd name="connsiteY21" fmla="*/ 4411268 h 5570686"/>
                <a:gd name="connsiteX22" fmla="*/ 2284690 w 4691642"/>
                <a:gd name="connsiteY22" fmla="*/ 4347384 h 5570686"/>
                <a:gd name="connsiteX23" fmla="*/ 2178490 w 4691642"/>
                <a:gd name="connsiteY23" fmla="*/ 4225238 h 5570686"/>
                <a:gd name="connsiteX24" fmla="*/ 2078933 w 4691642"/>
                <a:gd name="connsiteY24" fmla="*/ 4035426 h 5570686"/>
                <a:gd name="connsiteX25" fmla="*/ 1974470 w 4691642"/>
                <a:gd name="connsiteY25" fmla="*/ 3923194 h 5570686"/>
                <a:gd name="connsiteX26" fmla="*/ 1921829 w 4691642"/>
                <a:gd name="connsiteY26" fmla="*/ 3862684 h 5570686"/>
                <a:gd name="connsiteX27" fmla="*/ 1673141 w 4691642"/>
                <a:gd name="connsiteY27" fmla="*/ 3669396 h 5570686"/>
                <a:gd name="connsiteX28" fmla="*/ 1458389 w 4691642"/>
                <a:gd name="connsiteY28" fmla="*/ 3514541 h 5570686"/>
                <a:gd name="connsiteX29" fmla="*/ 1456958 w 4691642"/>
                <a:gd name="connsiteY29" fmla="*/ 3513008 h 5570686"/>
                <a:gd name="connsiteX30" fmla="*/ 1335221 w 4691642"/>
                <a:gd name="connsiteY30" fmla="*/ 3380027 h 5570686"/>
                <a:gd name="connsiteX31" fmla="*/ 1332972 w 4691642"/>
                <a:gd name="connsiteY31" fmla="*/ 3377369 h 5570686"/>
                <a:gd name="connsiteX32" fmla="*/ 1330621 w 4691642"/>
                <a:gd name="connsiteY32" fmla="*/ 3379925 h 5570686"/>
                <a:gd name="connsiteX33" fmla="*/ 1181081 w 4691642"/>
                <a:gd name="connsiteY33" fmla="*/ 3555325 h 5570686"/>
                <a:gd name="connsiteX34" fmla="*/ 1172393 w 4691642"/>
                <a:gd name="connsiteY34" fmla="*/ 3566159 h 5570686"/>
                <a:gd name="connsiteX35" fmla="*/ 1029599 w 4691642"/>
                <a:gd name="connsiteY35" fmla="*/ 3783467 h 5570686"/>
                <a:gd name="connsiteX36" fmla="*/ 990758 w 4691642"/>
                <a:gd name="connsiteY36" fmla="*/ 3952837 h 5570686"/>
                <a:gd name="connsiteX37" fmla="*/ 983603 w 4691642"/>
                <a:gd name="connsiteY37" fmla="*/ 3999038 h 5570686"/>
                <a:gd name="connsiteX38" fmla="*/ 843467 w 4691642"/>
                <a:gd name="connsiteY38" fmla="*/ 4284625 h 5570686"/>
                <a:gd name="connsiteX39" fmla="*/ 487352 w 4691642"/>
                <a:gd name="connsiteY39" fmla="*/ 4451030 h 5570686"/>
                <a:gd name="connsiteX40" fmla="*/ 453928 w 4691642"/>
                <a:gd name="connsiteY40" fmla="*/ 4452359 h 5570686"/>
                <a:gd name="connsiteX41" fmla="*/ 1220 w 4691642"/>
                <a:gd name="connsiteY41" fmla="*/ 4038084 h 5570686"/>
                <a:gd name="connsiteX42" fmla="*/ 92293 w 4691642"/>
                <a:gd name="connsiteY42" fmla="*/ 3750350 h 5570686"/>
                <a:gd name="connsiteX43" fmla="*/ 398221 w 4691642"/>
                <a:gd name="connsiteY43" fmla="*/ 3551952 h 5570686"/>
                <a:gd name="connsiteX44" fmla="*/ 981456 w 4691642"/>
                <a:gd name="connsiteY44" fmla="*/ 3090045 h 5570686"/>
                <a:gd name="connsiteX45" fmla="*/ 1087862 w 4691642"/>
                <a:gd name="connsiteY45" fmla="*/ 2975053 h 5570686"/>
                <a:gd name="connsiteX46" fmla="*/ 1089190 w 4691642"/>
                <a:gd name="connsiteY46" fmla="*/ 2973622 h 5570686"/>
                <a:gd name="connsiteX47" fmla="*/ 1088373 w 4691642"/>
                <a:gd name="connsiteY47" fmla="*/ 2971885 h 5570686"/>
                <a:gd name="connsiteX48" fmla="*/ 1069156 w 4691642"/>
                <a:gd name="connsiteY48" fmla="*/ 2933248 h 5570686"/>
                <a:gd name="connsiteX49" fmla="*/ 986158 w 4691642"/>
                <a:gd name="connsiteY49" fmla="*/ 2710114 h 5570686"/>
                <a:gd name="connsiteX50" fmla="*/ 1047589 w 4691642"/>
                <a:gd name="connsiteY50" fmla="*/ 2493623 h 5570686"/>
                <a:gd name="connsiteX51" fmla="*/ 1178628 w 4691642"/>
                <a:gd name="connsiteY51" fmla="*/ 2440370 h 5570686"/>
                <a:gd name="connsiteX52" fmla="*/ 1198355 w 4691642"/>
                <a:gd name="connsiteY52" fmla="*/ 2441596 h 5570686"/>
                <a:gd name="connsiteX53" fmla="*/ 1205408 w 4691642"/>
                <a:gd name="connsiteY53" fmla="*/ 2442516 h 5570686"/>
                <a:gd name="connsiteX54" fmla="*/ 1201217 w 4691642"/>
                <a:gd name="connsiteY54" fmla="*/ 2437099 h 5570686"/>
                <a:gd name="connsiteX55" fmla="*/ 1171166 w 4691642"/>
                <a:gd name="connsiteY55" fmla="*/ 2375055 h 5570686"/>
                <a:gd name="connsiteX56" fmla="*/ 1249974 w 4691642"/>
                <a:gd name="connsiteY56" fmla="*/ 2138122 h 5570686"/>
                <a:gd name="connsiteX57" fmla="*/ 1393994 w 4691642"/>
                <a:gd name="connsiteY57" fmla="*/ 2059621 h 5570686"/>
                <a:gd name="connsiteX58" fmla="*/ 1396243 w 4691642"/>
                <a:gd name="connsiteY58" fmla="*/ 2059621 h 5570686"/>
                <a:gd name="connsiteX59" fmla="*/ 1396856 w 4691642"/>
                <a:gd name="connsiteY59" fmla="*/ 2057577 h 5570686"/>
                <a:gd name="connsiteX60" fmla="*/ 1404317 w 4691642"/>
                <a:gd name="connsiteY60" fmla="*/ 2038769 h 5570686"/>
                <a:gd name="connsiteX61" fmla="*/ 1419650 w 4691642"/>
                <a:gd name="connsiteY61" fmla="*/ 2008003 h 5570686"/>
                <a:gd name="connsiteX62" fmla="*/ 1420978 w 4691642"/>
                <a:gd name="connsiteY62" fmla="*/ 2005856 h 5570686"/>
                <a:gd name="connsiteX63" fmla="*/ 1418934 w 4691642"/>
                <a:gd name="connsiteY63" fmla="*/ 2004323 h 5570686"/>
                <a:gd name="connsiteX64" fmla="*/ 1366907 w 4691642"/>
                <a:gd name="connsiteY64" fmla="*/ 1901495 h 5570686"/>
                <a:gd name="connsiteX65" fmla="*/ 1481898 w 4691642"/>
                <a:gd name="connsiteY65" fmla="*/ 1686436 h 5570686"/>
                <a:gd name="connsiteX66" fmla="*/ 1642579 w 4691642"/>
                <a:gd name="connsiteY66" fmla="*/ 1632467 h 5570686"/>
                <a:gd name="connsiteX67" fmla="*/ 1726088 w 4691642"/>
                <a:gd name="connsiteY67" fmla="*/ 1646163 h 5570686"/>
                <a:gd name="connsiteX68" fmla="*/ 1734572 w 4691642"/>
                <a:gd name="connsiteY68" fmla="*/ 1649128 h 5570686"/>
                <a:gd name="connsiteX69" fmla="*/ 1729666 w 4691642"/>
                <a:gd name="connsiteY69" fmla="*/ 1641973 h 5570686"/>
                <a:gd name="connsiteX70" fmla="*/ 1692664 w 4691642"/>
                <a:gd name="connsiteY70" fmla="*/ 1441632 h 5570686"/>
                <a:gd name="connsiteX71" fmla="*/ 1909972 w 4691642"/>
                <a:gd name="connsiteY71" fmla="*/ 1289231 h 5570686"/>
                <a:gd name="connsiteX72" fmla="*/ 1963941 w 4691642"/>
                <a:gd name="connsiteY72" fmla="*/ 1284631 h 5570686"/>
                <a:gd name="connsiteX73" fmla="*/ 2173788 w 4691642"/>
                <a:gd name="connsiteY73" fmla="*/ 1363949 h 5570686"/>
                <a:gd name="connsiteX74" fmla="*/ 2292663 w 4691642"/>
                <a:gd name="connsiteY74" fmla="*/ 1485074 h 5570686"/>
                <a:gd name="connsiteX75" fmla="*/ 2295116 w 4691642"/>
                <a:gd name="connsiteY75" fmla="*/ 1487833 h 5570686"/>
                <a:gd name="connsiteX76" fmla="*/ 2297467 w 4691642"/>
                <a:gd name="connsiteY76" fmla="*/ 1485176 h 5570686"/>
                <a:gd name="connsiteX77" fmla="*/ 2483089 w 4691642"/>
                <a:gd name="connsiteY77" fmla="*/ 1266232 h 5570686"/>
                <a:gd name="connsiteX78" fmla="*/ 2616274 w 4691642"/>
                <a:gd name="connsiteY78" fmla="*/ 1111889 h 5570686"/>
                <a:gd name="connsiteX79" fmla="*/ 2704587 w 4691642"/>
                <a:gd name="connsiteY79" fmla="*/ 1010799 h 5570686"/>
                <a:gd name="connsiteX80" fmla="*/ 2906870 w 4691642"/>
                <a:gd name="connsiteY80" fmla="*/ 751072 h 5570686"/>
                <a:gd name="connsiteX81" fmla="*/ 2945813 w 4691642"/>
                <a:gd name="connsiteY81" fmla="*/ 527835 h 5570686"/>
                <a:gd name="connsiteX82" fmla="*/ 2950004 w 4691642"/>
                <a:gd name="connsiteY82" fmla="*/ 403338 h 5570686"/>
                <a:gd name="connsiteX83" fmla="*/ 3105677 w 4691642"/>
                <a:gd name="connsiteY83" fmla="*/ 175196 h 5570686"/>
                <a:gd name="connsiteX84" fmla="*/ 3403938 w 4691642"/>
                <a:gd name="connsiteY84" fmla="*/ 41601 h 5570686"/>
                <a:gd name="connsiteX85" fmla="*/ 3431025 w 4691642"/>
                <a:gd name="connsiteY85" fmla="*/ 33424 h 5570686"/>
                <a:gd name="connsiteX86" fmla="*/ 3590889 w 4691642"/>
                <a:gd name="connsiteY86" fmla="*/ 0 h 5570686"/>
                <a:gd name="connsiteX87" fmla="*/ 3663768 w 4691642"/>
                <a:gd name="connsiteY87" fmla="*/ 22998 h 5570686"/>
                <a:gd name="connsiteX88" fmla="*/ 3680735 w 4691642"/>
                <a:gd name="connsiteY88" fmla="*/ 62249 h 5570686"/>
                <a:gd name="connsiteX89" fmla="*/ 3585880 w 4691642"/>
                <a:gd name="connsiteY89" fmla="*/ 151073 h 5570686"/>
                <a:gd name="connsiteX90" fmla="*/ 3567073 w 4691642"/>
                <a:gd name="connsiteY90" fmla="*/ 162419 h 5570686"/>
                <a:gd name="connsiteX91" fmla="*/ 3506153 w 4691642"/>
                <a:gd name="connsiteY91" fmla="*/ 197683 h 5570686"/>
                <a:gd name="connsiteX92" fmla="*/ 3394637 w 4691642"/>
                <a:gd name="connsiteY92" fmla="*/ 270255 h 5570686"/>
                <a:gd name="connsiteX93" fmla="*/ 3354671 w 4691642"/>
                <a:gd name="connsiteY93" fmla="*/ 491549 h 5570686"/>
                <a:gd name="connsiteX94" fmla="*/ 3609083 w 4691642"/>
                <a:gd name="connsiteY94" fmla="*/ 745961 h 5570686"/>
                <a:gd name="connsiteX95" fmla="*/ 3680633 w 4691642"/>
                <a:gd name="connsiteY95" fmla="*/ 726540 h 5570686"/>
                <a:gd name="connsiteX96" fmla="*/ 3953750 w 4691642"/>
                <a:gd name="connsiteY96" fmla="*/ 548585 h 5570686"/>
                <a:gd name="connsiteX97" fmla="*/ 4030513 w 4691642"/>
                <a:gd name="connsiteY97" fmla="*/ 494820 h 5570686"/>
                <a:gd name="connsiteX98" fmla="*/ 4037770 w 4691642"/>
                <a:gd name="connsiteY98" fmla="*/ 492674 h 5570686"/>
                <a:gd name="connsiteX99" fmla="*/ 4055249 w 4691642"/>
                <a:gd name="connsiteY99" fmla="*/ 505655 h 5570686"/>
                <a:gd name="connsiteX100" fmla="*/ 3921655 w 4691642"/>
                <a:gd name="connsiteY100" fmla="*/ 876795 h 5570686"/>
                <a:gd name="connsiteX101" fmla="*/ 3577499 w 4691642"/>
                <a:gd name="connsiteY101" fmla="*/ 1101258 h 5570686"/>
                <a:gd name="connsiteX102" fmla="*/ 3455250 w 4691642"/>
                <a:gd name="connsiteY102" fmla="*/ 1131105 h 5570686"/>
                <a:gd name="connsiteX103" fmla="*/ 3297635 w 4691642"/>
                <a:gd name="connsiteY103" fmla="*/ 1173115 h 5570686"/>
                <a:gd name="connsiteX104" fmla="*/ 3064075 w 4691642"/>
                <a:gd name="connsiteY104" fmla="*/ 1346471 h 5570686"/>
                <a:gd name="connsiteX105" fmla="*/ 2690686 w 4691642"/>
                <a:gd name="connsiteY105" fmla="*/ 1789570 h 5570686"/>
                <a:gd name="connsiteX106" fmla="*/ 2683429 w 4691642"/>
                <a:gd name="connsiteY106" fmla="*/ 1798974 h 5570686"/>
                <a:gd name="connsiteX107" fmla="*/ 2686087 w 4691642"/>
                <a:gd name="connsiteY107" fmla="*/ 1800609 h 5570686"/>
                <a:gd name="connsiteX108" fmla="*/ 2884587 w 4691642"/>
                <a:gd name="connsiteY108" fmla="*/ 2002687 h 5570686"/>
                <a:gd name="connsiteX109" fmla="*/ 2997125 w 4691642"/>
                <a:gd name="connsiteY109" fmla="*/ 2232568 h 5570686"/>
                <a:gd name="connsiteX110" fmla="*/ 3085949 w 4691642"/>
                <a:gd name="connsiteY110" fmla="*/ 2615974 h 5570686"/>
                <a:gd name="connsiteX111" fmla="*/ 3104246 w 4691642"/>
                <a:gd name="connsiteY111" fmla="*/ 2708069 h 5570686"/>
                <a:gd name="connsiteX112" fmla="*/ 3173956 w 4691642"/>
                <a:gd name="connsiteY112" fmla="*/ 2997336 h 5570686"/>
                <a:gd name="connsiteX113" fmla="*/ 3227618 w 4691642"/>
                <a:gd name="connsiteY113" fmla="*/ 3136450 h 5570686"/>
                <a:gd name="connsiteX114" fmla="*/ 3272286 w 4691642"/>
                <a:gd name="connsiteY114" fmla="*/ 3249806 h 5570686"/>
                <a:gd name="connsiteX115" fmla="*/ 3615420 w 4691642"/>
                <a:gd name="connsiteY115" fmla="*/ 3798289 h 5570686"/>
                <a:gd name="connsiteX116" fmla="*/ 3762098 w 4691642"/>
                <a:gd name="connsiteY116" fmla="*/ 4047283 h 5570686"/>
                <a:gd name="connsiteX117" fmla="*/ 3790411 w 4691642"/>
                <a:gd name="connsiteY117" fmla="*/ 4093893 h 5570686"/>
                <a:gd name="connsiteX118" fmla="*/ 4020803 w 4691642"/>
                <a:gd name="connsiteY118" fmla="*/ 4482716 h 5570686"/>
                <a:gd name="connsiteX119" fmla="*/ 4262642 w 4691642"/>
                <a:gd name="connsiteY119" fmla="*/ 4867758 h 5570686"/>
                <a:gd name="connsiteX120" fmla="*/ 4691023 w 4691642"/>
                <a:gd name="connsiteY120" fmla="*/ 5563123 h 5570686"/>
                <a:gd name="connsiteX121" fmla="*/ 4691534 w 4691642"/>
                <a:gd name="connsiteY121" fmla="*/ 5564860 h 5570686"/>
                <a:gd name="connsiteX122" fmla="*/ 4691432 w 4691642"/>
                <a:gd name="connsiteY122" fmla="*/ 5573038 h 5570686"/>
                <a:gd name="connsiteX123" fmla="*/ 4686832 w 4691642"/>
                <a:gd name="connsiteY123" fmla="*/ 5575286 h 5570686"/>
                <a:gd name="connsiteX124" fmla="*/ 4685094 w 4691642"/>
                <a:gd name="connsiteY124" fmla="*/ 5575389 h 5570686"/>
                <a:gd name="connsiteX125" fmla="*/ 449021 w 4691642"/>
                <a:gd name="connsiteY125" fmla="*/ 4288509 h 5570686"/>
                <a:gd name="connsiteX126" fmla="*/ 458629 w 4691642"/>
                <a:gd name="connsiteY126" fmla="*/ 4289225 h 5570686"/>
                <a:gd name="connsiteX127" fmla="*/ 497471 w 4691642"/>
                <a:gd name="connsiteY127" fmla="*/ 4304352 h 5570686"/>
                <a:gd name="connsiteX128" fmla="*/ 533042 w 4691642"/>
                <a:gd name="connsiteY128" fmla="*/ 4319071 h 5570686"/>
                <a:gd name="connsiteX129" fmla="*/ 544183 w 4691642"/>
                <a:gd name="connsiteY129" fmla="*/ 4320298 h 5570686"/>
                <a:gd name="connsiteX130" fmla="*/ 591099 w 4691642"/>
                <a:gd name="connsiteY130" fmla="*/ 4282785 h 5570686"/>
                <a:gd name="connsiteX131" fmla="*/ 620844 w 4691642"/>
                <a:gd name="connsiteY131" fmla="*/ 4249054 h 5570686"/>
                <a:gd name="connsiteX132" fmla="*/ 643638 w 4691642"/>
                <a:gd name="connsiteY132" fmla="*/ 4244148 h 5570686"/>
                <a:gd name="connsiteX133" fmla="*/ 652939 w 4691642"/>
                <a:gd name="connsiteY133" fmla="*/ 4244659 h 5570686"/>
                <a:gd name="connsiteX134" fmla="*/ 669907 w 4691642"/>
                <a:gd name="connsiteY134" fmla="*/ 4247214 h 5570686"/>
                <a:gd name="connsiteX135" fmla="*/ 689430 w 4691642"/>
                <a:gd name="connsiteY135" fmla="*/ 4249667 h 5570686"/>
                <a:gd name="connsiteX136" fmla="*/ 721525 w 4691642"/>
                <a:gd name="connsiteY136" fmla="*/ 4230145 h 5570686"/>
                <a:gd name="connsiteX137" fmla="*/ 731542 w 4691642"/>
                <a:gd name="connsiteY137" fmla="*/ 4190996 h 5570686"/>
                <a:gd name="connsiteX138" fmla="*/ 746670 w 4691642"/>
                <a:gd name="connsiteY138" fmla="*/ 4147248 h 5570686"/>
                <a:gd name="connsiteX139" fmla="*/ 766499 w 4691642"/>
                <a:gd name="connsiteY139" fmla="*/ 4137231 h 5570686"/>
                <a:gd name="connsiteX140" fmla="*/ 781832 w 4691642"/>
                <a:gd name="connsiteY140" fmla="*/ 4131201 h 5570686"/>
                <a:gd name="connsiteX141" fmla="*/ 815460 w 4691642"/>
                <a:gd name="connsiteY141" fmla="*/ 4100639 h 5570686"/>
                <a:gd name="connsiteX142" fmla="*/ 804830 w 4691642"/>
                <a:gd name="connsiteY142" fmla="*/ 4079787 h 5570686"/>
                <a:gd name="connsiteX143" fmla="*/ 791644 w 4691642"/>
                <a:gd name="connsiteY143" fmla="*/ 4061491 h 5570686"/>
                <a:gd name="connsiteX144" fmla="*/ 804932 w 4691642"/>
                <a:gd name="connsiteY144" fmla="*/ 3998527 h 5570686"/>
                <a:gd name="connsiteX145" fmla="*/ 811371 w 4691642"/>
                <a:gd name="connsiteY145" fmla="*/ 3986158 h 5570686"/>
                <a:gd name="connsiteX146" fmla="*/ 800332 w 4691642"/>
                <a:gd name="connsiteY146" fmla="*/ 3911235 h 5570686"/>
                <a:gd name="connsiteX147" fmla="*/ 788987 w 4691642"/>
                <a:gd name="connsiteY147" fmla="*/ 3905614 h 5570686"/>
                <a:gd name="connsiteX148" fmla="*/ 781116 w 4691642"/>
                <a:gd name="connsiteY148" fmla="*/ 3902036 h 5570686"/>
                <a:gd name="connsiteX149" fmla="*/ 756891 w 4691642"/>
                <a:gd name="connsiteY149" fmla="*/ 3878833 h 5570686"/>
                <a:gd name="connsiteX150" fmla="*/ 755256 w 4691642"/>
                <a:gd name="connsiteY150" fmla="*/ 3832224 h 5570686"/>
                <a:gd name="connsiteX151" fmla="*/ 750452 w 4691642"/>
                <a:gd name="connsiteY151" fmla="*/ 3782956 h 5570686"/>
                <a:gd name="connsiteX152" fmla="*/ 717232 w 4691642"/>
                <a:gd name="connsiteY152" fmla="*/ 3768135 h 5570686"/>
                <a:gd name="connsiteX153" fmla="*/ 693416 w 4691642"/>
                <a:gd name="connsiteY153" fmla="*/ 3766909 h 5570686"/>
                <a:gd name="connsiteX154" fmla="*/ 644353 w 4691642"/>
                <a:gd name="connsiteY154" fmla="*/ 3752599 h 5570686"/>
                <a:gd name="connsiteX155" fmla="*/ 628919 w 4691642"/>
                <a:gd name="connsiteY155" fmla="*/ 3730214 h 5570686"/>
                <a:gd name="connsiteX156" fmla="*/ 618391 w 4691642"/>
                <a:gd name="connsiteY156" fmla="*/ 3712122 h 5570686"/>
                <a:gd name="connsiteX157" fmla="*/ 591099 w 4691642"/>
                <a:gd name="connsiteY157" fmla="*/ 3698834 h 5570686"/>
                <a:gd name="connsiteX158" fmla="*/ 555835 w 4691642"/>
                <a:gd name="connsiteY158" fmla="*/ 3709362 h 5570686"/>
                <a:gd name="connsiteX159" fmla="*/ 530895 w 4691642"/>
                <a:gd name="connsiteY159" fmla="*/ 3718050 h 5570686"/>
                <a:gd name="connsiteX160" fmla="*/ 522309 w 4691642"/>
                <a:gd name="connsiteY160" fmla="*/ 3718561 h 5570686"/>
                <a:gd name="connsiteX161" fmla="*/ 469464 w 4691642"/>
                <a:gd name="connsiteY161" fmla="*/ 3694030 h 5570686"/>
                <a:gd name="connsiteX162" fmla="*/ 431440 w 4691642"/>
                <a:gd name="connsiteY162" fmla="*/ 3675631 h 5570686"/>
                <a:gd name="connsiteX163" fmla="*/ 391372 w 4691642"/>
                <a:gd name="connsiteY163" fmla="*/ 3713246 h 5570686"/>
                <a:gd name="connsiteX164" fmla="*/ 364694 w 4691642"/>
                <a:gd name="connsiteY164" fmla="*/ 3749021 h 5570686"/>
                <a:gd name="connsiteX165" fmla="*/ 334030 w 4691642"/>
                <a:gd name="connsiteY165" fmla="*/ 3759651 h 5570686"/>
                <a:gd name="connsiteX166" fmla="*/ 331168 w 4691642"/>
                <a:gd name="connsiteY166" fmla="*/ 3759549 h 5570686"/>
                <a:gd name="connsiteX167" fmla="*/ 325751 w 4691642"/>
                <a:gd name="connsiteY167" fmla="*/ 3758220 h 5570686"/>
                <a:gd name="connsiteX168" fmla="*/ 319005 w 4691642"/>
                <a:gd name="connsiteY168" fmla="*/ 3756687 h 5570686"/>
                <a:gd name="connsiteX169" fmla="*/ 302344 w 4691642"/>
                <a:gd name="connsiteY169" fmla="*/ 3752087 h 5570686"/>
                <a:gd name="connsiteX170" fmla="*/ 282105 w 4691642"/>
                <a:gd name="connsiteY170" fmla="*/ 3758731 h 5570686"/>
                <a:gd name="connsiteX171" fmla="*/ 281390 w 4691642"/>
                <a:gd name="connsiteY171" fmla="*/ 3759243 h 5570686"/>
                <a:gd name="connsiteX172" fmla="*/ 281083 w 4691642"/>
                <a:gd name="connsiteY172" fmla="*/ 3760060 h 5570686"/>
                <a:gd name="connsiteX173" fmla="*/ 275155 w 4691642"/>
                <a:gd name="connsiteY173" fmla="*/ 3785205 h 5570686"/>
                <a:gd name="connsiteX174" fmla="*/ 271373 w 4691642"/>
                <a:gd name="connsiteY174" fmla="*/ 3804319 h 5570686"/>
                <a:gd name="connsiteX175" fmla="*/ 270759 w 4691642"/>
                <a:gd name="connsiteY175" fmla="*/ 3805852 h 5570686"/>
                <a:gd name="connsiteX176" fmla="*/ 268408 w 4691642"/>
                <a:gd name="connsiteY176" fmla="*/ 3811781 h 5570686"/>
                <a:gd name="connsiteX177" fmla="*/ 240810 w 4691642"/>
                <a:gd name="connsiteY177" fmla="*/ 3835188 h 5570686"/>
                <a:gd name="connsiteX178" fmla="*/ 239175 w 4691642"/>
                <a:gd name="connsiteY178" fmla="*/ 3836108 h 5570686"/>
                <a:gd name="connsiteX179" fmla="*/ 223127 w 4691642"/>
                <a:gd name="connsiteY179" fmla="*/ 3841218 h 5570686"/>
                <a:gd name="connsiteX180" fmla="*/ 195427 w 4691642"/>
                <a:gd name="connsiteY180" fmla="*/ 3854200 h 5570686"/>
                <a:gd name="connsiteX181" fmla="*/ 182037 w 4691642"/>
                <a:gd name="connsiteY181" fmla="*/ 3913586 h 5570686"/>
                <a:gd name="connsiteX182" fmla="*/ 189601 w 4691642"/>
                <a:gd name="connsiteY182" fmla="*/ 3929941 h 5570686"/>
                <a:gd name="connsiteX183" fmla="*/ 198698 w 4691642"/>
                <a:gd name="connsiteY183" fmla="*/ 3958254 h 5570686"/>
                <a:gd name="connsiteX184" fmla="*/ 179584 w 4691642"/>
                <a:gd name="connsiteY184" fmla="*/ 3998731 h 5570686"/>
                <a:gd name="connsiteX185" fmla="*/ 162208 w 4691642"/>
                <a:gd name="connsiteY185" fmla="*/ 4051269 h 5570686"/>
                <a:gd name="connsiteX186" fmla="*/ 196552 w 4691642"/>
                <a:gd name="connsiteY186" fmla="*/ 4091746 h 5570686"/>
                <a:gd name="connsiteX187" fmla="*/ 230385 w 4691642"/>
                <a:gd name="connsiteY187" fmla="*/ 4133245 h 5570686"/>
                <a:gd name="connsiteX188" fmla="*/ 228238 w 4691642"/>
                <a:gd name="connsiteY188" fmla="*/ 4162376 h 5570686"/>
                <a:gd name="connsiteX189" fmla="*/ 225683 w 4691642"/>
                <a:gd name="connsiteY189" fmla="*/ 4191405 h 5570686"/>
                <a:gd name="connsiteX190" fmla="*/ 278017 w 4691642"/>
                <a:gd name="connsiteY190" fmla="*/ 4232802 h 5570686"/>
                <a:gd name="connsiteX191" fmla="*/ 288749 w 4691642"/>
                <a:gd name="connsiteY191" fmla="*/ 4234642 h 5570686"/>
                <a:gd name="connsiteX192" fmla="*/ 349567 w 4691642"/>
                <a:gd name="connsiteY192" fmla="*/ 4271337 h 5570686"/>
                <a:gd name="connsiteX193" fmla="*/ 356619 w 4691642"/>
                <a:gd name="connsiteY193" fmla="*/ 4281559 h 5570686"/>
                <a:gd name="connsiteX194" fmla="*/ 388101 w 4691642"/>
                <a:gd name="connsiteY194" fmla="*/ 4309565 h 5570686"/>
                <a:gd name="connsiteX195" fmla="*/ 388204 w 4691642"/>
                <a:gd name="connsiteY195" fmla="*/ 4309565 h 5570686"/>
                <a:gd name="connsiteX196" fmla="*/ 413655 w 4691642"/>
                <a:gd name="connsiteY196" fmla="*/ 4299344 h 5570686"/>
                <a:gd name="connsiteX197" fmla="*/ 425205 w 4691642"/>
                <a:gd name="connsiteY197" fmla="*/ 4293620 h 5570686"/>
                <a:gd name="connsiteX198" fmla="*/ 449021 w 4691642"/>
                <a:gd name="connsiteY198" fmla="*/ 4288509 h 55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4691642" h="5570686">
                  <a:moveTo>
                    <a:pt x="4685094" y="5575389"/>
                  </a:moveTo>
                  <a:cubicBezTo>
                    <a:pt x="4573578" y="5561999"/>
                    <a:pt x="4459609" y="5560874"/>
                    <a:pt x="4352489" y="5560874"/>
                  </a:cubicBezTo>
                  <a:lnTo>
                    <a:pt x="4252216" y="5560977"/>
                  </a:lnTo>
                  <a:cubicBezTo>
                    <a:pt x="4125164" y="5560670"/>
                    <a:pt x="3998009" y="5560465"/>
                    <a:pt x="3870956" y="5560465"/>
                  </a:cubicBezTo>
                  <a:lnTo>
                    <a:pt x="3813410" y="5560465"/>
                  </a:lnTo>
                  <a:cubicBezTo>
                    <a:pt x="3778963" y="5560465"/>
                    <a:pt x="3744415" y="5560363"/>
                    <a:pt x="3709866" y="5560261"/>
                  </a:cubicBezTo>
                  <a:cubicBezTo>
                    <a:pt x="3675318" y="5560159"/>
                    <a:pt x="3640769" y="5560057"/>
                    <a:pt x="3606221" y="5560057"/>
                  </a:cubicBezTo>
                  <a:cubicBezTo>
                    <a:pt x="3522814" y="5560057"/>
                    <a:pt x="3459032" y="5560772"/>
                    <a:pt x="3399441" y="5562510"/>
                  </a:cubicBezTo>
                  <a:cubicBezTo>
                    <a:pt x="3370105" y="5563327"/>
                    <a:pt x="3340975" y="5564452"/>
                    <a:pt x="3311843" y="5565678"/>
                  </a:cubicBezTo>
                  <a:cubicBezTo>
                    <a:pt x="3260225" y="5567723"/>
                    <a:pt x="3206869" y="5569869"/>
                    <a:pt x="3154535" y="5569869"/>
                  </a:cubicBezTo>
                  <a:cubicBezTo>
                    <a:pt x="3094740" y="5569869"/>
                    <a:pt x="3042508" y="5567007"/>
                    <a:pt x="2994570" y="5561078"/>
                  </a:cubicBezTo>
                  <a:lnTo>
                    <a:pt x="2992832" y="5560874"/>
                  </a:lnTo>
                  <a:lnTo>
                    <a:pt x="2991810" y="5562101"/>
                  </a:lnTo>
                  <a:cubicBezTo>
                    <a:pt x="2989970" y="5564349"/>
                    <a:pt x="2986495" y="5565678"/>
                    <a:pt x="2982917" y="5565678"/>
                  </a:cubicBezTo>
                  <a:cubicBezTo>
                    <a:pt x="2978829" y="5565678"/>
                    <a:pt x="2975353" y="5564043"/>
                    <a:pt x="2973309" y="5561181"/>
                  </a:cubicBezTo>
                  <a:cubicBezTo>
                    <a:pt x="2915456" y="5479205"/>
                    <a:pt x="2867517" y="5388643"/>
                    <a:pt x="2821316" y="5301045"/>
                  </a:cubicBezTo>
                  <a:cubicBezTo>
                    <a:pt x="2804553" y="5269359"/>
                    <a:pt x="2787892" y="5237774"/>
                    <a:pt x="2770720" y="5206701"/>
                  </a:cubicBezTo>
                  <a:cubicBezTo>
                    <a:pt x="2682918" y="5047042"/>
                    <a:pt x="2613821" y="4917025"/>
                    <a:pt x="2553208" y="4797435"/>
                  </a:cubicBezTo>
                  <a:cubicBezTo>
                    <a:pt x="2538796" y="4769019"/>
                    <a:pt x="2524588" y="4740501"/>
                    <a:pt x="2510482" y="4711983"/>
                  </a:cubicBezTo>
                  <a:cubicBezTo>
                    <a:pt x="2492288" y="4675288"/>
                    <a:pt x="2473992" y="4638491"/>
                    <a:pt x="2455286" y="4602001"/>
                  </a:cubicBezTo>
                  <a:cubicBezTo>
                    <a:pt x="2447722" y="4587180"/>
                    <a:pt x="2440261" y="4571847"/>
                    <a:pt x="2432799" y="4556311"/>
                  </a:cubicBezTo>
                  <a:cubicBezTo>
                    <a:pt x="2408268" y="4505408"/>
                    <a:pt x="2382919" y="4452665"/>
                    <a:pt x="2346121" y="4411268"/>
                  </a:cubicBezTo>
                  <a:cubicBezTo>
                    <a:pt x="2325985" y="4388679"/>
                    <a:pt x="2305031" y="4367725"/>
                    <a:pt x="2284690" y="4347384"/>
                  </a:cubicBezTo>
                  <a:cubicBezTo>
                    <a:pt x="2245951" y="4308747"/>
                    <a:pt x="2209256" y="4272257"/>
                    <a:pt x="2178490" y="4225238"/>
                  </a:cubicBezTo>
                  <a:cubicBezTo>
                    <a:pt x="2141590" y="4168918"/>
                    <a:pt x="2108166" y="4105136"/>
                    <a:pt x="2078933" y="4035426"/>
                  </a:cubicBezTo>
                  <a:cubicBezTo>
                    <a:pt x="2040398" y="4001286"/>
                    <a:pt x="2006871" y="3961627"/>
                    <a:pt x="1974470" y="3923194"/>
                  </a:cubicBezTo>
                  <a:cubicBezTo>
                    <a:pt x="1957400" y="3902956"/>
                    <a:pt x="1939717" y="3882104"/>
                    <a:pt x="1921829" y="3862684"/>
                  </a:cubicBezTo>
                  <a:cubicBezTo>
                    <a:pt x="1846804" y="3781219"/>
                    <a:pt x="1763192" y="3716210"/>
                    <a:pt x="1673141" y="3669396"/>
                  </a:cubicBezTo>
                  <a:cubicBezTo>
                    <a:pt x="1589530" y="3625955"/>
                    <a:pt x="1524419" y="3584865"/>
                    <a:pt x="1458389" y="3514541"/>
                  </a:cubicBezTo>
                  <a:lnTo>
                    <a:pt x="1456958" y="3513008"/>
                  </a:lnTo>
                  <a:cubicBezTo>
                    <a:pt x="1416481" y="3469874"/>
                    <a:pt x="1374675" y="3425308"/>
                    <a:pt x="1335221" y="3380027"/>
                  </a:cubicBezTo>
                  <a:lnTo>
                    <a:pt x="1332972" y="3377369"/>
                  </a:lnTo>
                  <a:lnTo>
                    <a:pt x="1330621" y="3379925"/>
                  </a:lnTo>
                  <a:cubicBezTo>
                    <a:pt x="1274403" y="3442991"/>
                    <a:pt x="1225442" y="3500333"/>
                    <a:pt x="1181081" y="3555325"/>
                  </a:cubicBezTo>
                  <a:lnTo>
                    <a:pt x="1172393" y="3566159"/>
                  </a:lnTo>
                  <a:cubicBezTo>
                    <a:pt x="1117810" y="3633621"/>
                    <a:pt x="1061388" y="3703433"/>
                    <a:pt x="1029599" y="3783467"/>
                  </a:cubicBezTo>
                  <a:cubicBezTo>
                    <a:pt x="1007930" y="3838050"/>
                    <a:pt x="999242" y="3896414"/>
                    <a:pt x="990758" y="3952837"/>
                  </a:cubicBezTo>
                  <a:cubicBezTo>
                    <a:pt x="988407" y="3968271"/>
                    <a:pt x="986158" y="3983705"/>
                    <a:pt x="983603" y="3999038"/>
                  </a:cubicBezTo>
                  <a:cubicBezTo>
                    <a:pt x="968271" y="4091133"/>
                    <a:pt x="939548" y="4197027"/>
                    <a:pt x="843467" y="4284625"/>
                  </a:cubicBezTo>
                  <a:cubicBezTo>
                    <a:pt x="736653" y="4381933"/>
                    <a:pt x="610111" y="4441115"/>
                    <a:pt x="487352" y="4451030"/>
                  </a:cubicBezTo>
                  <a:cubicBezTo>
                    <a:pt x="476313" y="4451950"/>
                    <a:pt x="465069" y="4452359"/>
                    <a:pt x="453928" y="4452359"/>
                  </a:cubicBezTo>
                  <a:cubicBezTo>
                    <a:pt x="227523" y="4452359"/>
                    <a:pt x="20334" y="4262649"/>
                    <a:pt x="1220" y="4038084"/>
                  </a:cubicBezTo>
                  <a:cubicBezTo>
                    <a:pt x="-6957" y="3941286"/>
                    <a:pt x="26262" y="3836414"/>
                    <a:pt x="92293" y="3750350"/>
                  </a:cubicBezTo>
                  <a:cubicBezTo>
                    <a:pt x="166705" y="3653451"/>
                    <a:pt x="268408" y="3600912"/>
                    <a:pt x="398221" y="3551952"/>
                  </a:cubicBezTo>
                  <a:cubicBezTo>
                    <a:pt x="644660" y="3459039"/>
                    <a:pt x="815869" y="3271373"/>
                    <a:pt x="981456" y="3090045"/>
                  </a:cubicBezTo>
                  <a:cubicBezTo>
                    <a:pt x="1016107" y="3052123"/>
                    <a:pt x="1051882" y="3012873"/>
                    <a:pt x="1087862" y="2975053"/>
                  </a:cubicBezTo>
                  <a:lnTo>
                    <a:pt x="1089190" y="2973622"/>
                  </a:lnTo>
                  <a:lnTo>
                    <a:pt x="1088373" y="2971885"/>
                  </a:lnTo>
                  <a:cubicBezTo>
                    <a:pt x="1082035" y="2959006"/>
                    <a:pt x="1075698" y="2946127"/>
                    <a:pt x="1069156" y="2933248"/>
                  </a:cubicBezTo>
                  <a:cubicBezTo>
                    <a:pt x="1033688" y="2862311"/>
                    <a:pt x="996993" y="2788921"/>
                    <a:pt x="986158" y="2710114"/>
                  </a:cubicBezTo>
                  <a:cubicBezTo>
                    <a:pt x="973995" y="2621391"/>
                    <a:pt x="996380" y="2542482"/>
                    <a:pt x="1047589" y="2493623"/>
                  </a:cubicBezTo>
                  <a:cubicBezTo>
                    <a:pt x="1082035" y="2460710"/>
                    <a:pt x="1132223" y="2440370"/>
                    <a:pt x="1178628" y="2440370"/>
                  </a:cubicBezTo>
                  <a:cubicBezTo>
                    <a:pt x="1185272" y="2440370"/>
                    <a:pt x="1191916" y="2440779"/>
                    <a:pt x="1198355" y="2441596"/>
                  </a:cubicBezTo>
                  <a:lnTo>
                    <a:pt x="1205408" y="2442516"/>
                  </a:lnTo>
                  <a:lnTo>
                    <a:pt x="1201217" y="2437099"/>
                  </a:lnTo>
                  <a:cubicBezTo>
                    <a:pt x="1185374" y="2416860"/>
                    <a:pt x="1175562" y="2396622"/>
                    <a:pt x="1171166" y="2375055"/>
                  </a:cubicBezTo>
                  <a:cubicBezTo>
                    <a:pt x="1157163" y="2306980"/>
                    <a:pt x="1190383" y="2207321"/>
                    <a:pt x="1249974" y="2138122"/>
                  </a:cubicBezTo>
                  <a:cubicBezTo>
                    <a:pt x="1293108" y="2088139"/>
                    <a:pt x="1344215" y="2060234"/>
                    <a:pt x="1393994" y="2059621"/>
                  </a:cubicBezTo>
                  <a:lnTo>
                    <a:pt x="1396243" y="2059621"/>
                  </a:lnTo>
                  <a:lnTo>
                    <a:pt x="1396856" y="2057577"/>
                  </a:lnTo>
                  <a:cubicBezTo>
                    <a:pt x="1398593" y="2051546"/>
                    <a:pt x="1401149" y="2045209"/>
                    <a:pt x="1404317" y="2038769"/>
                  </a:cubicBezTo>
                  <a:cubicBezTo>
                    <a:pt x="1407895" y="2028650"/>
                    <a:pt x="1412903" y="2018633"/>
                    <a:pt x="1419650" y="2008003"/>
                  </a:cubicBezTo>
                  <a:lnTo>
                    <a:pt x="1420978" y="2005856"/>
                  </a:lnTo>
                  <a:lnTo>
                    <a:pt x="1418934" y="2004323"/>
                  </a:lnTo>
                  <a:cubicBezTo>
                    <a:pt x="1384999" y="1978974"/>
                    <a:pt x="1367520" y="1944425"/>
                    <a:pt x="1366907" y="1901495"/>
                  </a:cubicBezTo>
                  <a:cubicBezTo>
                    <a:pt x="1365680" y="1820950"/>
                    <a:pt x="1423840" y="1732330"/>
                    <a:pt x="1481898" y="1686436"/>
                  </a:cubicBezTo>
                  <a:cubicBezTo>
                    <a:pt x="1525953" y="1651581"/>
                    <a:pt x="1583091" y="1632467"/>
                    <a:pt x="1642579" y="1632467"/>
                  </a:cubicBezTo>
                  <a:cubicBezTo>
                    <a:pt x="1671608" y="1632467"/>
                    <a:pt x="1699717" y="1637066"/>
                    <a:pt x="1726088" y="1646163"/>
                  </a:cubicBezTo>
                  <a:lnTo>
                    <a:pt x="1734572" y="1649128"/>
                  </a:lnTo>
                  <a:lnTo>
                    <a:pt x="1729666" y="1641973"/>
                  </a:lnTo>
                  <a:cubicBezTo>
                    <a:pt x="1701557" y="1601394"/>
                    <a:pt x="1659445" y="1521462"/>
                    <a:pt x="1692664" y="1441632"/>
                  </a:cubicBezTo>
                  <a:cubicBezTo>
                    <a:pt x="1728439" y="1355875"/>
                    <a:pt x="1827485" y="1303336"/>
                    <a:pt x="1909972" y="1289231"/>
                  </a:cubicBezTo>
                  <a:cubicBezTo>
                    <a:pt x="1927962" y="1286164"/>
                    <a:pt x="1946054" y="1284631"/>
                    <a:pt x="1963941" y="1284631"/>
                  </a:cubicBezTo>
                  <a:cubicBezTo>
                    <a:pt x="2040091" y="1284631"/>
                    <a:pt x="2112664" y="1312024"/>
                    <a:pt x="2173788" y="1363949"/>
                  </a:cubicBezTo>
                  <a:cubicBezTo>
                    <a:pt x="2216718" y="1400338"/>
                    <a:pt x="2255355" y="1443472"/>
                    <a:pt x="2292663" y="1485074"/>
                  </a:cubicBezTo>
                  <a:lnTo>
                    <a:pt x="2295116" y="1487833"/>
                  </a:lnTo>
                  <a:lnTo>
                    <a:pt x="2297467" y="1485176"/>
                  </a:lnTo>
                  <a:cubicBezTo>
                    <a:pt x="2356445" y="1410355"/>
                    <a:pt x="2420840" y="1337067"/>
                    <a:pt x="2483089" y="1266232"/>
                  </a:cubicBezTo>
                  <a:cubicBezTo>
                    <a:pt x="2527245" y="1215943"/>
                    <a:pt x="2572935" y="1164018"/>
                    <a:pt x="2616274" y="1111889"/>
                  </a:cubicBezTo>
                  <a:cubicBezTo>
                    <a:pt x="2644281" y="1078260"/>
                    <a:pt x="2674945" y="1043916"/>
                    <a:pt x="2704587" y="1010799"/>
                  </a:cubicBezTo>
                  <a:cubicBezTo>
                    <a:pt x="2778080" y="928516"/>
                    <a:pt x="2854127" y="843371"/>
                    <a:pt x="2906870" y="751072"/>
                  </a:cubicBezTo>
                  <a:cubicBezTo>
                    <a:pt x="2949186" y="676864"/>
                    <a:pt x="2947551" y="604496"/>
                    <a:pt x="2945813" y="527835"/>
                  </a:cubicBezTo>
                  <a:cubicBezTo>
                    <a:pt x="2944894" y="487358"/>
                    <a:pt x="2943973" y="445553"/>
                    <a:pt x="2950004" y="403338"/>
                  </a:cubicBezTo>
                  <a:cubicBezTo>
                    <a:pt x="2962576" y="315536"/>
                    <a:pt x="3014910" y="238773"/>
                    <a:pt x="3105677" y="175196"/>
                  </a:cubicBezTo>
                  <a:cubicBezTo>
                    <a:pt x="3184075" y="120204"/>
                    <a:pt x="3281588" y="76559"/>
                    <a:pt x="3403938" y="41601"/>
                  </a:cubicBezTo>
                  <a:cubicBezTo>
                    <a:pt x="3411707" y="39353"/>
                    <a:pt x="3420804" y="36593"/>
                    <a:pt x="3431025" y="33424"/>
                  </a:cubicBezTo>
                  <a:cubicBezTo>
                    <a:pt x="3476306" y="19319"/>
                    <a:pt x="3538351" y="0"/>
                    <a:pt x="3590889" y="0"/>
                  </a:cubicBezTo>
                  <a:cubicBezTo>
                    <a:pt x="3623495" y="0"/>
                    <a:pt x="3648026" y="7768"/>
                    <a:pt x="3663768" y="22998"/>
                  </a:cubicBezTo>
                  <a:cubicBezTo>
                    <a:pt x="3676953" y="35775"/>
                    <a:pt x="3682473" y="48654"/>
                    <a:pt x="3680735" y="62249"/>
                  </a:cubicBezTo>
                  <a:cubicBezTo>
                    <a:pt x="3676238" y="97717"/>
                    <a:pt x="3621860" y="129812"/>
                    <a:pt x="3585880" y="151073"/>
                  </a:cubicBezTo>
                  <a:cubicBezTo>
                    <a:pt x="3578827" y="155264"/>
                    <a:pt x="3572388" y="159046"/>
                    <a:pt x="3567073" y="162419"/>
                  </a:cubicBezTo>
                  <a:cubicBezTo>
                    <a:pt x="3547550" y="174889"/>
                    <a:pt x="3526494" y="186439"/>
                    <a:pt x="3506153" y="197683"/>
                  </a:cubicBezTo>
                  <a:cubicBezTo>
                    <a:pt x="3467516" y="219046"/>
                    <a:pt x="3427550" y="241124"/>
                    <a:pt x="3394637" y="270255"/>
                  </a:cubicBezTo>
                  <a:cubicBezTo>
                    <a:pt x="3330651" y="326984"/>
                    <a:pt x="3317261" y="401396"/>
                    <a:pt x="3354671" y="491549"/>
                  </a:cubicBezTo>
                  <a:cubicBezTo>
                    <a:pt x="3365506" y="517614"/>
                    <a:pt x="3464347" y="746063"/>
                    <a:pt x="3609083" y="745961"/>
                  </a:cubicBezTo>
                  <a:cubicBezTo>
                    <a:pt x="3633103" y="745961"/>
                    <a:pt x="3657124" y="739419"/>
                    <a:pt x="3680633" y="726540"/>
                  </a:cubicBezTo>
                  <a:cubicBezTo>
                    <a:pt x="3775079" y="674411"/>
                    <a:pt x="3865948" y="610425"/>
                    <a:pt x="3953750" y="548585"/>
                  </a:cubicBezTo>
                  <a:cubicBezTo>
                    <a:pt x="3979406" y="530493"/>
                    <a:pt x="4005062" y="512503"/>
                    <a:pt x="4030513" y="494820"/>
                  </a:cubicBezTo>
                  <a:cubicBezTo>
                    <a:pt x="4032659" y="493389"/>
                    <a:pt x="4035010" y="492674"/>
                    <a:pt x="4037770" y="492674"/>
                  </a:cubicBezTo>
                  <a:cubicBezTo>
                    <a:pt x="4045436" y="492674"/>
                    <a:pt x="4053614" y="498704"/>
                    <a:pt x="4055249" y="505655"/>
                  </a:cubicBezTo>
                  <a:cubicBezTo>
                    <a:pt x="4092046" y="658057"/>
                    <a:pt x="3974090" y="815978"/>
                    <a:pt x="3921655" y="876795"/>
                  </a:cubicBezTo>
                  <a:cubicBezTo>
                    <a:pt x="3831399" y="981463"/>
                    <a:pt x="3712422" y="1059146"/>
                    <a:pt x="3577499" y="1101258"/>
                  </a:cubicBezTo>
                  <a:cubicBezTo>
                    <a:pt x="3537533" y="1113729"/>
                    <a:pt x="3495727" y="1122519"/>
                    <a:pt x="3455250" y="1131105"/>
                  </a:cubicBezTo>
                  <a:cubicBezTo>
                    <a:pt x="3402814" y="1142144"/>
                    <a:pt x="3348538" y="1153592"/>
                    <a:pt x="3297635" y="1173115"/>
                  </a:cubicBezTo>
                  <a:cubicBezTo>
                    <a:pt x="3204927" y="1208686"/>
                    <a:pt x="3137057" y="1272672"/>
                    <a:pt x="3064075" y="1346471"/>
                  </a:cubicBezTo>
                  <a:cubicBezTo>
                    <a:pt x="2927517" y="1484767"/>
                    <a:pt x="2807108" y="1639724"/>
                    <a:pt x="2690686" y="1789570"/>
                  </a:cubicBezTo>
                  <a:lnTo>
                    <a:pt x="2683429" y="1798974"/>
                  </a:lnTo>
                  <a:lnTo>
                    <a:pt x="2686087" y="1800609"/>
                  </a:lnTo>
                  <a:cubicBezTo>
                    <a:pt x="2758863" y="1844868"/>
                    <a:pt x="2858625" y="1914068"/>
                    <a:pt x="2884587" y="2002687"/>
                  </a:cubicBezTo>
                  <a:cubicBezTo>
                    <a:pt x="2938965" y="2073931"/>
                    <a:pt x="2976682" y="2151001"/>
                    <a:pt x="2997125" y="2232568"/>
                  </a:cubicBezTo>
                  <a:cubicBezTo>
                    <a:pt x="3034127" y="2380574"/>
                    <a:pt x="3062338" y="2502414"/>
                    <a:pt x="3085949" y="2615974"/>
                  </a:cubicBezTo>
                  <a:cubicBezTo>
                    <a:pt x="3092287" y="2646638"/>
                    <a:pt x="3098317" y="2677405"/>
                    <a:pt x="3104246" y="2708069"/>
                  </a:cubicBezTo>
                  <a:cubicBezTo>
                    <a:pt x="3122849" y="2803640"/>
                    <a:pt x="3141963" y="2902379"/>
                    <a:pt x="3173956" y="2997336"/>
                  </a:cubicBezTo>
                  <a:cubicBezTo>
                    <a:pt x="3189595" y="3043742"/>
                    <a:pt x="3208913" y="3090862"/>
                    <a:pt x="3227618" y="3136450"/>
                  </a:cubicBezTo>
                  <a:cubicBezTo>
                    <a:pt x="3242849" y="3173554"/>
                    <a:pt x="3258589" y="3211884"/>
                    <a:pt x="3272286" y="3249806"/>
                  </a:cubicBezTo>
                  <a:cubicBezTo>
                    <a:pt x="3398623" y="3424388"/>
                    <a:pt x="3508913" y="3614507"/>
                    <a:pt x="3615420" y="3798289"/>
                  </a:cubicBezTo>
                  <a:cubicBezTo>
                    <a:pt x="3663052" y="3880469"/>
                    <a:pt x="3712319" y="3965409"/>
                    <a:pt x="3762098" y="4047283"/>
                  </a:cubicBezTo>
                  <a:lnTo>
                    <a:pt x="3790411" y="4093893"/>
                  </a:lnTo>
                  <a:cubicBezTo>
                    <a:pt x="3867481" y="4220536"/>
                    <a:pt x="3947106" y="4351575"/>
                    <a:pt x="4020803" y="4482716"/>
                  </a:cubicBezTo>
                  <a:cubicBezTo>
                    <a:pt x="4051160" y="4536788"/>
                    <a:pt x="4149184" y="4690110"/>
                    <a:pt x="4262642" y="4867758"/>
                  </a:cubicBezTo>
                  <a:cubicBezTo>
                    <a:pt x="4435691" y="5138524"/>
                    <a:pt x="4651057" y="5475525"/>
                    <a:pt x="4691023" y="5563123"/>
                  </a:cubicBezTo>
                  <a:lnTo>
                    <a:pt x="4691534" y="5564860"/>
                  </a:lnTo>
                  <a:cubicBezTo>
                    <a:pt x="4692965" y="5567620"/>
                    <a:pt x="4692863" y="5570891"/>
                    <a:pt x="4691432" y="5573038"/>
                  </a:cubicBezTo>
                  <a:cubicBezTo>
                    <a:pt x="4690410" y="5574468"/>
                    <a:pt x="4688876" y="5575286"/>
                    <a:pt x="4686832" y="5575286"/>
                  </a:cubicBezTo>
                  <a:lnTo>
                    <a:pt x="4685094" y="5575389"/>
                  </a:lnTo>
                  <a:close/>
                  <a:moveTo>
                    <a:pt x="449021" y="4288509"/>
                  </a:moveTo>
                  <a:cubicBezTo>
                    <a:pt x="452088" y="4288509"/>
                    <a:pt x="455359" y="4288713"/>
                    <a:pt x="458629" y="4289225"/>
                  </a:cubicBezTo>
                  <a:cubicBezTo>
                    <a:pt x="472633" y="4291269"/>
                    <a:pt x="484694" y="4297606"/>
                    <a:pt x="497471" y="4304352"/>
                  </a:cubicBezTo>
                  <a:cubicBezTo>
                    <a:pt x="508612" y="4310281"/>
                    <a:pt x="520265" y="4316311"/>
                    <a:pt x="533042" y="4319071"/>
                  </a:cubicBezTo>
                  <a:cubicBezTo>
                    <a:pt x="536926" y="4319889"/>
                    <a:pt x="540605" y="4320298"/>
                    <a:pt x="544183" y="4320298"/>
                  </a:cubicBezTo>
                  <a:cubicBezTo>
                    <a:pt x="568101" y="4320298"/>
                    <a:pt x="579856" y="4301184"/>
                    <a:pt x="591099" y="4282785"/>
                  </a:cubicBezTo>
                  <a:cubicBezTo>
                    <a:pt x="599277" y="4269395"/>
                    <a:pt x="607760" y="4255596"/>
                    <a:pt x="620844" y="4249054"/>
                  </a:cubicBezTo>
                  <a:cubicBezTo>
                    <a:pt x="627590" y="4245681"/>
                    <a:pt x="634847" y="4244148"/>
                    <a:pt x="643638" y="4244148"/>
                  </a:cubicBezTo>
                  <a:cubicBezTo>
                    <a:pt x="646704" y="4244148"/>
                    <a:pt x="649770" y="4244352"/>
                    <a:pt x="652939" y="4244659"/>
                  </a:cubicBezTo>
                  <a:cubicBezTo>
                    <a:pt x="658970" y="4245272"/>
                    <a:pt x="664592" y="4246294"/>
                    <a:pt x="669907" y="4247214"/>
                  </a:cubicBezTo>
                  <a:cubicBezTo>
                    <a:pt x="676755" y="4248441"/>
                    <a:pt x="683297" y="4249667"/>
                    <a:pt x="689430" y="4249667"/>
                  </a:cubicBezTo>
                  <a:cubicBezTo>
                    <a:pt x="703024" y="4249667"/>
                    <a:pt x="712939" y="4243637"/>
                    <a:pt x="721525" y="4230145"/>
                  </a:cubicBezTo>
                  <a:cubicBezTo>
                    <a:pt x="728987" y="4218390"/>
                    <a:pt x="730315" y="4204386"/>
                    <a:pt x="731542" y="4190996"/>
                  </a:cubicBezTo>
                  <a:cubicBezTo>
                    <a:pt x="733075" y="4174438"/>
                    <a:pt x="734506" y="4158901"/>
                    <a:pt x="746670" y="4147248"/>
                  </a:cubicBezTo>
                  <a:cubicBezTo>
                    <a:pt x="752598" y="4141525"/>
                    <a:pt x="759344" y="4139480"/>
                    <a:pt x="766499" y="4137231"/>
                  </a:cubicBezTo>
                  <a:cubicBezTo>
                    <a:pt x="771508" y="4135698"/>
                    <a:pt x="776721" y="4134063"/>
                    <a:pt x="781832" y="4131201"/>
                  </a:cubicBezTo>
                  <a:cubicBezTo>
                    <a:pt x="803910" y="4118731"/>
                    <a:pt x="813927" y="4109531"/>
                    <a:pt x="815460" y="4100639"/>
                  </a:cubicBezTo>
                  <a:cubicBezTo>
                    <a:pt x="816789" y="4092768"/>
                    <a:pt x="810963" y="4086431"/>
                    <a:pt x="804830" y="4079787"/>
                  </a:cubicBezTo>
                  <a:cubicBezTo>
                    <a:pt x="800128" y="4074676"/>
                    <a:pt x="794710" y="4068850"/>
                    <a:pt x="791644" y="4061491"/>
                  </a:cubicBezTo>
                  <a:cubicBezTo>
                    <a:pt x="782854" y="4040026"/>
                    <a:pt x="793995" y="4018867"/>
                    <a:pt x="804932" y="3998527"/>
                  </a:cubicBezTo>
                  <a:cubicBezTo>
                    <a:pt x="807181" y="3994336"/>
                    <a:pt x="809327" y="3990247"/>
                    <a:pt x="811371" y="3986158"/>
                  </a:cubicBezTo>
                  <a:cubicBezTo>
                    <a:pt x="824966" y="3958356"/>
                    <a:pt x="832837" y="3935154"/>
                    <a:pt x="800332" y="3911235"/>
                  </a:cubicBezTo>
                  <a:cubicBezTo>
                    <a:pt x="797061" y="3908884"/>
                    <a:pt x="792973" y="3907147"/>
                    <a:pt x="788987" y="3905614"/>
                  </a:cubicBezTo>
                  <a:cubicBezTo>
                    <a:pt x="786227" y="3904489"/>
                    <a:pt x="783467" y="3903365"/>
                    <a:pt x="781116" y="3902036"/>
                  </a:cubicBezTo>
                  <a:cubicBezTo>
                    <a:pt x="769975" y="3895494"/>
                    <a:pt x="762104" y="3889361"/>
                    <a:pt x="756891" y="3878833"/>
                  </a:cubicBezTo>
                  <a:cubicBezTo>
                    <a:pt x="750349" y="3865648"/>
                    <a:pt x="752803" y="3848680"/>
                    <a:pt x="755256" y="3832224"/>
                  </a:cubicBezTo>
                  <a:cubicBezTo>
                    <a:pt x="758016" y="3813416"/>
                    <a:pt x="760673" y="3795529"/>
                    <a:pt x="750452" y="3782956"/>
                  </a:cubicBezTo>
                  <a:cubicBezTo>
                    <a:pt x="744012" y="3774881"/>
                    <a:pt x="733075" y="3770077"/>
                    <a:pt x="717232" y="3768135"/>
                  </a:cubicBezTo>
                  <a:cubicBezTo>
                    <a:pt x="708442" y="3767011"/>
                    <a:pt x="700775" y="3767011"/>
                    <a:pt x="693416" y="3766909"/>
                  </a:cubicBezTo>
                  <a:cubicBezTo>
                    <a:pt x="675835" y="3766806"/>
                    <a:pt x="661934" y="3766704"/>
                    <a:pt x="644353" y="3752599"/>
                  </a:cubicBezTo>
                  <a:cubicBezTo>
                    <a:pt x="635767" y="3745648"/>
                    <a:pt x="632394" y="3738186"/>
                    <a:pt x="628919" y="3730214"/>
                  </a:cubicBezTo>
                  <a:cubicBezTo>
                    <a:pt x="626261" y="3724285"/>
                    <a:pt x="623501" y="3718050"/>
                    <a:pt x="618391" y="3712122"/>
                  </a:cubicBezTo>
                  <a:cubicBezTo>
                    <a:pt x="610725" y="3703229"/>
                    <a:pt x="601730" y="3698834"/>
                    <a:pt x="591099" y="3698834"/>
                  </a:cubicBezTo>
                  <a:cubicBezTo>
                    <a:pt x="579242" y="3698834"/>
                    <a:pt x="567386" y="3704149"/>
                    <a:pt x="555835" y="3709362"/>
                  </a:cubicBezTo>
                  <a:cubicBezTo>
                    <a:pt x="546841" y="3713348"/>
                    <a:pt x="538357" y="3717130"/>
                    <a:pt x="530895" y="3718050"/>
                  </a:cubicBezTo>
                  <a:cubicBezTo>
                    <a:pt x="527931" y="3718357"/>
                    <a:pt x="525069" y="3718561"/>
                    <a:pt x="522309" y="3718561"/>
                  </a:cubicBezTo>
                  <a:cubicBezTo>
                    <a:pt x="500537" y="3718561"/>
                    <a:pt x="486125" y="3707931"/>
                    <a:pt x="469464" y="3694030"/>
                  </a:cubicBezTo>
                  <a:cubicBezTo>
                    <a:pt x="454745" y="3681662"/>
                    <a:pt x="442275" y="3675631"/>
                    <a:pt x="431440" y="3675631"/>
                  </a:cubicBezTo>
                  <a:cubicBezTo>
                    <a:pt x="412224" y="3675631"/>
                    <a:pt x="402105" y="3693927"/>
                    <a:pt x="391372" y="3713246"/>
                  </a:cubicBezTo>
                  <a:cubicBezTo>
                    <a:pt x="383808" y="3726840"/>
                    <a:pt x="375938" y="3740946"/>
                    <a:pt x="364694" y="3749021"/>
                  </a:cubicBezTo>
                  <a:cubicBezTo>
                    <a:pt x="354677" y="3756176"/>
                    <a:pt x="344660" y="3759651"/>
                    <a:pt x="334030" y="3759651"/>
                  </a:cubicBezTo>
                  <a:cubicBezTo>
                    <a:pt x="333110" y="3759651"/>
                    <a:pt x="332088" y="3759651"/>
                    <a:pt x="331168" y="3759549"/>
                  </a:cubicBezTo>
                  <a:cubicBezTo>
                    <a:pt x="329533" y="3759447"/>
                    <a:pt x="327693" y="3758834"/>
                    <a:pt x="325751" y="3758220"/>
                  </a:cubicBezTo>
                  <a:cubicBezTo>
                    <a:pt x="323604" y="3757505"/>
                    <a:pt x="321458" y="3756789"/>
                    <a:pt x="319005" y="3756687"/>
                  </a:cubicBezTo>
                  <a:cubicBezTo>
                    <a:pt x="313485" y="3753723"/>
                    <a:pt x="307863" y="3752087"/>
                    <a:pt x="302344" y="3752087"/>
                  </a:cubicBezTo>
                  <a:cubicBezTo>
                    <a:pt x="295597" y="3752087"/>
                    <a:pt x="288749" y="3754336"/>
                    <a:pt x="282105" y="3758731"/>
                  </a:cubicBezTo>
                  <a:lnTo>
                    <a:pt x="281390" y="3759243"/>
                  </a:lnTo>
                  <a:lnTo>
                    <a:pt x="281083" y="3760060"/>
                  </a:lnTo>
                  <a:cubicBezTo>
                    <a:pt x="277505" y="3768135"/>
                    <a:pt x="276279" y="3776823"/>
                    <a:pt x="275155" y="3785205"/>
                  </a:cubicBezTo>
                  <a:cubicBezTo>
                    <a:pt x="274235" y="3791542"/>
                    <a:pt x="273315" y="3798186"/>
                    <a:pt x="271373" y="3804319"/>
                  </a:cubicBezTo>
                  <a:cubicBezTo>
                    <a:pt x="271270" y="3804932"/>
                    <a:pt x="271066" y="3805341"/>
                    <a:pt x="270759" y="3805852"/>
                  </a:cubicBezTo>
                  <a:cubicBezTo>
                    <a:pt x="269839" y="3808305"/>
                    <a:pt x="269226" y="3810043"/>
                    <a:pt x="268408" y="3811781"/>
                  </a:cubicBezTo>
                  <a:cubicBezTo>
                    <a:pt x="262071" y="3824047"/>
                    <a:pt x="253178" y="3828748"/>
                    <a:pt x="240810" y="3835188"/>
                  </a:cubicBezTo>
                  <a:lnTo>
                    <a:pt x="239175" y="3836108"/>
                  </a:lnTo>
                  <a:cubicBezTo>
                    <a:pt x="233349" y="3839174"/>
                    <a:pt x="228340" y="3840196"/>
                    <a:pt x="223127" y="3841218"/>
                  </a:cubicBezTo>
                  <a:cubicBezTo>
                    <a:pt x="214950" y="3842854"/>
                    <a:pt x="206466" y="3844592"/>
                    <a:pt x="195427" y="3854200"/>
                  </a:cubicBezTo>
                  <a:cubicBezTo>
                    <a:pt x="177949" y="3869430"/>
                    <a:pt x="173553" y="3888850"/>
                    <a:pt x="182037" y="3913586"/>
                  </a:cubicBezTo>
                  <a:cubicBezTo>
                    <a:pt x="183979" y="3919412"/>
                    <a:pt x="186841" y="3924728"/>
                    <a:pt x="189601" y="3929941"/>
                  </a:cubicBezTo>
                  <a:cubicBezTo>
                    <a:pt x="194507" y="3939038"/>
                    <a:pt x="199107" y="3947726"/>
                    <a:pt x="198698" y="3958254"/>
                  </a:cubicBezTo>
                  <a:cubicBezTo>
                    <a:pt x="198085" y="3973791"/>
                    <a:pt x="188681" y="3986465"/>
                    <a:pt x="179584" y="3998731"/>
                  </a:cubicBezTo>
                  <a:cubicBezTo>
                    <a:pt x="168136" y="4014063"/>
                    <a:pt x="156279" y="4030009"/>
                    <a:pt x="162208" y="4051269"/>
                  </a:cubicBezTo>
                  <a:cubicBezTo>
                    <a:pt x="167318" y="4069463"/>
                    <a:pt x="182139" y="4080809"/>
                    <a:pt x="196552" y="4091746"/>
                  </a:cubicBezTo>
                  <a:cubicBezTo>
                    <a:pt x="211884" y="4103398"/>
                    <a:pt x="226398" y="4114438"/>
                    <a:pt x="230385" y="4133245"/>
                  </a:cubicBezTo>
                  <a:cubicBezTo>
                    <a:pt x="232429" y="4142853"/>
                    <a:pt x="230385" y="4152359"/>
                    <a:pt x="228238" y="4162376"/>
                  </a:cubicBezTo>
                  <a:cubicBezTo>
                    <a:pt x="226194" y="4171780"/>
                    <a:pt x="224150" y="4181490"/>
                    <a:pt x="225683" y="4191405"/>
                  </a:cubicBezTo>
                  <a:cubicBezTo>
                    <a:pt x="230998" y="4225341"/>
                    <a:pt x="251747" y="4228611"/>
                    <a:pt x="278017" y="4232802"/>
                  </a:cubicBezTo>
                  <a:cubicBezTo>
                    <a:pt x="281492" y="4233313"/>
                    <a:pt x="285069" y="4233927"/>
                    <a:pt x="288749" y="4234642"/>
                  </a:cubicBezTo>
                  <a:cubicBezTo>
                    <a:pt x="315734" y="4239548"/>
                    <a:pt x="331066" y="4248747"/>
                    <a:pt x="349567" y="4271337"/>
                  </a:cubicBezTo>
                  <a:cubicBezTo>
                    <a:pt x="351918" y="4274097"/>
                    <a:pt x="354166" y="4277674"/>
                    <a:pt x="356619" y="4281559"/>
                  </a:cubicBezTo>
                  <a:cubicBezTo>
                    <a:pt x="364081" y="4293108"/>
                    <a:pt x="373383" y="4307419"/>
                    <a:pt x="388101" y="4309565"/>
                  </a:cubicBezTo>
                  <a:cubicBezTo>
                    <a:pt x="388204" y="4309565"/>
                    <a:pt x="388204" y="4309565"/>
                    <a:pt x="388204" y="4309565"/>
                  </a:cubicBezTo>
                  <a:cubicBezTo>
                    <a:pt x="393928" y="4309565"/>
                    <a:pt x="402309" y="4305374"/>
                    <a:pt x="413655" y="4299344"/>
                  </a:cubicBezTo>
                  <a:cubicBezTo>
                    <a:pt x="418357" y="4296788"/>
                    <a:pt x="422854" y="4294437"/>
                    <a:pt x="425205" y="4293620"/>
                  </a:cubicBezTo>
                  <a:cubicBezTo>
                    <a:pt x="433689" y="4289940"/>
                    <a:pt x="441355" y="4288509"/>
                    <a:pt x="449021" y="4288509"/>
                  </a:cubicBezTo>
                  <a:close/>
                </a:path>
              </a:pathLst>
            </a:custGeom>
            <a:solidFill>
              <a:schemeClr val="bg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7DE45C97-6A71-4152-B91B-30B88C68EB81}"/>
                </a:ext>
              </a:extLst>
            </p:cNvPr>
            <p:cNvSpPr/>
            <p:nvPr/>
          </p:nvSpPr>
          <p:spPr>
            <a:xfrm>
              <a:off x="8885725" y="1935135"/>
              <a:ext cx="1101246" cy="475358"/>
            </a:xfrm>
            <a:custGeom>
              <a:avLst/>
              <a:gdLst>
                <a:gd name="connsiteX0" fmla="*/ 82906 w 1420780"/>
                <a:gd name="connsiteY0" fmla="*/ 608320 h 613286"/>
                <a:gd name="connsiteX1" fmla="*/ 238067 w 1420780"/>
                <a:gd name="connsiteY1" fmla="*/ 596974 h 613286"/>
                <a:gd name="connsiteX2" fmla="*/ 366346 w 1420780"/>
                <a:gd name="connsiteY2" fmla="*/ 507639 h 613286"/>
                <a:gd name="connsiteX3" fmla="*/ 469378 w 1420780"/>
                <a:gd name="connsiteY3" fmla="*/ 385084 h 613286"/>
                <a:gd name="connsiteX4" fmla="*/ 483893 w 1420780"/>
                <a:gd name="connsiteY4" fmla="*/ 483516 h 613286"/>
                <a:gd name="connsiteX5" fmla="*/ 511695 w 1420780"/>
                <a:gd name="connsiteY5" fmla="*/ 345322 h 613286"/>
                <a:gd name="connsiteX6" fmla="*/ 521917 w 1420780"/>
                <a:gd name="connsiteY6" fmla="*/ 486276 h 613286"/>
                <a:gd name="connsiteX7" fmla="*/ 556772 w 1420780"/>
                <a:gd name="connsiteY7" fmla="*/ 275919 h 613286"/>
                <a:gd name="connsiteX8" fmla="*/ 570673 w 1420780"/>
                <a:gd name="connsiteY8" fmla="*/ 399700 h 613286"/>
                <a:gd name="connsiteX9" fmla="*/ 584676 w 1420780"/>
                <a:gd name="connsiteY9" fmla="*/ 239837 h 613286"/>
                <a:gd name="connsiteX10" fmla="*/ 603484 w 1420780"/>
                <a:gd name="connsiteY10" fmla="*/ 388355 h 613286"/>
                <a:gd name="connsiteX11" fmla="*/ 611968 w 1420780"/>
                <a:gd name="connsiteY11" fmla="*/ 240859 h 613286"/>
                <a:gd name="connsiteX12" fmla="*/ 640690 w 1420780"/>
                <a:gd name="connsiteY12" fmla="*/ 346038 h 613286"/>
                <a:gd name="connsiteX13" fmla="*/ 680656 w 1420780"/>
                <a:gd name="connsiteY13" fmla="*/ 164709 h 613286"/>
                <a:gd name="connsiteX14" fmla="*/ 710093 w 1420780"/>
                <a:gd name="connsiteY14" fmla="*/ 307196 h 613286"/>
                <a:gd name="connsiteX15" fmla="*/ 718782 w 1420780"/>
                <a:gd name="connsiteY15" fmla="*/ 197827 h 613286"/>
                <a:gd name="connsiteX16" fmla="*/ 745664 w 1420780"/>
                <a:gd name="connsiteY16" fmla="*/ 332443 h 613286"/>
                <a:gd name="connsiteX17" fmla="*/ 815068 w 1420780"/>
                <a:gd name="connsiteY17" fmla="*/ 251489 h 613286"/>
                <a:gd name="connsiteX18" fmla="*/ 828253 w 1420780"/>
                <a:gd name="connsiteY18" fmla="*/ 240961 h 613286"/>
                <a:gd name="connsiteX19" fmla="*/ 845834 w 1420780"/>
                <a:gd name="connsiteY19" fmla="*/ 241677 h 613286"/>
                <a:gd name="connsiteX20" fmla="*/ 1199292 w 1420780"/>
                <a:gd name="connsiteY20" fmla="*/ 370160 h 613286"/>
                <a:gd name="connsiteX21" fmla="*/ 1220143 w 1420780"/>
                <a:gd name="connsiteY21" fmla="*/ 389683 h 613286"/>
                <a:gd name="connsiteX22" fmla="*/ 1177725 w 1420780"/>
                <a:gd name="connsiteY22" fmla="*/ 452545 h 613286"/>
                <a:gd name="connsiteX23" fmla="*/ 1260212 w 1420780"/>
                <a:gd name="connsiteY23" fmla="*/ 408695 h 613286"/>
                <a:gd name="connsiteX24" fmla="*/ 1190195 w 1420780"/>
                <a:gd name="connsiteY24" fmla="*/ 472886 h 613286"/>
                <a:gd name="connsiteX25" fmla="*/ 1421404 w 1420780"/>
                <a:gd name="connsiteY25" fmla="*/ 408389 h 613286"/>
                <a:gd name="connsiteX26" fmla="*/ 1331251 w 1420780"/>
                <a:gd name="connsiteY26" fmla="*/ 303210 h 613286"/>
                <a:gd name="connsiteX27" fmla="*/ 1004573 w 1420780"/>
                <a:gd name="connsiteY27" fmla="*/ 111149 h 613286"/>
                <a:gd name="connsiteX28" fmla="*/ 815783 w 1420780"/>
                <a:gd name="connsiteY28" fmla="*/ 18543 h 613286"/>
                <a:gd name="connsiteX29" fmla="*/ 607061 w 1420780"/>
                <a:gd name="connsiteY29" fmla="*/ 16294 h 613286"/>
                <a:gd name="connsiteX30" fmla="*/ 442189 w 1420780"/>
                <a:gd name="connsiteY30" fmla="*/ 137316 h 613286"/>
                <a:gd name="connsiteX31" fmla="*/ 202599 w 1420780"/>
                <a:gd name="connsiteY31" fmla="*/ 323959 h 613286"/>
                <a:gd name="connsiteX32" fmla="*/ 79737 w 1420780"/>
                <a:gd name="connsiteY32" fmla="*/ 416157 h 613286"/>
                <a:gd name="connsiteX33" fmla="*/ 10 w 1420780"/>
                <a:gd name="connsiteY33" fmla="*/ 505288 h 613286"/>
                <a:gd name="connsiteX34" fmla="*/ 82906 w 1420780"/>
                <a:gd name="connsiteY34" fmla="*/ 608320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420780" h="613286">
                  <a:moveTo>
                    <a:pt x="82906" y="608320"/>
                  </a:moveTo>
                  <a:cubicBezTo>
                    <a:pt x="132582" y="626616"/>
                    <a:pt x="189822" y="618439"/>
                    <a:pt x="238067" y="596974"/>
                  </a:cubicBezTo>
                  <a:cubicBezTo>
                    <a:pt x="286312" y="575509"/>
                    <a:pt x="327198" y="541778"/>
                    <a:pt x="366346" y="507639"/>
                  </a:cubicBezTo>
                  <a:cubicBezTo>
                    <a:pt x="407232" y="471966"/>
                    <a:pt x="448220" y="433738"/>
                    <a:pt x="469378" y="385084"/>
                  </a:cubicBezTo>
                  <a:cubicBezTo>
                    <a:pt x="480826" y="416566"/>
                    <a:pt x="485835" y="450194"/>
                    <a:pt x="483893" y="483516"/>
                  </a:cubicBezTo>
                  <a:cubicBezTo>
                    <a:pt x="506278" y="440995"/>
                    <a:pt x="515988" y="392648"/>
                    <a:pt x="511695" y="345322"/>
                  </a:cubicBezTo>
                  <a:cubicBezTo>
                    <a:pt x="525188" y="391012"/>
                    <a:pt x="528663" y="439257"/>
                    <a:pt x="521917" y="486276"/>
                  </a:cubicBezTo>
                  <a:cubicBezTo>
                    <a:pt x="553092" y="420756"/>
                    <a:pt x="565256" y="347264"/>
                    <a:pt x="556772" y="275919"/>
                  </a:cubicBezTo>
                  <a:cubicBezTo>
                    <a:pt x="567198" y="316396"/>
                    <a:pt x="571900" y="358099"/>
                    <a:pt x="570673" y="399700"/>
                  </a:cubicBezTo>
                  <a:cubicBezTo>
                    <a:pt x="590707" y="349002"/>
                    <a:pt x="595511" y="292988"/>
                    <a:pt x="584676" y="239837"/>
                  </a:cubicBezTo>
                  <a:cubicBezTo>
                    <a:pt x="600928" y="287571"/>
                    <a:pt x="607368" y="338372"/>
                    <a:pt x="603484" y="388355"/>
                  </a:cubicBezTo>
                  <a:cubicBezTo>
                    <a:pt x="611968" y="339701"/>
                    <a:pt x="614830" y="290126"/>
                    <a:pt x="611968" y="240859"/>
                  </a:cubicBezTo>
                  <a:cubicBezTo>
                    <a:pt x="624642" y="275101"/>
                    <a:pt x="634250" y="310365"/>
                    <a:pt x="640690" y="346038"/>
                  </a:cubicBezTo>
                  <a:cubicBezTo>
                    <a:pt x="670128" y="290229"/>
                    <a:pt x="684029" y="227060"/>
                    <a:pt x="680656" y="164709"/>
                  </a:cubicBezTo>
                  <a:cubicBezTo>
                    <a:pt x="699361" y="209990"/>
                    <a:pt x="709378" y="258542"/>
                    <a:pt x="710093" y="307196"/>
                  </a:cubicBezTo>
                  <a:cubicBezTo>
                    <a:pt x="721746" y="272034"/>
                    <a:pt x="724710" y="234317"/>
                    <a:pt x="718782" y="197827"/>
                  </a:cubicBezTo>
                  <a:cubicBezTo>
                    <a:pt x="726039" y="243006"/>
                    <a:pt x="735034" y="287878"/>
                    <a:pt x="745664" y="332443"/>
                  </a:cubicBezTo>
                  <a:cubicBezTo>
                    <a:pt x="768764" y="305459"/>
                    <a:pt x="791967" y="278474"/>
                    <a:pt x="815068" y="251489"/>
                  </a:cubicBezTo>
                  <a:cubicBezTo>
                    <a:pt x="818747" y="247196"/>
                    <a:pt x="822734" y="242699"/>
                    <a:pt x="828253" y="240961"/>
                  </a:cubicBezTo>
                  <a:cubicBezTo>
                    <a:pt x="833875" y="239121"/>
                    <a:pt x="840008" y="240348"/>
                    <a:pt x="845834" y="241677"/>
                  </a:cubicBezTo>
                  <a:cubicBezTo>
                    <a:pt x="968900" y="269581"/>
                    <a:pt x="1088082" y="312818"/>
                    <a:pt x="1199292" y="370160"/>
                  </a:cubicBezTo>
                  <a:cubicBezTo>
                    <a:pt x="1208082" y="374760"/>
                    <a:pt x="1217792" y="380382"/>
                    <a:pt x="1220143" y="389683"/>
                  </a:cubicBezTo>
                  <a:cubicBezTo>
                    <a:pt x="1226685" y="415237"/>
                    <a:pt x="1174863" y="426480"/>
                    <a:pt x="1177725" y="452545"/>
                  </a:cubicBezTo>
                  <a:cubicBezTo>
                    <a:pt x="1203482" y="435271"/>
                    <a:pt x="1231183" y="420552"/>
                    <a:pt x="1260212" y="408695"/>
                  </a:cubicBezTo>
                  <a:cubicBezTo>
                    <a:pt x="1231591" y="423925"/>
                    <a:pt x="1207162" y="446310"/>
                    <a:pt x="1190195" y="472886"/>
                  </a:cubicBezTo>
                  <a:cubicBezTo>
                    <a:pt x="1257350" y="428832"/>
                    <a:pt x="1339735" y="405833"/>
                    <a:pt x="1421404" y="408389"/>
                  </a:cubicBezTo>
                  <a:cubicBezTo>
                    <a:pt x="1421097" y="361165"/>
                    <a:pt x="1373669" y="328150"/>
                    <a:pt x="1331251" y="303210"/>
                  </a:cubicBezTo>
                  <a:cubicBezTo>
                    <a:pt x="1222392" y="239224"/>
                    <a:pt x="1113432" y="175135"/>
                    <a:pt x="1004573" y="111149"/>
                  </a:cubicBezTo>
                  <a:cubicBezTo>
                    <a:pt x="944267" y="75681"/>
                    <a:pt x="883245" y="39906"/>
                    <a:pt x="815783" y="18543"/>
                  </a:cubicBezTo>
                  <a:cubicBezTo>
                    <a:pt x="748424" y="-2718"/>
                    <a:pt x="672990" y="-8544"/>
                    <a:pt x="607061" y="16294"/>
                  </a:cubicBezTo>
                  <a:cubicBezTo>
                    <a:pt x="541951" y="40723"/>
                    <a:pt x="492888" y="91626"/>
                    <a:pt x="442189" y="137316"/>
                  </a:cubicBezTo>
                  <a:cubicBezTo>
                    <a:pt x="367266" y="204982"/>
                    <a:pt x="284575" y="264164"/>
                    <a:pt x="202599" y="323959"/>
                  </a:cubicBezTo>
                  <a:cubicBezTo>
                    <a:pt x="161202" y="354113"/>
                    <a:pt x="119907" y="384470"/>
                    <a:pt x="79737" y="416157"/>
                  </a:cubicBezTo>
                  <a:cubicBezTo>
                    <a:pt x="49890" y="439768"/>
                    <a:pt x="-808" y="465833"/>
                    <a:pt x="10" y="505288"/>
                  </a:cubicBezTo>
                  <a:cubicBezTo>
                    <a:pt x="930" y="551080"/>
                    <a:pt x="39669" y="592477"/>
                    <a:pt x="82906" y="60832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E5F1931B-F9B7-4341-84AF-92B090761EFB}"/>
                </a:ext>
              </a:extLst>
            </p:cNvPr>
            <p:cNvSpPr/>
            <p:nvPr/>
          </p:nvSpPr>
          <p:spPr>
            <a:xfrm>
              <a:off x="9099586" y="1736222"/>
              <a:ext cx="388209" cy="221833"/>
            </a:xfrm>
            <a:custGeom>
              <a:avLst/>
              <a:gdLst>
                <a:gd name="connsiteX0" fmla="*/ 57212 w 500850"/>
                <a:gd name="connsiteY0" fmla="*/ 156296 h 286200"/>
                <a:gd name="connsiteX1" fmla="*/ 180789 w 500850"/>
                <a:gd name="connsiteY1" fmla="*/ 57046 h 286200"/>
                <a:gd name="connsiteX2" fmla="*/ 85423 w 500850"/>
                <a:gd name="connsiteY2" fmla="*/ 166006 h 286200"/>
                <a:gd name="connsiteX3" fmla="*/ 214315 w 500850"/>
                <a:gd name="connsiteY3" fmla="*/ 71662 h 286200"/>
                <a:gd name="connsiteX4" fmla="*/ 109954 w 500850"/>
                <a:gd name="connsiteY4" fmla="*/ 199533 h 286200"/>
                <a:gd name="connsiteX5" fmla="*/ 506035 w 500850"/>
                <a:gd name="connsiteY5" fmla="*/ 104371 h 286200"/>
                <a:gd name="connsiteX6" fmla="*/ 308455 w 500850"/>
                <a:gd name="connsiteY6" fmla="*/ 1850 h 286200"/>
                <a:gd name="connsiteX7" fmla="*/ 91760 w 500850"/>
                <a:gd name="connsiteY7" fmla="*/ 59397 h 286200"/>
                <a:gd name="connsiteX8" fmla="*/ 49852 w 500850"/>
                <a:gd name="connsiteY8" fmla="*/ 97318 h 286200"/>
                <a:gd name="connsiteX9" fmla="*/ 1505 w 500850"/>
                <a:gd name="connsiteY9" fmla="*/ 186960 h 286200"/>
                <a:gd name="connsiteX10" fmla="*/ 21743 w 500850"/>
                <a:gd name="connsiteY10" fmla="*/ 288868 h 286200"/>
                <a:gd name="connsiteX11" fmla="*/ 29205 w 500850"/>
                <a:gd name="connsiteY11" fmla="*/ 225495 h 286200"/>
                <a:gd name="connsiteX12" fmla="*/ 57212 w 500850"/>
                <a:gd name="connsiteY12" fmla="*/ 156296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850" h="286200">
                  <a:moveTo>
                    <a:pt x="57212" y="156296"/>
                  </a:moveTo>
                  <a:cubicBezTo>
                    <a:pt x="85729" y="112037"/>
                    <a:pt x="130806" y="78409"/>
                    <a:pt x="180789" y="57046"/>
                  </a:cubicBezTo>
                  <a:cubicBezTo>
                    <a:pt x="137757" y="82497"/>
                    <a:pt x="103821" y="121339"/>
                    <a:pt x="85423" y="166006"/>
                  </a:cubicBezTo>
                  <a:cubicBezTo>
                    <a:pt x="116291" y="122667"/>
                    <a:pt x="162186" y="89039"/>
                    <a:pt x="214315" y="71662"/>
                  </a:cubicBezTo>
                  <a:cubicBezTo>
                    <a:pt x="163106" y="98443"/>
                    <a:pt x="124469" y="145870"/>
                    <a:pt x="109954" y="199533"/>
                  </a:cubicBezTo>
                  <a:cubicBezTo>
                    <a:pt x="210533" y="103247"/>
                    <a:pt x="369068" y="65121"/>
                    <a:pt x="506035" y="104371"/>
                  </a:cubicBezTo>
                  <a:cubicBezTo>
                    <a:pt x="457177" y="48051"/>
                    <a:pt x="384911" y="10334"/>
                    <a:pt x="308455" y="1850"/>
                  </a:cubicBezTo>
                  <a:cubicBezTo>
                    <a:pt x="231998" y="-6634"/>
                    <a:pt x="152169" y="14320"/>
                    <a:pt x="91760" y="59397"/>
                  </a:cubicBezTo>
                  <a:cubicBezTo>
                    <a:pt x="76530" y="70743"/>
                    <a:pt x="62629" y="83519"/>
                    <a:pt x="49852" y="97318"/>
                  </a:cubicBezTo>
                  <a:cubicBezTo>
                    <a:pt x="26241" y="122974"/>
                    <a:pt x="6615" y="153230"/>
                    <a:pt x="1505" y="186960"/>
                  </a:cubicBezTo>
                  <a:cubicBezTo>
                    <a:pt x="-3095" y="217522"/>
                    <a:pt x="2629" y="263928"/>
                    <a:pt x="21743" y="288868"/>
                  </a:cubicBezTo>
                  <a:cubicBezTo>
                    <a:pt x="33600" y="275376"/>
                    <a:pt x="25934" y="242974"/>
                    <a:pt x="29205" y="225495"/>
                  </a:cubicBezTo>
                  <a:cubicBezTo>
                    <a:pt x="34009" y="201066"/>
                    <a:pt x="43617" y="177454"/>
                    <a:pt x="57212" y="15629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EF543B00-C5FA-4CB6-9936-FD4304285B1D}"/>
                </a:ext>
              </a:extLst>
            </p:cNvPr>
            <p:cNvSpPr/>
            <p:nvPr/>
          </p:nvSpPr>
          <p:spPr>
            <a:xfrm>
              <a:off x="8857827" y="2010682"/>
              <a:ext cx="316905" cy="269369"/>
            </a:xfrm>
            <a:custGeom>
              <a:avLst/>
              <a:gdLst>
                <a:gd name="connsiteX0" fmla="*/ 176239 w 408857"/>
                <a:gd name="connsiteY0" fmla="*/ 226492 h 347529"/>
                <a:gd name="connsiteX1" fmla="*/ 202917 w 408857"/>
                <a:gd name="connsiteY1" fmla="*/ 152080 h 347529"/>
                <a:gd name="connsiteX2" fmla="*/ 113889 w 408857"/>
                <a:gd name="connsiteY2" fmla="*/ 238860 h 347529"/>
                <a:gd name="connsiteX3" fmla="*/ 71061 w 408857"/>
                <a:gd name="connsiteY3" fmla="*/ 351296 h 347529"/>
                <a:gd name="connsiteX4" fmla="*/ 226 w 408857"/>
                <a:gd name="connsiteY4" fmla="*/ 230069 h 347529"/>
                <a:gd name="connsiteX5" fmla="*/ 18420 w 408857"/>
                <a:gd name="connsiteY5" fmla="*/ 174158 h 347529"/>
                <a:gd name="connsiteX6" fmla="*/ 163769 w 408857"/>
                <a:gd name="connsiteY6" fmla="*/ 28502 h 347529"/>
                <a:gd name="connsiteX7" fmla="*/ 372287 w 408857"/>
                <a:gd name="connsiteY7" fmla="*/ 15010 h 347529"/>
                <a:gd name="connsiteX8" fmla="*/ 414297 w 408857"/>
                <a:gd name="connsiteY8" fmla="*/ 47003 h 347529"/>
                <a:gd name="connsiteX9" fmla="*/ 337432 w 408857"/>
                <a:gd name="connsiteY9" fmla="*/ 67037 h 347529"/>
                <a:gd name="connsiteX10" fmla="*/ 268948 w 408857"/>
                <a:gd name="connsiteY10" fmla="*/ 104857 h 347529"/>
                <a:gd name="connsiteX11" fmla="*/ 176239 w 408857"/>
                <a:gd name="connsiteY11" fmla="*/ 226492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857" h="347529">
                  <a:moveTo>
                    <a:pt x="176239" y="226492"/>
                  </a:moveTo>
                  <a:cubicBezTo>
                    <a:pt x="176444" y="199814"/>
                    <a:pt x="185950" y="173340"/>
                    <a:pt x="202917" y="152080"/>
                  </a:cubicBezTo>
                  <a:cubicBezTo>
                    <a:pt x="170107" y="178042"/>
                    <a:pt x="138522" y="205742"/>
                    <a:pt x="113889" y="238860"/>
                  </a:cubicBezTo>
                  <a:cubicBezTo>
                    <a:pt x="89357" y="271977"/>
                    <a:pt x="72083" y="310819"/>
                    <a:pt x="71061" y="351296"/>
                  </a:cubicBezTo>
                  <a:cubicBezTo>
                    <a:pt x="31708" y="320938"/>
                    <a:pt x="-3147" y="278008"/>
                    <a:pt x="226" y="230069"/>
                  </a:cubicBezTo>
                  <a:cubicBezTo>
                    <a:pt x="1657" y="210444"/>
                    <a:pt x="9323" y="191739"/>
                    <a:pt x="18420" y="174158"/>
                  </a:cubicBezTo>
                  <a:cubicBezTo>
                    <a:pt x="49902" y="113136"/>
                    <a:pt x="99987" y="59678"/>
                    <a:pt x="163769" y="28502"/>
                  </a:cubicBezTo>
                  <a:cubicBezTo>
                    <a:pt x="227551" y="-2673"/>
                    <a:pt x="305439" y="-9930"/>
                    <a:pt x="372287" y="15010"/>
                  </a:cubicBezTo>
                  <a:cubicBezTo>
                    <a:pt x="387925" y="20836"/>
                    <a:pt x="409391" y="30649"/>
                    <a:pt x="414297" y="47003"/>
                  </a:cubicBezTo>
                  <a:cubicBezTo>
                    <a:pt x="391503" y="57123"/>
                    <a:pt x="361759" y="57531"/>
                    <a:pt x="337432" y="67037"/>
                  </a:cubicBezTo>
                  <a:cubicBezTo>
                    <a:pt x="312900" y="76543"/>
                    <a:pt x="289800" y="89422"/>
                    <a:pt x="268948" y="104857"/>
                  </a:cubicBezTo>
                  <a:cubicBezTo>
                    <a:pt x="226938" y="136032"/>
                    <a:pt x="193616" y="178349"/>
                    <a:pt x="176239" y="22649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4084246E-C3A7-4309-9430-E595B1E3F3FC}"/>
                </a:ext>
              </a:extLst>
            </p:cNvPr>
            <p:cNvSpPr/>
            <p:nvPr/>
          </p:nvSpPr>
          <p:spPr>
            <a:xfrm>
              <a:off x="8562093" y="2344134"/>
              <a:ext cx="404054" cy="681346"/>
            </a:xfrm>
            <a:custGeom>
              <a:avLst/>
              <a:gdLst>
                <a:gd name="connsiteX0" fmla="*/ 420714 w 521293"/>
                <a:gd name="connsiteY0" fmla="*/ 235809 h 879044"/>
                <a:gd name="connsiteX1" fmla="*/ 405586 w 521293"/>
                <a:gd name="connsiteY1" fmla="*/ 369096 h 879044"/>
                <a:gd name="connsiteX2" fmla="*/ 435228 w 521293"/>
                <a:gd name="connsiteY2" fmla="*/ 294071 h 879044"/>
                <a:gd name="connsiteX3" fmla="*/ 430219 w 521293"/>
                <a:gd name="connsiteY3" fmla="*/ 404462 h 879044"/>
                <a:gd name="connsiteX4" fmla="*/ 460168 w 521293"/>
                <a:gd name="connsiteY4" fmla="*/ 324735 h 879044"/>
                <a:gd name="connsiteX5" fmla="*/ 523030 w 521293"/>
                <a:gd name="connsiteY5" fmla="*/ 569232 h 879044"/>
                <a:gd name="connsiteX6" fmla="*/ 297954 w 521293"/>
                <a:gd name="connsiteY6" fmla="*/ 414275 h 879044"/>
                <a:gd name="connsiteX7" fmla="*/ 256659 w 521293"/>
                <a:gd name="connsiteY7" fmla="*/ 460783 h 879044"/>
                <a:gd name="connsiteX8" fmla="*/ 191651 w 521293"/>
                <a:gd name="connsiteY8" fmla="*/ 663372 h 879044"/>
                <a:gd name="connsiteX9" fmla="*/ 180407 w 521293"/>
                <a:gd name="connsiteY9" fmla="*/ 566370 h 879044"/>
                <a:gd name="connsiteX10" fmla="*/ 168346 w 521293"/>
                <a:gd name="connsiteY10" fmla="*/ 721634 h 879044"/>
                <a:gd name="connsiteX11" fmla="*/ 142997 w 521293"/>
                <a:gd name="connsiteY11" fmla="*/ 653866 h 879044"/>
                <a:gd name="connsiteX12" fmla="*/ 196455 w 521293"/>
                <a:gd name="connsiteY12" fmla="*/ 840714 h 879044"/>
                <a:gd name="connsiteX13" fmla="*/ 96285 w 521293"/>
                <a:gd name="connsiteY13" fmla="*/ 753934 h 879044"/>
                <a:gd name="connsiteX14" fmla="*/ 111515 w 521293"/>
                <a:gd name="connsiteY14" fmla="*/ 810356 h 879044"/>
                <a:gd name="connsiteX15" fmla="*/ 132469 w 521293"/>
                <a:gd name="connsiteY15" fmla="*/ 848176 h 879044"/>
                <a:gd name="connsiteX16" fmla="*/ 114479 w 521293"/>
                <a:gd name="connsiteY16" fmla="*/ 882519 h 879044"/>
                <a:gd name="connsiteX17" fmla="*/ 22282 w 521293"/>
                <a:gd name="connsiteY17" fmla="*/ 683917 h 879044"/>
                <a:gd name="connsiteX18" fmla="*/ 2146 w 521293"/>
                <a:gd name="connsiteY18" fmla="*/ 547869 h 879044"/>
                <a:gd name="connsiteX19" fmla="*/ 39147 w 521293"/>
                <a:gd name="connsiteY19" fmla="*/ 462214 h 879044"/>
                <a:gd name="connsiteX20" fmla="*/ 98125 w 521293"/>
                <a:gd name="connsiteY20" fmla="*/ 408040 h 879044"/>
                <a:gd name="connsiteX21" fmla="*/ 228755 w 521293"/>
                <a:gd name="connsiteY21" fmla="*/ 388415 h 879044"/>
                <a:gd name="connsiteX22" fmla="*/ 229470 w 521293"/>
                <a:gd name="connsiteY22" fmla="*/ 357035 h 879044"/>
                <a:gd name="connsiteX23" fmla="*/ 206370 w 521293"/>
                <a:gd name="connsiteY23" fmla="*/ 331175 h 879044"/>
                <a:gd name="connsiteX24" fmla="*/ 189913 w 521293"/>
                <a:gd name="connsiteY24" fmla="*/ 257069 h 879044"/>
                <a:gd name="connsiteX25" fmla="*/ 252980 w 521293"/>
                <a:gd name="connsiteY25" fmla="*/ 87291 h 879044"/>
                <a:gd name="connsiteX26" fmla="*/ 416114 w 521293"/>
                <a:gd name="connsiteY26" fmla="*/ 0 h 879044"/>
                <a:gd name="connsiteX27" fmla="*/ 431957 w 521293"/>
                <a:gd name="connsiteY27" fmla="*/ 64804 h 879044"/>
                <a:gd name="connsiteX28" fmla="*/ 484598 w 521293"/>
                <a:gd name="connsiteY28" fmla="*/ 116627 h 879044"/>
                <a:gd name="connsiteX29" fmla="*/ 486846 w 521293"/>
                <a:gd name="connsiteY29" fmla="*/ 137887 h 879044"/>
                <a:gd name="connsiteX30" fmla="*/ 458737 w 521293"/>
                <a:gd name="connsiteY30" fmla="*/ 165485 h 879044"/>
                <a:gd name="connsiteX31" fmla="*/ 420714 w 521293"/>
                <a:gd name="connsiteY31" fmla="*/ 235809 h 87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21293" h="879044">
                  <a:moveTo>
                    <a:pt x="420714" y="235809"/>
                  </a:moveTo>
                  <a:cubicBezTo>
                    <a:pt x="406710" y="278739"/>
                    <a:pt x="404359" y="324224"/>
                    <a:pt x="405586" y="369096"/>
                  </a:cubicBezTo>
                  <a:cubicBezTo>
                    <a:pt x="409879" y="342521"/>
                    <a:pt x="419998" y="316762"/>
                    <a:pt x="435228" y="294071"/>
                  </a:cubicBezTo>
                  <a:cubicBezTo>
                    <a:pt x="422553" y="329437"/>
                    <a:pt x="420816" y="368279"/>
                    <a:pt x="430219" y="404462"/>
                  </a:cubicBezTo>
                  <a:cubicBezTo>
                    <a:pt x="436148" y="376762"/>
                    <a:pt x="446267" y="349778"/>
                    <a:pt x="460168" y="324735"/>
                  </a:cubicBezTo>
                  <a:cubicBezTo>
                    <a:pt x="442281" y="410493"/>
                    <a:pt x="456897" y="508108"/>
                    <a:pt x="523030" y="569232"/>
                  </a:cubicBezTo>
                  <a:cubicBezTo>
                    <a:pt x="441054" y="527426"/>
                    <a:pt x="365109" y="475195"/>
                    <a:pt x="297954" y="414275"/>
                  </a:cubicBezTo>
                  <a:cubicBezTo>
                    <a:pt x="290492" y="433491"/>
                    <a:pt x="271685" y="446166"/>
                    <a:pt x="256659" y="460783"/>
                  </a:cubicBezTo>
                  <a:cubicBezTo>
                    <a:pt x="203508" y="512605"/>
                    <a:pt x="196046" y="591311"/>
                    <a:pt x="191651" y="663372"/>
                  </a:cubicBezTo>
                  <a:cubicBezTo>
                    <a:pt x="182861" y="631787"/>
                    <a:pt x="179079" y="598977"/>
                    <a:pt x="180407" y="566370"/>
                  </a:cubicBezTo>
                  <a:cubicBezTo>
                    <a:pt x="170493" y="617477"/>
                    <a:pt x="166404" y="669709"/>
                    <a:pt x="168346" y="721634"/>
                  </a:cubicBezTo>
                  <a:cubicBezTo>
                    <a:pt x="154649" y="701293"/>
                    <a:pt x="145859" y="677886"/>
                    <a:pt x="142997" y="653866"/>
                  </a:cubicBezTo>
                  <a:cubicBezTo>
                    <a:pt x="132878" y="719590"/>
                    <a:pt x="152707" y="788891"/>
                    <a:pt x="196455" y="840714"/>
                  </a:cubicBezTo>
                  <a:cubicBezTo>
                    <a:pt x="156898" y="819146"/>
                    <a:pt x="122452" y="789300"/>
                    <a:pt x="96285" y="753934"/>
                  </a:cubicBezTo>
                  <a:cubicBezTo>
                    <a:pt x="95978" y="773559"/>
                    <a:pt x="101293" y="793286"/>
                    <a:pt x="111515" y="810356"/>
                  </a:cubicBezTo>
                  <a:cubicBezTo>
                    <a:pt x="118977" y="822826"/>
                    <a:pt x="128994" y="834274"/>
                    <a:pt x="132469" y="848176"/>
                  </a:cubicBezTo>
                  <a:cubicBezTo>
                    <a:pt x="135944" y="862077"/>
                    <a:pt x="129300" y="879862"/>
                    <a:pt x="114479" y="882519"/>
                  </a:cubicBezTo>
                  <a:cubicBezTo>
                    <a:pt x="76966" y="819453"/>
                    <a:pt x="45995" y="752809"/>
                    <a:pt x="22282" y="683917"/>
                  </a:cubicBezTo>
                  <a:cubicBezTo>
                    <a:pt x="7154" y="639964"/>
                    <a:pt x="-5112" y="593559"/>
                    <a:pt x="2146" y="547869"/>
                  </a:cubicBezTo>
                  <a:cubicBezTo>
                    <a:pt x="7052" y="517103"/>
                    <a:pt x="20749" y="487972"/>
                    <a:pt x="39147" y="462214"/>
                  </a:cubicBezTo>
                  <a:cubicBezTo>
                    <a:pt x="54684" y="440544"/>
                    <a:pt x="73900" y="420715"/>
                    <a:pt x="98125" y="408040"/>
                  </a:cubicBezTo>
                  <a:cubicBezTo>
                    <a:pt x="137171" y="387597"/>
                    <a:pt x="184087" y="387699"/>
                    <a:pt x="228755" y="388415"/>
                  </a:cubicBezTo>
                  <a:cubicBezTo>
                    <a:pt x="237341" y="380544"/>
                    <a:pt x="235705" y="366745"/>
                    <a:pt x="229470" y="357035"/>
                  </a:cubicBezTo>
                  <a:cubicBezTo>
                    <a:pt x="223235" y="347427"/>
                    <a:pt x="213525" y="340170"/>
                    <a:pt x="206370" y="331175"/>
                  </a:cubicBezTo>
                  <a:cubicBezTo>
                    <a:pt x="190016" y="310527"/>
                    <a:pt x="188278" y="282827"/>
                    <a:pt x="189913" y="257069"/>
                  </a:cubicBezTo>
                  <a:cubicBezTo>
                    <a:pt x="193900" y="196252"/>
                    <a:pt x="213729" y="135536"/>
                    <a:pt x="252980" y="87291"/>
                  </a:cubicBezTo>
                  <a:cubicBezTo>
                    <a:pt x="292230" y="39046"/>
                    <a:pt x="351923" y="4395"/>
                    <a:pt x="416114" y="0"/>
                  </a:cubicBezTo>
                  <a:cubicBezTo>
                    <a:pt x="407732" y="613"/>
                    <a:pt x="429197" y="59898"/>
                    <a:pt x="431957" y="64804"/>
                  </a:cubicBezTo>
                  <a:cubicBezTo>
                    <a:pt x="445449" y="88620"/>
                    <a:pt x="465177" y="98841"/>
                    <a:pt x="484598" y="116627"/>
                  </a:cubicBezTo>
                  <a:cubicBezTo>
                    <a:pt x="497477" y="128483"/>
                    <a:pt x="498499" y="123373"/>
                    <a:pt x="486846" y="137887"/>
                  </a:cubicBezTo>
                  <a:cubicBezTo>
                    <a:pt x="478874" y="147802"/>
                    <a:pt x="467017" y="155366"/>
                    <a:pt x="458737" y="165485"/>
                  </a:cubicBezTo>
                  <a:cubicBezTo>
                    <a:pt x="441463" y="186439"/>
                    <a:pt x="428993" y="210664"/>
                    <a:pt x="420714" y="23580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D286AF75-3046-4144-8C02-9F8D206E68AB}"/>
                </a:ext>
              </a:extLst>
            </p:cNvPr>
            <p:cNvSpPr/>
            <p:nvPr/>
          </p:nvSpPr>
          <p:spPr>
            <a:xfrm>
              <a:off x="9541077" y="2549013"/>
              <a:ext cx="340673" cy="522893"/>
            </a:xfrm>
            <a:custGeom>
              <a:avLst/>
              <a:gdLst>
                <a:gd name="connsiteX0" fmla="*/ 42336 w 439522"/>
                <a:gd name="connsiteY0" fmla="*/ 467018 h 674615"/>
                <a:gd name="connsiteX1" fmla="*/ 50717 w 439522"/>
                <a:gd name="connsiteY1" fmla="*/ 225996 h 674615"/>
                <a:gd name="connsiteX2" fmla="*/ 85368 w 439522"/>
                <a:gd name="connsiteY2" fmla="*/ 467938 h 674615"/>
                <a:gd name="connsiteX3" fmla="*/ 96305 w 439522"/>
                <a:gd name="connsiteY3" fmla="*/ 270459 h 674615"/>
                <a:gd name="connsiteX4" fmla="*/ 150479 w 439522"/>
                <a:gd name="connsiteY4" fmla="*/ 531822 h 674615"/>
                <a:gd name="connsiteX5" fmla="*/ 383017 w 439522"/>
                <a:gd name="connsiteY5" fmla="*/ 681975 h 674615"/>
                <a:gd name="connsiteX6" fmla="*/ 291841 w 439522"/>
                <a:gd name="connsiteY6" fmla="*/ 592537 h 674615"/>
                <a:gd name="connsiteX7" fmla="*/ 235725 w 439522"/>
                <a:gd name="connsiteY7" fmla="*/ 316251 h 674615"/>
                <a:gd name="connsiteX8" fmla="*/ 325061 w 439522"/>
                <a:gd name="connsiteY8" fmla="*/ 541328 h 674615"/>
                <a:gd name="connsiteX9" fmla="*/ 279371 w 439522"/>
                <a:gd name="connsiteY9" fmla="*/ 318602 h 674615"/>
                <a:gd name="connsiteX10" fmla="*/ 334260 w 439522"/>
                <a:gd name="connsiteY10" fmla="*/ 457512 h 674615"/>
                <a:gd name="connsiteX11" fmla="*/ 448536 w 439522"/>
                <a:gd name="connsiteY11" fmla="*/ 562077 h 674615"/>
                <a:gd name="connsiteX12" fmla="*/ 342335 w 439522"/>
                <a:gd name="connsiteY12" fmla="*/ 348551 h 674615"/>
                <a:gd name="connsiteX13" fmla="*/ 359098 w 439522"/>
                <a:gd name="connsiteY13" fmla="*/ 228347 h 674615"/>
                <a:gd name="connsiteX14" fmla="*/ 369217 w 439522"/>
                <a:gd name="connsiteY14" fmla="*/ 107836 h 674615"/>
                <a:gd name="connsiteX15" fmla="*/ 298690 w 439522"/>
                <a:gd name="connsiteY15" fmla="*/ 12266 h 674615"/>
                <a:gd name="connsiteX16" fmla="*/ 222744 w 439522"/>
                <a:gd name="connsiteY16" fmla="*/ 2146 h 674615"/>
                <a:gd name="connsiteX17" fmla="*/ 164278 w 439522"/>
                <a:gd name="connsiteY17" fmla="*/ 8688 h 674615"/>
                <a:gd name="connsiteX18" fmla="*/ 86697 w 439522"/>
                <a:gd name="connsiteY18" fmla="*/ 130528 h 674615"/>
                <a:gd name="connsiteX19" fmla="*/ 92216 w 439522"/>
                <a:gd name="connsiteY19" fmla="*/ 26474 h 674615"/>
                <a:gd name="connsiteX20" fmla="*/ 61859 w 439522"/>
                <a:gd name="connsiteY20" fmla="*/ 137274 h 674615"/>
                <a:gd name="connsiteX21" fmla="*/ 58588 w 439522"/>
                <a:gd name="connsiteY21" fmla="*/ 33935 h 674615"/>
                <a:gd name="connsiteX22" fmla="*/ 46629 w 439522"/>
                <a:gd name="connsiteY22" fmla="*/ 167427 h 674615"/>
                <a:gd name="connsiteX23" fmla="*/ 35590 w 439522"/>
                <a:gd name="connsiteY23" fmla="*/ 0 h 674615"/>
                <a:gd name="connsiteX24" fmla="*/ 7481 w 439522"/>
                <a:gd name="connsiteY24" fmla="*/ 106814 h 674615"/>
                <a:gd name="connsiteX25" fmla="*/ 121 w 439522"/>
                <a:gd name="connsiteY25" fmla="*/ 227120 h 674615"/>
                <a:gd name="connsiteX26" fmla="*/ 42336 w 439522"/>
                <a:gd name="connsiteY26" fmla="*/ 46701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9522" h="674615">
                  <a:moveTo>
                    <a:pt x="42336" y="467018"/>
                  </a:moveTo>
                  <a:cubicBezTo>
                    <a:pt x="30070" y="386473"/>
                    <a:pt x="18418" y="301430"/>
                    <a:pt x="50717" y="225996"/>
                  </a:cubicBezTo>
                  <a:cubicBezTo>
                    <a:pt x="42642" y="307768"/>
                    <a:pt x="54499" y="391175"/>
                    <a:pt x="85368" y="467938"/>
                  </a:cubicBezTo>
                  <a:cubicBezTo>
                    <a:pt x="66561" y="403236"/>
                    <a:pt x="70445" y="332912"/>
                    <a:pt x="96305" y="270459"/>
                  </a:cubicBezTo>
                  <a:cubicBezTo>
                    <a:pt x="77600" y="359795"/>
                    <a:pt x="97532" y="455774"/>
                    <a:pt x="150479" y="531822"/>
                  </a:cubicBezTo>
                  <a:cubicBezTo>
                    <a:pt x="203426" y="607869"/>
                    <a:pt x="288877" y="662963"/>
                    <a:pt x="383017" y="681975"/>
                  </a:cubicBezTo>
                  <a:cubicBezTo>
                    <a:pt x="341415" y="666540"/>
                    <a:pt x="312795" y="629947"/>
                    <a:pt x="291841" y="592537"/>
                  </a:cubicBezTo>
                  <a:cubicBezTo>
                    <a:pt x="244720" y="508415"/>
                    <a:pt x="224891" y="410902"/>
                    <a:pt x="235725" y="316251"/>
                  </a:cubicBezTo>
                  <a:cubicBezTo>
                    <a:pt x="246049" y="396592"/>
                    <a:pt x="277020" y="474479"/>
                    <a:pt x="325061" y="541328"/>
                  </a:cubicBezTo>
                  <a:cubicBezTo>
                    <a:pt x="290717" y="472128"/>
                    <a:pt x="274874" y="394854"/>
                    <a:pt x="279371" y="318602"/>
                  </a:cubicBezTo>
                  <a:cubicBezTo>
                    <a:pt x="279678" y="368892"/>
                    <a:pt x="302369" y="417239"/>
                    <a:pt x="334260" y="457512"/>
                  </a:cubicBezTo>
                  <a:cubicBezTo>
                    <a:pt x="366253" y="497682"/>
                    <a:pt x="407139" y="530595"/>
                    <a:pt x="448536" y="562077"/>
                  </a:cubicBezTo>
                  <a:cubicBezTo>
                    <a:pt x="398655" y="497682"/>
                    <a:pt x="346935" y="428279"/>
                    <a:pt x="342335" y="348551"/>
                  </a:cubicBezTo>
                  <a:cubicBezTo>
                    <a:pt x="339984" y="308074"/>
                    <a:pt x="350103" y="268006"/>
                    <a:pt x="359098" y="228347"/>
                  </a:cubicBezTo>
                  <a:cubicBezTo>
                    <a:pt x="368093" y="188688"/>
                    <a:pt x="375964" y="147802"/>
                    <a:pt x="369217" y="107836"/>
                  </a:cubicBezTo>
                  <a:cubicBezTo>
                    <a:pt x="362369" y="67768"/>
                    <a:pt x="338144" y="28211"/>
                    <a:pt x="298690" y="12266"/>
                  </a:cubicBezTo>
                  <a:cubicBezTo>
                    <a:pt x="274976" y="2658"/>
                    <a:pt x="248502" y="2351"/>
                    <a:pt x="222744" y="2146"/>
                  </a:cubicBezTo>
                  <a:cubicBezTo>
                    <a:pt x="203017" y="2044"/>
                    <a:pt x="182676" y="1942"/>
                    <a:pt x="164278" y="8688"/>
                  </a:cubicBezTo>
                  <a:cubicBezTo>
                    <a:pt x="115419" y="26474"/>
                    <a:pt x="97838" y="82078"/>
                    <a:pt x="86697" y="130528"/>
                  </a:cubicBezTo>
                  <a:cubicBezTo>
                    <a:pt x="78520" y="96184"/>
                    <a:pt x="80360" y="59795"/>
                    <a:pt x="92216" y="26474"/>
                  </a:cubicBezTo>
                  <a:cubicBezTo>
                    <a:pt x="72489" y="60204"/>
                    <a:pt x="61961" y="98739"/>
                    <a:pt x="61859" y="137274"/>
                  </a:cubicBezTo>
                  <a:cubicBezTo>
                    <a:pt x="55419" y="103236"/>
                    <a:pt x="54295" y="68279"/>
                    <a:pt x="58588" y="33935"/>
                  </a:cubicBezTo>
                  <a:cubicBezTo>
                    <a:pt x="40598" y="75945"/>
                    <a:pt x="36407" y="123168"/>
                    <a:pt x="46629" y="167427"/>
                  </a:cubicBezTo>
                  <a:cubicBezTo>
                    <a:pt x="32932" y="107836"/>
                    <a:pt x="26492" y="61022"/>
                    <a:pt x="35590" y="0"/>
                  </a:cubicBezTo>
                  <a:cubicBezTo>
                    <a:pt x="12693" y="17683"/>
                    <a:pt x="11262" y="79932"/>
                    <a:pt x="7481" y="106814"/>
                  </a:cubicBezTo>
                  <a:cubicBezTo>
                    <a:pt x="1859" y="146678"/>
                    <a:pt x="-594" y="186848"/>
                    <a:pt x="121" y="227120"/>
                  </a:cubicBezTo>
                  <a:cubicBezTo>
                    <a:pt x="1246" y="308585"/>
                    <a:pt x="15453" y="389744"/>
                    <a:pt x="42336" y="46701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21C3405B-86A5-4EF3-8AB3-076C3FB00038}"/>
                </a:ext>
              </a:extLst>
            </p:cNvPr>
            <p:cNvSpPr/>
            <p:nvPr/>
          </p:nvSpPr>
          <p:spPr>
            <a:xfrm>
              <a:off x="8948954" y="3141704"/>
              <a:ext cx="879412" cy="443667"/>
            </a:xfrm>
            <a:custGeom>
              <a:avLst/>
              <a:gdLst>
                <a:gd name="connsiteX0" fmla="*/ 97206 w 1134580"/>
                <a:gd name="connsiteY0" fmla="*/ 261260 h 572400"/>
                <a:gd name="connsiteX1" fmla="*/ 385042 w 1134580"/>
                <a:gd name="connsiteY1" fmla="*/ 0 h 572400"/>
                <a:gd name="connsiteX2" fmla="*/ 241328 w 1134580"/>
                <a:gd name="connsiteY2" fmla="*/ 140034 h 572400"/>
                <a:gd name="connsiteX3" fmla="*/ 441055 w 1134580"/>
                <a:gd name="connsiteY3" fmla="*/ 9710 h 572400"/>
                <a:gd name="connsiteX4" fmla="*/ 273424 w 1134580"/>
                <a:gd name="connsiteY4" fmla="*/ 160068 h 572400"/>
                <a:gd name="connsiteX5" fmla="*/ 480306 w 1134580"/>
                <a:gd name="connsiteY5" fmla="*/ 29438 h 572400"/>
                <a:gd name="connsiteX6" fmla="*/ 262384 w 1134580"/>
                <a:gd name="connsiteY6" fmla="*/ 214855 h 572400"/>
                <a:gd name="connsiteX7" fmla="*/ 535195 w 1134580"/>
                <a:gd name="connsiteY7" fmla="*/ 102930 h 572400"/>
                <a:gd name="connsiteX8" fmla="*/ 837647 w 1134580"/>
                <a:gd name="connsiteY8" fmla="*/ 122146 h 572400"/>
                <a:gd name="connsiteX9" fmla="*/ 557989 w 1134580"/>
                <a:gd name="connsiteY9" fmla="*/ 203611 h 572400"/>
                <a:gd name="connsiteX10" fmla="*/ 775092 w 1134580"/>
                <a:gd name="connsiteY10" fmla="*/ 209846 h 572400"/>
                <a:gd name="connsiteX11" fmla="*/ 1141838 w 1134580"/>
                <a:gd name="connsiteY11" fmla="*/ 248586 h 572400"/>
                <a:gd name="connsiteX12" fmla="*/ 868107 w 1134580"/>
                <a:gd name="connsiteY12" fmla="*/ 332606 h 572400"/>
                <a:gd name="connsiteX13" fmla="*/ 1074478 w 1134580"/>
                <a:gd name="connsiteY13" fmla="*/ 299080 h 572400"/>
                <a:gd name="connsiteX14" fmla="*/ 869538 w 1134580"/>
                <a:gd name="connsiteY14" fmla="*/ 378705 h 572400"/>
                <a:gd name="connsiteX15" fmla="*/ 1084189 w 1134580"/>
                <a:gd name="connsiteY15" fmla="*/ 324224 h 572400"/>
                <a:gd name="connsiteX16" fmla="*/ 864734 w 1134580"/>
                <a:gd name="connsiteY16" fmla="*/ 433798 h 572400"/>
                <a:gd name="connsiteX17" fmla="*/ 629641 w 1134580"/>
                <a:gd name="connsiteY17" fmla="*/ 559931 h 572400"/>
                <a:gd name="connsiteX18" fmla="*/ 370016 w 1134580"/>
                <a:gd name="connsiteY18" fmla="*/ 543679 h 572400"/>
                <a:gd name="connsiteX19" fmla="*/ 532333 w 1134580"/>
                <a:gd name="connsiteY19" fmla="*/ 442384 h 572400"/>
                <a:gd name="connsiteX20" fmla="*/ 411618 w 1134580"/>
                <a:gd name="connsiteY20" fmla="*/ 514343 h 572400"/>
                <a:gd name="connsiteX21" fmla="*/ 563202 w 1134580"/>
                <a:gd name="connsiteY21" fmla="*/ 363577 h 572400"/>
                <a:gd name="connsiteX22" fmla="*/ 257989 w 1134580"/>
                <a:gd name="connsiteY22" fmla="*/ 451788 h 572400"/>
                <a:gd name="connsiteX23" fmla="*/ 53867 w 1134580"/>
                <a:gd name="connsiteY23" fmla="*/ 372163 h 572400"/>
                <a:gd name="connsiteX24" fmla="*/ 179795 w 1134580"/>
                <a:gd name="connsiteY24" fmla="*/ 342214 h 572400"/>
                <a:gd name="connsiteX25" fmla="*/ 51107 w 1134580"/>
                <a:gd name="connsiteY25" fmla="*/ 364395 h 572400"/>
                <a:gd name="connsiteX26" fmla="*/ 163134 w 1134580"/>
                <a:gd name="connsiteY26" fmla="*/ 302657 h 572400"/>
                <a:gd name="connsiteX27" fmla="*/ 0 w 1134580"/>
                <a:gd name="connsiteY27" fmla="*/ 340988 h 572400"/>
                <a:gd name="connsiteX28" fmla="*/ 97206 w 1134580"/>
                <a:gd name="connsiteY28" fmla="*/ 261260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34580" h="572400">
                  <a:moveTo>
                    <a:pt x="97206" y="261260"/>
                  </a:moveTo>
                  <a:cubicBezTo>
                    <a:pt x="169369" y="130119"/>
                    <a:pt x="250119" y="74617"/>
                    <a:pt x="385042" y="0"/>
                  </a:cubicBezTo>
                  <a:cubicBezTo>
                    <a:pt x="325451" y="33935"/>
                    <a:pt x="275468" y="82692"/>
                    <a:pt x="241328" y="140034"/>
                  </a:cubicBezTo>
                  <a:cubicBezTo>
                    <a:pt x="297444" y="84123"/>
                    <a:pt x="365928" y="39455"/>
                    <a:pt x="441055" y="9710"/>
                  </a:cubicBezTo>
                  <a:cubicBezTo>
                    <a:pt x="375025" y="48245"/>
                    <a:pt x="317580" y="99761"/>
                    <a:pt x="273424" y="160068"/>
                  </a:cubicBezTo>
                  <a:cubicBezTo>
                    <a:pt x="336694" y="109063"/>
                    <a:pt x="406302" y="65213"/>
                    <a:pt x="480306" y="29438"/>
                  </a:cubicBezTo>
                  <a:cubicBezTo>
                    <a:pt x="399659" y="81976"/>
                    <a:pt x="326166" y="144531"/>
                    <a:pt x="262384" y="214855"/>
                  </a:cubicBezTo>
                  <a:cubicBezTo>
                    <a:pt x="332504" y="145758"/>
                    <a:pt x="434411" y="111721"/>
                    <a:pt x="535195" y="102930"/>
                  </a:cubicBezTo>
                  <a:cubicBezTo>
                    <a:pt x="636080" y="94140"/>
                    <a:pt x="737375" y="108143"/>
                    <a:pt x="837647" y="122146"/>
                  </a:cubicBezTo>
                  <a:cubicBezTo>
                    <a:pt x="744428" y="149335"/>
                    <a:pt x="651208" y="176525"/>
                    <a:pt x="557989" y="203611"/>
                  </a:cubicBezTo>
                  <a:cubicBezTo>
                    <a:pt x="624735" y="173254"/>
                    <a:pt x="703440" y="191959"/>
                    <a:pt x="775092" y="209846"/>
                  </a:cubicBezTo>
                  <a:cubicBezTo>
                    <a:pt x="894887" y="239795"/>
                    <a:pt x="1019385" y="266269"/>
                    <a:pt x="1141838" y="248586"/>
                  </a:cubicBezTo>
                  <a:cubicBezTo>
                    <a:pt x="1053115" y="283338"/>
                    <a:pt x="961531" y="311447"/>
                    <a:pt x="868107" y="332606"/>
                  </a:cubicBezTo>
                  <a:cubicBezTo>
                    <a:pt x="936898" y="321465"/>
                    <a:pt x="1005688" y="310221"/>
                    <a:pt x="1074478" y="299080"/>
                  </a:cubicBezTo>
                  <a:cubicBezTo>
                    <a:pt x="1006199" y="325655"/>
                    <a:pt x="937817" y="352129"/>
                    <a:pt x="869538" y="378705"/>
                  </a:cubicBezTo>
                  <a:cubicBezTo>
                    <a:pt x="941088" y="360511"/>
                    <a:pt x="1012639" y="342418"/>
                    <a:pt x="1084189" y="324224"/>
                  </a:cubicBezTo>
                  <a:cubicBezTo>
                    <a:pt x="1009470" y="357955"/>
                    <a:pt x="935262" y="392912"/>
                    <a:pt x="864734" y="433798"/>
                  </a:cubicBezTo>
                  <a:cubicBezTo>
                    <a:pt x="787767" y="478364"/>
                    <a:pt x="714377" y="530391"/>
                    <a:pt x="629641" y="559931"/>
                  </a:cubicBezTo>
                  <a:cubicBezTo>
                    <a:pt x="544905" y="589471"/>
                    <a:pt x="443611" y="593048"/>
                    <a:pt x="370016" y="543679"/>
                  </a:cubicBezTo>
                  <a:cubicBezTo>
                    <a:pt x="430629" y="520783"/>
                    <a:pt x="486234" y="486030"/>
                    <a:pt x="532333" y="442384"/>
                  </a:cubicBezTo>
                  <a:cubicBezTo>
                    <a:pt x="494922" y="470289"/>
                    <a:pt x="454343" y="494411"/>
                    <a:pt x="411618" y="514343"/>
                  </a:cubicBezTo>
                  <a:cubicBezTo>
                    <a:pt x="474991" y="477852"/>
                    <a:pt x="527835" y="425212"/>
                    <a:pt x="563202" y="363577"/>
                  </a:cubicBezTo>
                  <a:cubicBezTo>
                    <a:pt x="467018" y="409062"/>
                    <a:pt x="365519" y="455774"/>
                    <a:pt x="257989" y="451788"/>
                  </a:cubicBezTo>
                  <a:cubicBezTo>
                    <a:pt x="182862" y="449028"/>
                    <a:pt x="109165" y="420204"/>
                    <a:pt x="53867" y="372163"/>
                  </a:cubicBezTo>
                  <a:cubicBezTo>
                    <a:pt x="97819" y="379931"/>
                    <a:pt x="145042" y="368688"/>
                    <a:pt x="179795" y="342214"/>
                  </a:cubicBezTo>
                  <a:cubicBezTo>
                    <a:pt x="136865" y="349676"/>
                    <a:pt x="94037" y="357035"/>
                    <a:pt x="51107" y="364395"/>
                  </a:cubicBezTo>
                  <a:cubicBezTo>
                    <a:pt x="93117" y="353049"/>
                    <a:pt x="131959" y="331584"/>
                    <a:pt x="163134" y="302657"/>
                  </a:cubicBezTo>
                  <a:cubicBezTo>
                    <a:pt x="112231" y="325655"/>
                    <a:pt x="56320" y="338841"/>
                    <a:pt x="0" y="340988"/>
                  </a:cubicBezTo>
                  <a:cubicBezTo>
                    <a:pt x="42828" y="329540"/>
                    <a:pt x="76865" y="298364"/>
                    <a:pt x="97206" y="26126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DC9E0E40-25D2-45CD-A8CD-28137C42F43F}"/>
                </a:ext>
              </a:extLst>
            </p:cNvPr>
            <p:cNvSpPr/>
            <p:nvPr/>
          </p:nvSpPr>
          <p:spPr>
            <a:xfrm>
              <a:off x="7802110" y="3004723"/>
              <a:ext cx="903180" cy="1140859"/>
            </a:xfrm>
            <a:custGeom>
              <a:avLst/>
              <a:gdLst>
                <a:gd name="connsiteX0" fmla="*/ 1173172 w 1165244"/>
                <a:gd name="connsiteY0" fmla="*/ 24225 h 1471887"/>
                <a:gd name="connsiteX1" fmla="*/ 1100907 w 1165244"/>
                <a:gd name="connsiteY1" fmla="*/ 113151 h 1471887"/>
                <a:gd name="connsiteX2" fmla="*/ 1054808 w 1165244"/>
                <a:gd name="connsiteY2" fmla="*/ 200647 h 1471887"/>
                <a:gd name="connsiteX3" fmla="*/ 1080668 w 1165244"/>
                <a:gd name="connsiteY3" fmla="*/ 286507 h 1471887"/>
                <a:gd name="connsiteX4" fmla="*/ 708710 w 1165244"/>
                <a:gd name="connsiteY4" fmla="*/ 666540 h 1471887"/>
                <a:gd name="connsiteX5" fmla="*/ 738148 w 1165244"/>
                <a:gd name="connsiteY5" fmla="*/ 637205 h 1471887"/>
                <a:gd name="connsiteX6" fmla="*/ 690005 w 1165244"/>
                <a:gd name="connsiteY6" fmla="*/ 666131 h 1471887"/>
                <a:gd name="connsiteX7" fmla="*/ 724042 w 1165244"/>
                <a:gd name="connsiteY7" fmla="*/ 637307 h 1471887"/>
                <a:gd name="connsiteX8" fmla="*/ 673241 w 1165244"/>
                <a:gd name="connsiteY8" fmla="*/ 659181 h 1471887"/>
                <a:gd name="connsiteX9" fmla="*/ 707381 w 1165244"/>
                <a:gd name="connsiteY9" fmla="*/ 635467 h 1471887"/>
                <a:gd name="connsiteX10" fmla="*/ 589834 w 1165244"/>
                <a:gd name="connsiteY10" fmla="*/ 653048 h 1471887"/>
                <a:gd name="connsiteX11" fmla="*/ 734775 w 1165244"/>
                <a:gd name="connsiteY11" fmla="*/ 716523 h 1471887"/>
                <a:gd name="connsiteX12" fmla="*/ 420465 w 1165244"/>
                <a:gd name="connsiteY12" fmla="*/ 688823 h 1471887"/>
                <a:gd name="connsiteX13" fmla="*/ 155423 w 1165244"/>
                <a:gd name="connsiteY13" fmla="*/ 851037 h 1471887"/>
                <a:gd name="connsiteX14" fmla="*/ 72629 w 1165244"/>
                <a:gd name="connsiteY14" fmla="*/ 1036557 h 1471887"/>
                <a:gd name="connsiteX15" fmla="*/ 99001 w 1165244"/>
                <a:gd name="connsiteY15" fmla="*/ 1230253 h 1471887"/>
                <a:gd name="connsiteX16" fmla="*/ 287280 w 1165244"/>
                <a:gd name="connsiteY16" fmla="*/ 1478532 h 1471887"/>
                <a:gd name="connsiteX17" fmla="*/ 29290 w 1165244"/>
                <a:gd name="connsiteY17" fmla="*/ 1234546 h 1471887"/>
                <a:gd name="connsiteX18" fmla="*/ 1181 w 1165244"/>
                <a:gd name="connsiteY18" fmla="*/ 1087971 h 1471887"/>
                <a:gd name="connsiteX19" fmla="*/ 6394 w 1165244"/>
                <a:gd name="connsiteY19" fmla="*/ 992093 h 1471887"/>
                <a:gd name="connsiteX20" fmla="*/ 37365 w 1165244"/>
                <a:gd name="connsiteY20" fmla="*/ 919317 h 1471887"/>
                <a:gd name="connsiteX21" fmla="*/ 211232 w 1165244"/>
                <a:gd name="connsiteY21" fmla="*/ 733184 h 1471887"/>
                <a:gd name="connsiteX22" fmla="*/ 331743 w 1165244"/>
                <a:gd name="connsiteY22" fmla="*/ 665416 h 1471887"/>
                <a:gd name="connsiteX23" fmla="*/ 604860 w 1165244"/>
                <a:gd name="connsiteY23" fmla="*/ 525791 h 1471887"/>
                <a:gd name="connsiteX24" fmla="*/ 970685 w 1165244"/>
                <a:gd name="connsiteY24" fmla="*/ 178875 h 1471887"/>
                <a:gd name="connsiteX25" fmla="*/ 1133820 w 1165244"/>
                <a:gd name="connsiteY25" fmla="*/ 0 h 1471887"/>
                <a:gd name="connsiteX26" fmla="*/ 1173172 w 1165244"/>
                <a:gd name="connsiteY26" fmla="*/ 24225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65244" h="1471887">
                  <a:moveTo>
                    <a:pt x="1173172" y="24225"/>
                  </a:moveTo>
                  <a:cubicBezTo>
                    <a:pt x="1149050" y="53867"/>
                    <a:pt x="1125029" y="83509"/>
                    <a:pt x="1100907" y="113151"/>
                  </a:cubicBezTo>
                  <a:cubicBezTo>
                    <a:pt x="1079544" y="139420"/>
                    <a:pt x="1057363" y="167632"/>
                    <a:pt x="1054808" y="200647"/>
                  </a:cubicBezTo>
                  <a:cubicBezTo>
                    <a:pt x="1052457" y="230698"/>
                    <a:pt x="1066665" y="259420"/>
                    <a:pt x="1080668" y="286507"/>
                  </a:cubicBezTo>
                  <a:cubicBezTo>
                    <a:pt x="973139" y="426541"/>
                    <a:pt x="848028" y="554411"/>
                    <a:pt x="708710" y="666540"/>
                  </a:cubicBezTo>
                  <a:cubicBezTo>
                    <a:pt x="718522" y="656728"/>
                    <a:pt x="728335" y="647017"/>
                    <a:pt x="738148" y="637205"/>
                  </a:cubicBezTo>
                  <a:cubicBezTo>
                    <a:pt x="724042" y="649470"/>
                    <a:pt x="707688" y="659283"/>
                    <a:pt x="690005" y="666131"/>
                  </a:cubicBezTo>
                  <a:cubicBezTo>
                    <a:pt x="699613" y="654888"/>
                    <a:pt x="711163" y="645075"/>
                    <a:pt x="724042" y="637307"/>
                  </a:cubicBezTo>
                  <a:cubicBezTo>
                    <a:pt x="708710" y="647426"/>
                    <a:pt x="691333" y="654888"/>
                    <a:pt x="673241" y="659181"/>
                  </a:cubicBezTo>
                  <a:cubicBezTo>
                    <a:pt x="685609" y="652639"/>
                    <a:pt x="697057" y="644666"/>
                    <a:pt x="707381" y="635467"/>
                  </a:cubicBezTo>
                  <a:cubicBezTo>
                    <a:pt x="673037" y="656319"/>
                    <a:pt x="629289" y="662861"/>
                    <a:pt x="589834" y="653048"/>
                  </a:cubicBezTo>
                  <a:cubicBezTo>
                    <a:pt x="635729" y="680441"/>
                    <a:pt x="704519" y="674002"/>
                    <a:pt x="734775" y="716523"/>
                  </a:cubicBezTo>
                  <a:cubicBezTo>
                    <a:pt x="637160" y="674615"/>
                    <a:pt x="524622" y="664700"/>
                    <a:pt x="420465" y="688823"/>
                  </a:cubicBezTo>
                  <a:cubicBezTo>
                    <a:pt x="316411" y="712946"/>
                    <a:pt x="221454" y="771106"/>
                    <a:pt x="155423" y="851037"/>
                  </a:cubicBezTo>
                  <a:cubicBezTo>
                    <a:pt x="110653" y="905313"/>
                    <a:pt x="83055" y="968379"/>
                    <a:pt x="72629" y="1036557"/>
                  </a:cubicBezTo>
                  <a:cubicBezTo>
                    <a:pt x="62715" y="1101565"/>
                    <a:pt x="76002" y="1168209"/>
                    <a:pt x="99001" y="1230253"/>
                  </a:cubicBezTo>
                  <a:cubicBezTo>
                    <a:pt x="135185" y="1327868"/>
                    <a:pt x="197638" y="1419043"/>
                    <a:pt x="287280" y="1478532"/>
                  </a:cubicBezTo>
                  <a:cubicBezTo>
                    <a:pt x="183839" y="1414443"/>
                    <a:pt x="74367" y="1343507"/>
                    <a:pt x="29290" y="1234546"/>
                  </a:cubicBezTo>
                  <a:cubicBezTo>
                    <a:pt x="10074" y="1188141"/>
                    <a:pt x="4043" y="1137749"/>
                    <a:pt x="1181" y="1087971"/>
                  </a:cubicBezTo>
                  <a:cubicBezTo>
                    <a:pt x="-658" y="1055875"/>
                    <a:pt x="-1272" y="1023371"/>
                    <a:pt x="6394" y="992093"/>
                  </a:cubicBezTo>
                  <a:cubicBezTo>
                    <a:pt x="12629" y="966540"/>
                    <a:pt x="24077" y="942315"/>
                    <a:pt x="37365" y="919317"/>
                  </a:cubicBezTo>
                  <a:cubicBezTo>
                    <a:pt x="79376" y="845824"/>
                    <a:pt x="139273" y="781531"/>
                    <a:pt x="211232" y="733184"/>
                  </a:cubicBezTo>
                  <a:cubicBezTo>
                    <a:pt x="249358" y="707528"/>
                    <a:pt x="290653" y="686472"/>
                    <a:pt x="331743" y="665416"/>
                  </a:cubicBezTo>
                  <a:cubicBezTo>
                    <a:pt x="422816" y="618908"/>
                    <a:pt x="513787" y="572299"/>
                    <a:pt x="604860" y="525791"/>
                  </a:cubicBezTo>
                  <a:cubicBezTo>
                    <a:pt x="754706" y="449130"/>
                    <a:pt x="859374" y="300817"/>
                    <a:pt x="970685" y="178875"/>
                  </a:cubicBezTo>
                  <a:cubicBezTo>
                    <a:pt x="1025063" y="119284"/>
                    <a:pt x="1079442" y="59591"/>
                    <a:pt x="1133820" y="0"/>
                  </a:cubicBezTo>
                  <a:cubicBezTo>
                    <a:pt x="1146903" y="5826"/>
                    <a:pt x="1160089" y="18296"/>
                    <a:pt x="1173172" y="24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402A0BC8-181B-4B07-9129-567A6AF33076}"/>
                </a:ext>
              </a:extLst>
            </p:cNvPr>
            <p:cNvSpPr/>
            <p:nvPr/>
          </p:nvSpPr>
          <p:spPr>
            <a:xfrm>
              <a:off x="7993881" y="3665194"/>
              <a:ext cx="475358" cy="443667"/>
            </a:xfrm>
            <a:custGeom>
              <a:avLst/>
              <a:gdLst>
                <a:gd name="connsiteX0" fmla="*/ 600919 w 613286"/>
                <a:gd name="connsiteY0" fmla="*/ 114324 h 572400"/>
                <a:gd name="connsiteX1" fmla="*/ 603065 w 613286"/>
                <a:gd name="connsiteY1" fmla="*/ 210610 h 572400"/>
                <a:gd name="connsiteX2" fmla="*/ 587018 w 613286"/>
                <a:gd name="connsiteY2" fmla="*/ 241683 h 572400"/>
                <a:gd name="connsiteX3" fmla="*/ 612264 w 613286"/>
                <a:gd name="connsiteY3" fmla="*/ 331325 h 572400"/>
                <a:gd name="connsiteX4" fmla="*/ 571583 w 613286"/>
                <a:gd name="connsiteY4" fmla="*/ 377219 h 572400"/>
                <a:gd name="connsiteX5" fmla="*/ 534070 w 613286"/>
                <a:gd name="connsiteY5" fmla="*/ 403386 h 572400"/>
                <a:gd name="connsiteX6" fmla="*/ 510970 w 613286"/>
                <a:gd name="connsiteY6" fmla="*/ 468293 h 572400"/>
                <a:gd name="connsiteX7" fmla="*/ 443100 w 613286"/>
                <a:gd name="connsiteY7" fmla="*/ 511938 h 572400"/>
                <a:gd name="connsiteX8" fmla="*/ 392299 w 613286"/>
                <a:gd name="connsiteY8" fmla="*/ 514493 h 572400"/>
                <a:gd name="connsiteX9" fmla="*/ 362044 w 613286"/>
                <a:gd name="connsiteY9" fmla="*/ 544544 h 572400"/>
                <a:gd name="connsiteX10" fmla="*/ 241431 w 613286"/>
                <a:gd name="connsiteY10" fmla="*/ 567952 h 572400"/>
                <a:gd name="connsiteX11" fmla="*/ 206575 w 613286"/>
                <a:gd name="connsiteY11" fmla="*/ 550780 h 572400"/>
                <a:gd name="connsiteX12" fmla="*/ 83816 w 613286"/>
                <a:gd name="connsiteY12" fmla="*/ 554153 h 572400"/>
                <a:gd name="connsiteX13" fmla="*/ 41703 w 613286"/>
                <a:gd name="connsiteY13" fmla="*/ 485056 h 572400"/>
                <a:gd name="connsiteX14" fmla="*/ 0 w 613286"/>
                <a:gd name="connsiteY14" fmla="*/ 455822 h 572400"/>
                <a:gd name="connsiteX15" fmla="*/ 90153 w 613286"/>
                <a:gd name="connsiteY15" fmla="*/ 495993 h 572400"/>
                <a:gd name="connsiteX16" fmla="*/ 101499 w 613286"/>
                <a:gd name="connsiteY16" fmla="*/ 516742 h 572400"/>
                <a:gd name="connsiteX17" fmla="*/ 151277 w 613286"/>
                <a:gd name="connsiteY17" fmla="*/ 524511 h 572400"/>
                <a:gd name="connsiteX18" fmla="*/ 203100 w 613286"/>
                <a:gd name="connsiteY18" fmla="*/ 513267 h 572400"/>
                <a:gd name="connsiteX19" fmla="*/ 251448 w 613286"/>
                <a:gd name="connsiteY19" fmla="*/ 533403 h 572400"/>
                <a:gd name="connsiteX20" fmla="*/ 302044 w 613286"/>
                <a:gd name="connsiteY20" fmla="*/ 539843 h 572400"/>
                <a:gd name="connsiteX21" fmla="*/ 346098 w 613286"/>
                <a:gd name="connsiteY21" fmla="*/ 480456 h 572400"/>
                <a:gd name="connsiteX22" fmla="*/ 460374 w 613286"/>
                <a:gd name="connsiteY22" fmla="*/ 463489 h 572400"/>
                <a:gd name="connsiteX23" fmla="*/ 490016 w 613286"/>
                <a:gd name="connsiteY23" fmla="*/ 378139 h 572400"/>
                <a:gd name="connsiteX24" fmla="*/ 558397 w 613286"/>
                <a:gd name="connsiteY24" fmla="*/ 317220 h 572400"/>
                <a:gd name="connsiteX25" fmla="*/ 544190 w 613286"/>
                <a:gd name="connsiteY25" fmla="*/ 266521 h 572400"/>
                <a:gd name="connsiteX26" fmla="*/ 563099 w 613286"/>
                <a:gd name="connsiteY26" fmla="*/ 197322 h 572400"/>
                <a:gd name="connsiteX27" fmla="*/ 556660 w 613286"/>
                <a:gd name="connsiteY27" fmla="*/ 129860 h 572400"/>
                <a:gd name="connsiteX28" fmla="*/ 514241 w 613286"/>
                <a:gd name="connsiteY28" fmla="*/ 109724 h 572400"/>
                <a:gd name="connsiteX29" fmla="*/ 501362 w 613286"/>
                <a:gd name="connsiteY29" fmla="*/ 54324 h 572400"/>
                <a:gd name="connsiteX30" fmla="*/ 515672 w 613286"/>
                <a:gd name="connsiteY30" fmla="*/ 4341 h 572400"/>
                <a:gd name="connsiteX31" fmla="*/ 551447 w 613286"/>
                <a:gd name="connsiteY31" fmla="*/ 82637 h 572400"/>
                <a:gd name="connsiteX32" fmla="*/ 600919 w 613286"/>
                <a:gd name="connsiteY32" fmla="*/ 114324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13286" h="572400">
                  <a:moveTo>
                    <a:pt x="600919" y="114324"/>
                  </a:moveTo>
                  <a:cubicBezTo>
                    <a:pt x="626063" y="139264"/>
                    <a:pt x="621464" y="180866"/>
                    <a:pt x="603065" y="210610"/>
                  </a:cubicBezTo>
                  <a:cubicBezTo>
                    <a:pt x="596932" y="220627"/>
                    <a:pt x="589266" y="230337"/>
                    <a:pt x="587018" y="241683"/>
                  </a:cubicBezTo>
                  <a:cubicBezTo>
                    <a:pt x="580987" y="272654"/>
                    <a:pt x="616455" y="300048"/>
                    <a:pt x="612264" y="331325"/>
                  </a:cubicBezTo>
                  <a:cubicBezTo>
                    <a:pt x="609505" y="351870"/>
                    <a:pt x="590391" y="366691"/>
                    <a:pt x="571583" y="377219"/>
                  </a:cubicBezTo>
                  <a:cubicBezTo>
                    <a:pt x="558091" y="384783"/>
                    <a:pt x="543576" y="391632"/>
                    <a:pt x="534070" y="403386"/>
                  </a:cubicBezTo>
                  <a:cubicBezTo>
                    <a:pt x="519352" y="421683"/>
                    <a:pt x="520476" y="447134"/>
                    <a:pt x="510970" y="468293"/>
                  </a:cubicBezTo>
                  <a:cubicBezTo>
                    <a:pt x="499624" y="493437"/>
                    <a:pt x="471924" y="511223"/>
                    <a:pt x="443100" y="511938"/>
                  </a:cubicBezTo>
                  <a:cubicBezTo>
                    <a:pt x="425928" y="512347"/>
                    <a:pt x="407733" y="507441"/>
                    <a:pt x="392299" y="514493"/>
                  </a:cubicBezTo>
                  <a:cubicBezTo>
                    <a:pt x="379011" y="520524"/>
                    <a:pt x="371549" y="533812"/>
                    <a:pt x="362044" y="544544"/>
                  </a:cubicBezTo>
                  <a:cubicBezTo>
                    <a:pt x="333730" y="576844"/>
                    <a:pt x="280885" y="587066"/>
                    <a:pt x="241431" y="567952"/>
                  </a:cubicBezTo>
                  <a:cubicBezTo>
                    <a:pt x="229778" y="562330"/>
                    <a:pt x="219148" y="554357"/>
                    <a:pt x="206575" y="550780"/>
                  </a:cubicBezTo>
                  <a:cubicBezTo>
                    <a:pt x="166303" y="539536"/>
                    <a:pt x="118978" y="575822"/>
                    <a:pt x="83816" y="554153"/>
                  </a:cubicBezTo>
                  <a:cubicBezTo>
                    <a:pt x="59898" y="539434"/>
                    <a:pt x="58262" y="506930"/>
                    <a:pt x="41703" y="485056"/>
                  </a:cubicBezTo>
                  <a:cubicBezTo>
                    <a:pt x="31482" y="471564"/>
                    <a:pt x="15945" y="462671"/>
                    <a:pt x="0" y="455822"/>
                  </a:cubicBezTo>
                  <a:cubicBezTo>
                    <a:pt x="34651" y="458173"/>
                    <a:pt x="74208" y="466759"/>
                    <a:pt x="90153" y="495993"/>
                  </a:cubicBezTo>
                  <a:cubicBezTo>
                    <a:pt x="93935" y="502943"/>
                    <a:pt x="96184" y="510814"/>
                    <a:pt x="101499" y="516742"/>
                  </a:cubicBezTo>
                  <a:cubicBezTo>
                    <a:pt x="112947" y="529621"/>
                    <a:pt x="134208" y="529315"/>
                    <a:pt x="151277" y="524511"/>
                  </a:cubicBezTo>
                  <a:cubicBezTo>
                    <a:pt x="168449" y="519809"/>
                    <a:pt x="185315" y="511734"/>
                    <a:pt x="203100" y="513267"/>
                  </a:cubicBezTo>
                  <a:cubicBezTo>
                    <a:pt x="220783" y="514698"/>
                    <a:pt x="235911" y="525226"/>
                    <a:pt x="251448" y="533403"/>
                  </a:cubicBezTo>
                  <a:cubicBezTo>
                    <a:pt x="266984" y="541580"/>
                    <a:pt x="286303" y="547611"/>
                    <a:pt x="302044" y="539843"/>
                  </a:cubicBezTo>
                  <a:cubicBezTo>
                    <a:pt x="325042" y="528497"/>
                    <a:pt x="325757" y="495788"/>
                    <a:pt x="346098" y="480456"/>
                  </a:cubicBezTo>
                  <a:cubicBezTo>
                    <a:pt x="377171" y="457049"/>
                    <a:pt x="430629" y="488327"/>
                    <a:pt x="460374" y="463489"/>
                  </a:cubicBezTo>
                  <a:cubicBezTo>
                    <a:pt x="484599" y="443352"/>
                    <a:pt x="471822" y="403386"/>
                    <a:pt x="490016" y="378139"/>
                  </a:cubicBezTo>
                  <a:cubicBezTo>
                    <a:pt x="508210" y="352995"/>
                    <a:pt x="553491" y="347271"/>
                    <a:pt x="558397" y="317220"/>
                  </a:cubicBezTo>
                  <a:cubicBezTo>
                    <a:pt x="561259" y="299741"/>
                    <a:pt x="547767" y="283898"/>
                    <a:pt x="544190" y="266521"/>
                  </a:cubicBezTo>
                  <a:cubicBezTo>
                    <a:pt x="539386" y="242705"/>
                    <a:pt x="553491" y="219809"/>
                    <a:pt x="563099" y="197322"/>
                  </a:cubicBezTo>
                  <a:cubicBezTo>
                    <a:pt x="572708" y="174937"/>
                    <a:pt x="576489" y="145295"/>
                    <a:pt x="556660" y="129860"/>
                  </a:cubicBezTo>
                  <a:cubicBezTo>
                    <a:pt x="544394" y="120253"/>
                    <a:pt x="526404" y="119332"/>
                    <a:pt x="514241" y="109724"/>
                  </a:cubicBezTo>
                  <a:cubicBezTo>
                    <a:pt x="497171" y="96130"/>
                    <a:pt x="498602" y="73132"/>
                    <a:pt x="501362" y="54324"/>
                  </a:cubicBezTo>
                  <a:cubicBezTo>
                    <a:pt x="503406" y="40423"/>
                    <a:pt x="495842" y="-15897"/>
                    <a:pt x="515672" y="4341"/>
                  </a:cubicBezTo>
                  <a:cubicBezTo>
                    <a:pt x="529777" y="18856"/>
                    <a:pt x="531822" y="66897"/>
                    <a:pt x="551447" y="82637"/>
                  </a:cubicBezTo>
                  <a:cubicBezTo>
                    <a:pt x="566575" y="95006"/>
                    <a:pt x="586813" y="100423"/>
                    <a:pt x="600919" y="11432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87DF432B-FB84-497D-AE55-03DBECF2E58A}"/>
                </a:ext>
              </a:extLst>
            </p:cNvPr>
            <p:cNvSpPr/>
            <p:nvPr/>
          </p:nvSpPr>
          <p:spPr>
            <a:xfrm>
              <a:off x="9580619" y="762202"/>
              <a:ext cx="919025" cy="1204239"/>
            </a:xfrm>
            <a:custGeom>
              <a:avLst/>
              <a:gdLst>
                <a:gd name="connsiteX0" fmla="*/ 911250 w 1185687"/>
                <a:gd name="connsiteY0" fmla="*/ 212326 h 1553659"/>
                <a:gd name="connsiteX1" fmla="*/ 827230 w 1185687"/>
                <a:gd name="connsiteY1" fmla="*/ 577436 h 1553659"/>
                <a:gd name="connsiteX2" fmla="*/ 806787 w 1185687"/>
                <a:gd name="connsiteY2" fmla="*/ 461524 h 1553659"/>
                <a:gd name="connsiteX3" fmla="*/ 811387 w 1185687"/>
                <a:gd name="connsiteY3" fmla="*/ 589804 h 1553659"/>
                <a:gd name="connsiteX4" fmla="*/ 776736 w 1185687"/>
                <a:gd name="connsiteY4" fmla="*/ 476754 h 1553659"/>
                <a:gd name="connsiteX5" fmla="*/ 792886 w 1185687"/>
                <a:gd name="connsiteY5" fmla="*/ 609224 h 1553659"/>
                <a:gd name="connsiteX6" fmla="*/ 748525 w 1185687"/>
                <a:gd name="connsiteY6" fmla="*/ 466329 h 1553659"/>
                <a:gd name="connsiteX7" fmla="*/ 778678 w 1185687"/>
                <a:gd name="connsiteY7" fmla="*/ 750689 h 1553659"/>
                <a:gd name="connsiteX8" fmla="*/ 732988 w 1185687"/>
                <a:gd name="connsiteY8" fmla="*/ 697231 h 1553659"/>
                <a:gd name="connsiteX9" fmla="*/ 635476 w 1185687"/>
                <a:gd name="connsiteY9" fmla="*/ 915561 h 1553659"/>
                <a:gd name="connsiteX10" fmla="*/ 661132 w 1185687"/>
                <a:gd name="connsiteY10" fmla="*/ 843806 h 1553659"/>
                <a:gd name="connsiteX11" fmla="*/ 593364 w 1185687"/>
                <a:gd name="connsiteY11" fmla="*/ 946021 h 1553659"/>
                <a:gd name="connsiteX12" fmla="*/ 623517 w 1185687"/>
                <a:gd name="connsiteY12" fmla="*/ 874777 h 1553659"/>
                <a:gd name="connsiteX13" fmla="*/ 269037 w 1185687"/>
                <a:gd name="connsiteY13" fmla="*/ 1291710 h 1553659"/>
                <a:gd name="connsiteX14" fmla="*/ 448730 w 1185687"/>
                <a:gd name="connsiteY14" fmla="*/ 1378286 h 1553659"/>
                <a:gd name="connsiteX15" fmla="*/ 226925 w 1185687"/>
                <a:gd name="connsiteY15" fmla="*/ 1359069 h 1553659"/>
                <a:gd name="connsiteX16" fmla="*/ 115000 w 1185687"/>
                <a:gd name="connsiteY16" fmla="*/ 1527519 h 1553659"/>
                <a:gd name="connsiteX17" fmla="*/ 84438 w 1185687"/>
                <a:gd name="connsiteY17" fmla="*/ 1555832 h 1553659"/>
                <a:gd name="connsiteX18" fmla="*/ 6755 w 1185687"/>
                <a:gd name="connsiteY18" fmla="*/ 1500636 h 1553659"/>
                <a:gd name="connsiteX19" fmla="*/ 9 w 1185687"/>
                <a:gd name="connsiteY19" fmla="*/ 1478967 h 1553659"/>
                <a:gd name="connsiteX20" fmla="*/ 14319 w 1185687"/>
                <a:gd name="connsiteY20" fmla="*/ 1451880 h 1553659"/>
                <a:gd name="connsiteX21" fmla="*/ 552682 w 1185687"/>
                <a:gd name="connsiteY21" fmla="*/ 818253 h 1553659"/>
                <a:gd name="connsiteX22" fmla="*/ 641200 w 1185687"/>
                <a:gd name="connsiteY22" fmla="*/ 689463 h 1553659"/>
                <a:gd name="connsiteX23" fmla="*/ 662154 w 1185687"/>
                <a:gd name="connsiteY23" fmla="*/ 444659 h 1553659"/>
                <a:gd name="connsiteX24" fmla="*/ 723891 w 1185687"/>
                <a:gd name="connsiteY24" fmla="*/ 209975 h 1553659"/>
                <a:gd name="connsiteX25" fmla="*/ 808014 w 1185687"/>
                <a:gd name="connsiteY25" fmla="*/ 146295 h 1553659"/>
                <a:gd name="connsiteX26" fmla="*/ 1110466 w 1185687"/>
                <a:gd name="connsiteY26" fmla="*/ 17914 h 1553659"/>
                <a:gd name="connsiteX27" fmla="*/ 1183754 w 1185687"/>
                <a:gd name="connsiteY27" fmla="*/ 1560 h 1553659"/>
                <a:gd name="connsiteX28" fmla="*/ 1158405 w 1185687"/>
                <a:gd name="connsiteY28" fmla="*/ 30077 h 1553659"/>
                <a:gd name="connsiteX29" fmla="*/ 1028797 w 1185687"/>
                <a:gd name="connsiteY29" fmla="*/ 97437 h 1553659"/>
                <a:gd name="connsiteX30" fmla="*/ 911250 w 1185687"/>
                <a:gd name="connsiteY30" fmla="*/ 212326 h 15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85687" h="1553659">
                  <a:moveTo>
                    <a:pt x="911250" y="212326"/>
                  </a:moveTo>
                  <a:cubicBezTo>
                    <a:pt x="834692" y="317607"/>
                    <a:pt x="803823" y="451610"/>
                    <a:pt x="827230" y="577436"/>
                  </a:cubicBezTo>
                  <a:cubicBezTo>
                    <a:pt x="820382" y="538799"/>
                    <a:pt x="813636" y="500162"/>
                    <a:pt x="806787" y="461524"/>
                  </a:cubicBezTo>
                  <a:cubicBezTo>
                    <a:pt x="808321" y="504250"/>
                    <a:pt x="809854" y="547078"/>
                    <a:pt x="811387" y="589804"/>
                  </a:cubicBezTo>
                  <a:cubicBezTo>
                    <a:pt x="794113" y="553926"/>
                    <a:pt x="782358" y="515800"/>
                    <a:pt x="776736" y="476754"/>
                  </a:cubicBezTo>
                  <a:cubicBezTo>
                    <a:pt x="778474" y="521218"/>
                    <a:pt x="783891" y="565579"/>
                    <a:pt x="792886" y="609224"/>
                  </a:cubicBezTo>
                  <a:cubicBezTo>
                    <a:pt x="768252" y="564965"/>
                    <a:pt x="753125" y="516107"/>
                    <a:pt x="748525" y="466329"/>
                  </a:cubicBezTo>
                  <a:cubicBezTo>
                    <a:pt x="740348" y="561797"/>
                    <a:pt x="750569" y="658594"/>
                    <a:pt x="778678" y="750689"/>
                  </a:cubicBezTo>
                  <a:cubicBezTo>
                    <a:pt x="763448" y="732904"/>
                    <a:pt x="748218" y="715016"/>
                    <a:pt x="732988" y="697231"/>
                  </a:cubicBezTo>
                  <a:cubicBezTo>
                    <a:pt x="749036" y="777571"/>
                    <a:pt x="690569" y="852495"/>
                    <a:pt x="635476" y="915561"/>
                  </a:cubicBezTo>
                  <a:cubicBezTo>
                    <a:pt x="646822" y="892665"/>
                    <a:pt x="655510" y="868542"/>
                    <a:pt x="661132" y="843806"/>
                  </a:cubicBezTo>
                  <a:cubicBezTo>
                    <a:pt x="645186" y="881319"/>
                    <a:pt x="622086" y="916072"/>
                    <a:pt x="593364" y="946021"/>
                  </a:cubicBezTo>
                  <a:cubicBezTo>
                    <a:pt x="603380" y="922307"/>
                    <a:pt x="613500" y="898593"/>
                    <a:pt x="623517" y="874777"/>
                  </a:cubicBezTo>
                  <a:cubicBezTo>
                    <a:pt x="505970" y="1014198"/>
                    <a:pt x="387810" y="1153107"/>
                    <a:pt x="269037" y="1291710"/>
                  </a:cubicBezTo>
                  <a:cubicBezTo>
                    <a:pt x="340178" y="1276991"/>
                    <a:pt x="419497" y="1315219"/>
                    <a:pt x="448730" y="1378286"/>
                  </a:cubicBezTo>
                  <a:cubicBezTo>
                    <a:pt x="395067" y="1319615"/>
                    <a:pt x="291013" y="1310620"/>
                    <a:pt x="226925" y="1359069"/>
                  </a:cubicBezTo>
                  <a:cubicBezTo>
                    <a:pt x="171729" y="1400875"/>
                    <a:pt x="152104" y="1470688"/>
                    <a:pt x="115000" y="1527519"/>
                  </a:cubicBezTo>
                  <a:cubicBezTo>
                    <a:pt x="107334" y="1539274"/>
                    <a:pt x="98032" y="1551130"/>
                    <a:pt x="84438" y="1555832"/>
                  </a:cubicBezTo>
                  <a:cubicBezTo>
                    <a:pt x="50911" y="1567485"/>
                    <a:pt x="22087" y="1531198"/>
                    <a:pt x="6755" y="1500636"/>
                  </a:cubicBezTo>
                  <a:cubicBezTo>
                    <a:pt x="3280" y="1493788"/>
                    <a:pt x="-196" y="1486531"/>
                    <a:pt x="9" y="1478967"/>
                  </a:cubicBezTo>
                  <a:cubicBezTo>
                    <a:pt x="315" y="1468643"/>
                    <a:pt x="7470" y="1459853"/>
                    <a:pt x="14319" y="1451880"/>
                  </a:cubicBezTo>
                  <a:cubicBezTo>
                    <a:pt x="193807" y="1240603"/>
                    <a:pt x="373296" y="1029428"/>
                    <a:pt x="552682" y="818253"/>
                  </a:cubicBezTo>
                  <a:cubicBezTo>
                    <a:pt x="586719" y="778185"/>
                    <a:pt x="621268" y="737299"/>
                    <a:pt x="641200" y="689463"/>
                  </a:cubicBezTo>
                  <a:cubicBezTo>
                    <a:pt x="673193" y="612700"/>
                    <a:pt x="664402" y="527146"/>
                    <a:pt x="662154" y="444659"/>
                  </a:cubicBezTo>
                  <a:cubicBezTo>
                    <a:pt x="659905" y="362172"/>
                    <a:pt x="667469" y="272939"/>
                    <a:pt x="723891" y="209975"/>
                  </a:cubicBezTo>
                  <a:cubicBezTo>
                    <a:pt x="747196" y="184012"/>
                    <a:pt x="777350" y="164387"/>
                    <a:pt x="808014" y="146295"/>
                  </a:cubicBezTo>
                  <a:cubicBezTo>
                    <a:pt x="902153" y="90895"/>
                    <a:pt x="1004163" y="47658"/>
                    <a:pt x="1110466" y="17914"/>
                  </a:cubicBezTo>
                  <a:cubicBezTo>
                    <a:pt x="1122528" y="14541"/>
                    <a:pt x="1173226" y="-5698"/>
                    <a:pt x="1183754" y="1560"/>
                  </a:cubicBezTo>
                  <a:cubicBezTo>
                    <a:pt x="1206548" y="17198"/>
                    <a:pt x="1168115" y="26500"/>
                    <a:pt x="1158405" y="30077"/>
                  </a:cubicBezTo>
                  <a:cubicBezTo>
                    <a:pt x="1112204" y="46943"/>
                    <a:pt x="1068456" y="69328"/>
                    <a:pt x="1028797" y="97437"/>
                  </a:cubicBezTo>
                  <a:cubicBezTo>
                    <a:pt x="983312" y="129328"/>
                    <a:pt x="943346" y="168169"/>
                    <a:pt x="911250" y="21232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EDED39BA-4472-4102-9E9D-4B3840489497}"/>
                </a:ext>
              </a:extLst>
            </p:cNvPr>
            <p:cNvSpPr/>
            <p:nvPr/>
          </p:nvSpPr>
          <p:spPr>
            <a:xfrm>
              <a:off x="10392056" y="1140842"/>
              <a:ext cx="522893" cy="229756"/>
            </a:xfrm>
            <a:custGeom>
              <a:avLst/>
              <a:gdLst>
                <a:gd name="connsiteX0" fmla="*/ 116633 w 674615"/>
                <a:gd name="connsiteY0" fmla="*/ 205966 h 296421"/>
                <a:gd name="connsiteX1" fmla="*/ 224776 w 674615"/>
                <a:gd name="connsiteY1" fmla="*/ 285795 h 296421"/>
                <a:gd name="connsiteX2" fmla="*/ 358984 w 674615"/>
                <a:gd name="connsiteY2" fmla="*/ 294279 h 296421"/>
                <a:gd name="connsiteX3" fmla="*/ 408353 w 674615"/>
                <a:gd name="connsiteY3" fmla="*/ 268317 h 296421"/>
                <a:gd name="connsiteX4" fmla="*/ 644775 w 674615"/>
                <a:gd name="connsiteY4" fmla="*/ 78402 h 296421"/>
                <a:gd name="connsiteX5" fmla="*/ 677484 w 674615"/>
                <a:gd name="connsiteY5" fmla="*/ 4 h 296421"/>
                <a:gd name="connsiteX6" fmla="*/ 648353 w 674615"/>
                <a:gd name="connsiteY6" fmla="*/ 14825 h 296421"/>
                <a:gd name="connsiteX7" fmla="*/ 314520 w 674615"/>
                <a:gd name="connsiteY7" fmla="*/ 209339 h 296421"/>
                <a:gd name="connsiteX8" fmla="*/ 264333 w 674615"/>
                <a:gd name="connsiteY8" fmla="*/ 227533 h 296421"/>
                <a:gd name="connsiteX9" fmla="*/ 142391 w 674615"/>
                <a:gd name="connsiteY9" fmla="*/ 185830 h 296421"/>
                <a:gd name="connsiteX10" fmla="*/ 2255 w 674615"/>
                <a:gd name="connsiteY10" fmla="*/ 3275 h 296421"/>
                <a:gd name="connsiteX11" fmla="*/ 39257 w 674615"/>
                <a:gd name="connsiteY11" fmla="*/ 106102 h 296421"/>
                <a:gd name="connsiteX12" fmla="*/ 116633 w 674615"/>
                <a:gd name="connsiteY12" fmla="*/ 205966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4615" h="296421">
                  <a:moveTo>
                    <a:pt x="116633" y="205966"/>
                  </a:moveTo>
                  <a:cubicBezTo>
                    <a:pt x="147809" y="238061"/>
                    <a:pt x="182970" y="267601"/>
                    <a:pt x="224776" y="285795"/>
                  </a:cubicBezTo>
                  <a:cubicBezTo>
                    <a:pt x="266582" y="303990"/>
                    <a:pt x="315952" y="309816"/>
                    <a:pt x="358984" y="294279"/>
                  </a:cubicBezTo>
                  <a:cubicBezTo>
                    <a:pt x="376667" y="287942"/>
                    <a:pt x="392714" y="278232"/>
                    <a:pt x="408353" y="268317"/>
                  </a:cubicBezTo>
                  <a:cubicBezTo>
                    <a:pt x="494520" y="213939"/>
                    <a:pt x="574043" y="150055"/>
                    <a:pt x="644775" y="78402"/>
                  </a:cubicBezTo>
                  <a:cubicBezTo>
                    <a:pt x="666138" y="56733"/>
                    <a:pt x="688319" y="27908"/>
                    <a:pt x="677484" y="4"/>
                  </a:cubicBezTo>
                  <a:cubicBezTo>
                    <a:pt x="666138" y="-201"/>
                    <a:pt x="656734" y="7670"/>
                    <a:pt x="648353" y="14825"/>
                  </a:cubicBezTo>
                  <a:cubicBezTo>
                    <a:pt x="551045" y="97925"/>
                    <a:pt x="431965" y="154143"/>
                    <a:pt x="314520" y="209339"/>
                  </a:cubicBezTo>
                  <a:cubicBezTo>
                    <a:pt x="298473" y="216903"/>
                    <a:pt x="282016" y="224569"/>
                    <a:pt x="264333" y="227533"/>
                  </a:cubicBezTo>
                  <a:cubicBezTo>
                    <a:pt x="220381" y="234893"/>
                    <a:pt x="177042" y="212405"/>
                    <a:pt x="142391" y="185830"/>
                  </a:cubicBezTo>
                  <a:cubicBezTo>
                    <a:pt x="75441" y="134620"/>
                    <a:pt x="42835" y="71963"/>
                    <a:pt x="2255" y="3275"/>
                  </a:cubicBezTo>
                  <a:cubicBezTo>
                    <a:pt x="-9091" y="30770"/>
                    <a:pt x="25356" y="82491"/>
                    <a:pt x="39257" y="106102"/>
                  </a:cubicBezTo>
                  <a:cubicBezTo>
                    <a:pt x="60620" y="142286"/>
                    <a:pt x="87093" y="175506"/>
                    <a:pt x="116633" y="20596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69C75CEC-4553-4120-9F31-B164E915A468}"/>
                </a:ext>
              </a:extLst>
            </p:cNvPr>
            <p:cNvSpPr/>
            <p:nvPr/>
          </p:nvSpPr>
          <p:spPr>
            <a:xfrm>
              <a:off x="9458062" y="3439833"/>
              <a:ext cx="475358" cy="356518"/>
            </a:xfrm>
            <a:custGeom>
              <a:avLst/>
              <a:gdLst>
                <a:gd name="connsiteX0" fmla="*/ 0 w 613286"/>
                <a:gd name="connsiteY0" fmla="*/ 450255 h 459964"/>
                <a:gd name="connsiteX1" fmla="*/ 186848 w 613286"/>
                <a:gd name="connsiteY1" fmla="*/ 437887 h 459964"/>
                <a:gd name="connsiteX2" fmla="*/ 347018 w 613286"/>
                <a:gd name="connsiteY2" fmla="*/ 339863 h 459964"/>
                <a:gd name="connsiteX3" fmla="*/ 555536 w 613286"/>
                <a:gd name="connsiteY3" fmla="*/ 161908 h 459964"/>
                <a:gd name="connsiteX4" fmla="*/ 445451 w 613286"/>
                <a:gd name="connsiteY4" fmla="*/ 227120 h 459964"/>
                <a:gd name="connsiteX5" fmla="*/ 618193 w 613286"/>
                <a:gd name="connsiteY5" fmla="*/ 0 h 459964"/>
                <a:gd name="connsiteX6" fmla="*/ 483883 w 613286"/>
                <a:gd name="connsiteY6" fmla="*/ 114276 h 459964"/>
                <a:gd name="connsiteX7" fmla="*/ 348143 w 613286"/>
                <a:gd name="connsiteY7" fmla="*/ 254923 h 459964"/>
                <a:gd name="connsiteX8" fmla="*/ 0 w 613286"/>
                <a:gd name="connsiteY8" fmla="*/ 450255 h 45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286" h="459964">
                  <a:moveTo>
                    <a:pt x="0" y="450255"/>
                  </a:moveTo>
                  <a:cubicBezTo>
                    <a:pt x="60409" y="469675"/>
                    <a:pt x="127870" y="461089"/>
                    <a:pt x="186848" y="437887"/>
                  </a:cubicBezTo>
                  <a:cubicBezTo>
                    <a:pt x="245724" y="414684"/>
                    <a:pt x="297444" y="377887"/>
                    <a:pt x="347018" y="339863"/>
                  </a:cubicBezTo>
                  <a:cubicBezTo>
                    <a:pt x="419693" y="284054"/>
                    <a:pt x="489300" y="224565"/>
                    <a:pt x="555536" y="161908"/>
                  </a:cubicBezTo>
                  <a:cubicBezTo>
                    <a:pt x="515979" y="178773"/>
                    <a:pt x="478772" y="200851"/>
                    <a:pt x="445451" y="227120"/>
                  </a:cubicBezTo>
                  <a:cubicBezTo>
                    <a:pt x="516183" y="161499"/>
                    <a:pt x="574854" y="84327"/>
                    <a:pt x="618193" y="0"/>
                  </a:cubicBezTo>
                  <a:cubicBezTo>
                    <a:pt x="566268" y="36082"/>
                    <a:pt x="522418" y="66031"/>
                    <a:pt x="483883" y="114276"/>
                  </a:cubicBezTo>
                  <a:cubicBezTo>
                    <a:pt x="443304" y="165076"/>
                    <a:pt x="398228" y="212300"/>
                    <a:pt x="348143" y="254923"/>
                  </a:cubicBezTo>
                  <a:cubicBezTo>
                    <a:pt x="247155" y="340885"/>
                    <a:pt x="128279" y="408040"/>
                    <a:pt x="0" y="45025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EEDDFE94-DDD6-44A8-B75A-8C9FDE29E3DD}"/>
                </a:ext>
              </a:extLst>
            </p:cNvPr>
            <p:cNvSpPr/>
            <p:nvPr/>
          </p:nvSpPr>
          <p:spPr>
            <a:xfrm>
              <a:off x="9587281" y="3559544"/>
              <a:ext cx="863566" cy="1378536"/>
            </a:xfrm>
            <a:custGeom>
              <a:avLst/>
              <a:gdLst>
                <a:gd name="connsiteX0" fmla="*/ 0 w 1114137"/>
                <a:gd name="connsiteY0" fmla="*/ 414582 h 1778531"/>
                <a:gd name="connsiteX1" fmla="*/ 176218 w 1114137"/>
                <a:gd name="connsiteY1" fmla="*/ 392401 h 1778531"/>
                <a:gd name="connsiteX2" fmla="*/ 27904 w 1114137"/>
                <a:gd name="connsiteY2" fmla="*/ 445450 h 1778531"/>
                <a:gd name="connsiteX3" fmla="*/ 203611 w 1114137"/>
                <a:gd name="connsiteY3" fmla="*/ 435842 h 1778531"/>
                <a:gd name="connsiteX4" fmla="*/ 109881 w 1114137"/>
                <a:gd name="connsiteY4" fmla="*/ 579862 h 1778531"/>
                <a:gd name="connsiteX5" fmla="*/ 181124 w 1114137"/>
                <a:gd name="connsiteY5" fmla="*/ 749027 h 1778531"/>
                <a:gd name="connsiteX6" fmla="*/ 464565 w 1114137"/>
                <a:gd name="connsiteY6" fmla="*/ 1201837 h 1778531"/>
                <a:gd name="connsiteX7" fmla="*/ 763235 w 1114137"/>
                <a:gd name="connsiteY7" fmla="*/ 1567356 h 1778531"/>
                <a:gd name="connsiteX8" fmla="*/ 659181 w 1114137"/>
                <a:gd name="connsiteY8" fmla="*/ 1527390 h 1778531"/>
                <a:gd name="connsiteX9" fmla="*/ 762622 w 1114137"/>
                <a:gd name="connsiteY9" fmla="*/ 1598633 h 1778531"/>
                <a:gd name="connsiteX10" fmla="*/ 684326 w 1114137"/>
                <a:gd name="connsiteY10" fmla="*/ 1579111 h 1778531"/>
                <a:gd name="connsiteX11" fmla="*/ 1116386 w 1114137"/>
                <a:gd name="connsiteY11" fmla="*/ 1786504 h 1778531"/>
                <a:gd name="connsiteX12" fmla="*/ 953252 w 1114137"/>
                <a:gd name="connsiteY12" fmla="*/ 1594238 h 1778531"/>
                <a:gd name="connsiteX13" fmla="*/ 556251 w 1114137"/>
                <a:gd name="connsiteY13" fmla="*/ 789402 h 1778531"/>
                <a:gd name="connsiteX14" fmla="*/ 543678 w 1114137"/>
                <a:gd name="connsiteY14" fmla="*/ 452912 h 1778531"/>
                <a:gd name="connsiteX15" fmla="*/ 457205 w 1114137"/>
                <a:gd name="connsiteY15" fmla="*/ 542247 h 1778531"/>
                <a:gd name="connsiteX16" fmla="*/ 540101 w 1114137"/>
                <a:gd name="connsiteY16" fmla="*/ 420408 h 1778531"/>
                <a:gd name="connsiteX17" fmla="*/ 408244 w 1114137"/>
                <a:gd name="connsiteY17" fmla="*/ 517103 h 1778531"/>
                <a:gd name="connsiteX18" fmla="*/ 511481 w 1114137"/>
                <a:gd name="connsiteY18" fmla="*/ 388006 h 1778531"/>
                <a:gd name="connsiteX19" fmla="*/ 376558 w 1114137"/>
                <a:gd name="connsiteY19" fmla="*/ 470902 h 1778531"/>
                <a:gd name="connsiteX20" fmla="*/ 559931 w 1114137"/>
                <a:gd name="connsiteY20" fmla="*/ 291311 h 1778531"/>
                <a:gd name="connsiteX21" fmla="*/ 339556 w 1114137"/>
                <a:gd name="connsiteY21" fmla="*/ 412333 h 1778531"/>
                <a:gd name="connsiteX22" fmla="*/ 548381 w 1114137"/>
                <a:gd name="connsiteY22" fmla="*/ 239079 h 1778531"/>
                <a:gd name="connsiteX23" fmla="*/ 316865 w 1114137"/>
                <a:gd name="connsiteY23" fmla="*/ 374105 h 1778531"/>
                <a:gd name="connsiteX24" fmla="*/ 632809 w 1114137"/>
                <a:gd name="connsiteY24" fmla="*/ 0 h 1778531"/>
                <a:gd name="connsiteX25" fmla="*/ 346507 w 1114137"/>
                <a:gd name="connsiteY25" fmla="*/ 240204 h 1778531"/>
                <a:gd name="connsiteX26" fmla="*/ 0 w 1114137"/>
                <a:gd name="connsiteY26" fmla="*/ 414582 h 17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4137" h="1778531">
                  <a:moveTo>
                    <a:pt x="0" y="414582"/>
                  </a:moveTo>
                  <a:cubicBezTo>
                    <a:pt x="59489" y="420715"/>
                    <a:pt x="120511" y="413049"/>
                    <a:pt x="176218" y="392401"/>
                  </a:cubicBezTo>
                  <a:cubicBezTo>
                    <a:pt x="126746" y="410084"/>
                    <a:pt x="77376" y="427767"/>
                    <a:pt x="27904" y="445450"/>
                  </a:cubicBezTo>
                  <a:cubicBezTo>
                    <a:pt x="86576" y="446575"/>
                    <a:pt x="145451" y="443406"/>
                    <a:pt x="203611" y="435842"/>
                  </a:cubicBezTo>
                  <a:cubicBezTo>
                    <a:pt x="140647" y="450357"/>
                    <a:pt x="105485" y="518738"/>
                    <a:pt x="109881" y="579862"/>
                  </a:cubicBezTo>
                  <a:cubicBezTo>
                    <a:pt x="114276" y="640987"/>
                    <a:pt x="148211" y="696285"/>
                    <a:pt x="181124" y="749027"/>
                  </a:cubicBezTo>
                  <a:cubicBezTo>
                    <a:pt x="275570" y="899998"/>
                    <a:pt x="370119" y="1050867"/>
                    <a:pt x="464565" y="1201837"/>
                  </a:cubicBezTo>
                  <a:cubicBezTo>
                    <a:pt x="548074" y="1335125"/>
                    <a:pt x="634445" y="1471683"/>
                    <a:pt x="763235" y="1567356"/>
                  </a:cubicBezTo>
                  <a:cubicBezTo>
                    <a:pt x="728584" y="1554068"/>
                    <a:pt x="693832" y="1540678"/>
                    <a:pt x="659181" y="1527390"/>
                  </a:cubicBezTo>
                  <a:cubicBezTo>
                    <a:pt x="693627" y="1551104"/>
                    <a:pt x="728176" y="1574920"/>
                    <a:pt x="762622" y="1598633"/>
                  </a:cubicBezTo>
                  <a:cubicBezTo>
                    <a:pt x="736557" y="1592194"/>
                    <a:pt x="710493" y="1585653"/>
                    <a:pt x="684326" y="1579111"/>
                  </a:cubicBezTo>
                  <a:cubicBezTo>
                    <a:pt x="810765" y="1676010"/>
                    <a:pt x="959078" y="1747254"/>
                    <a:pt x="1116386" y="1786504"/>
                  </a:cubicBezTo>
                  <a:cubicBezTo>
                    <a:pt x="1048209" y="1734885"/>
                    <a:pt x="998942" y="1664664"/>
                    <a:pt x="953252" y="1594238"/>
                  </a:cubicBezTo>
                  <a:cubicBezTo>
                    <a:pt x="789198" y="1341360"/>
                    <a:pt x="655910" y="1070696"/>
                    <a:pt x="556251" y="789402"/>
                  </a:cubicBezTo>
                  <a:cubicBezTo>
                    <a:pt x="517409" y="679726"/>
                    <a:pt x="484905" y="554309"/>
                    <a:pt x="543678" y="452912"/>
                  </a:cubicBezTo>
                  <a:cubicBezTo>
                    <a:pt x="514854" y="482657"/>
                    <a:pt x="486030" y="512503"/>
                    <a:pt x="457205" y="542247"/>
                  </a:cubicBezTo>
                  <a:cubicBezTo>
                    <a:pt x="479692" y="498704"/>
                    <a:pt x="507597" y="457716"/>
                    <a:pt x="540101" y="420408"/>
                  </a:cubicBezTo>
                  <a:cubicBezTo>
                    <a:pt x="496149" y="452606"/>
                    <a:pt x="452197" y="484905"/>
                    <a:pt x="408244" y="517103"/>
                  </a:cubicBezTo>
                  <a:cubicBezTo>
                    <a:pt x="442691" y="474071"/>
                    <a:pt x="477035" y="431038"/>
                    <a:pt x="511481" y="388006"/>
                  </a:cubicBezTo>
                  <a:cubicBezTo>
                    <a:pt x="469778" y="420101"/>
                    <a:pt x="424496" y="447904"/>
                    <a:pt x="376558" y="470902"/>
                  </a:cubicBezTo>
                  <a:cubicBezTo>
                    <a:pt x="447290" y="420817"/>
                    <a:pt x="509539" y="359897"/>
                    <a:pt x="559931" y="291311"/>
                  </a:cubicBezTo>
                  <a:cubicBezTo>
                    <a:pt x="491140" y="338738"/>
                    <a:pt x="417137" y="379420"/>
                    <a:pt x="339556" y="412333"/>
                  </a:cubicBezTo>
                  <a:cubicBezTo>
                    <a:pt x="420715" y="368994"/>
                    <a:pt x="492265" y="309607"/>
                    <a:pt x="548381" y="239079"/>
                  </a:cubicBezTo>
                  <a:cubicBezTo>
                    <a:pt x="481328" y="297546"/>
                    <a:pt x="402214" y="343645"/>
                    <a:pt x="316865" y="374105"/>
                  </a:cubicBezTo>
                  <a:cubicBezTo>
                    <a:pt x="459760" y="284463"/>
                    <a:pt x="571890" y="151686"/>
                    <a:pt x="632809" y="0"/>
                  </a:cubicBezTo>
                  <a:cubicBezTo>
                    <a:pt x="526813" y="71857"/>
                    <a:pt x="450459" y="165076"/>
                    <a:pt x="346507" y="240204"/>
                  </a:cubicBezTo>
                  <a:cubicBezTo>
                    <a:pt x="242248" y="315740"/>
                    <a:pt x="124702" y="375127"/>
                    <a:pt x="0" y="41458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44AD19F3-2A20-42AE-A352-F86E3DDDCB41}"/>
                </a:ext>
              </a:extLst>
            </p:cNvPr>
            <p:cNvSpPr/>
            <p:nvPr/>
          </p:nvSpPr>
          <p:spPr>
            <a:xfrm>
              <a:off x="7879514" y="3547730"/>
              <a:ext cx="475358" cy="435744"/>
            </a:xfrm>
            <a:custGeom>
              <a:avLst/>
              <a:gdLst>
                <a:gd name="connsiteX0" fmla="*/ 54742 w 613286"/>
                <a:gd name="connsiteY0" fmla="*/ 469891 h 562179"/>
                <a:gd name="connsiteX1" fmla="*/ 1080 w 613286"/>
                <a:gd name="connsiteY1" fmla="*/ 413673 h 562179"/>
                <a:gd name="connsiteX2" fmla="*/ 29700 w 613286"/>
                <a:gd name="connsiteY2" fmla="*/ 326280 h 562179"/>
                <a:gd name="connsiteX3" fmla="*/ 25713 w 613286"/>
                <a:gd name="connsiteY3" fmla="*/ 263929 h 562179"/>
                <a:gd name="connsiteX4" fmla="*/ 36855 w 613286"/>
                <a:gd name="connsiteY4" fmla="*/ 203827 h 562179"/>
                <a:gd name="connsiteX5" fmla="*/ 101863 w 613286"/>
                <a:gd name="connsiteY5" fmla="*/ 158341 h 562179"/>
                <a:gd name="connsiteX6" fmla="*/ 116786 w 613286"/>
                <a:gd name="connsiteY6" fmla="*/ 116740 h 562179"/>
                <a:gd name="connsiteX7" fmla="*/ 196718 w 613286"/>
                <a:gd name="connsiteY7" fmla="*/ 72686 h 562179"/>
                <a:gd name="connsiteX8" fmla="*/ 221249 w 613286"/>
                <a:gd name="connsiteY8" fmla="*/ 75241 h 562179"/>
                <a:gd name="connsiteX9" fmla="*/ 263566 w 613286"/>
                <a:gd name="connsiteY9" fmla="*/ 29654 h 562179"/>
                <a:gd name="connsiteX10" fmla="*/ 373753 w 613286"/>
                <a:gd name="connsiteY10" fmla="*/ 15548 h 562179"/>
                <a:gd name="connsiteX11" fmla="*/ 394810 w 613286"/>
                <a:gd name="connsiteY11" fmla="*/ 32413 h 562179"/>
                <a:gd name="connsiteX12" fmla="*/ 466564 w 613286"/>
                <a:gd name="connsiteY12" fmla="*/ 30982 h 562179"/>
                <a:gd name="connsiteX13" fmla="*/ 543020 w 613286"/>
                <a:gd name="connsiteY13" fmla="*/ 63793 h 562179"/>
                <a:gd name="connsiteX14" fmla="*/ 556411 w 613286"/>
                <a:gd name="connsiteY14" fmla="*/ 92209 h 562179"/>
                <a:gd name="connsiteX15" fmla="*/ 613651 w 613286"/>
                <a:gd name="connsiteY15" fmla="*/ 126246 h 562179"/>
                <a:gd name="connsiteX16" fmla="*/ 561215 w 613286"/>
                <a:gd name="connsiteY16" fmla="*/ 125224 h 562179"/>
                <a:gd name="connsiteX17" fmla="*/ 520124 w 613286"/>
                <a:gd name="connsiteY17" fmla="*/ 96910 h 562179"/>
                <a:gd name="connsiteX18" fmla="*/ 509801 w 613286"/>
                <a:gd name="connsiteY18" fmla="*/ 74423 h 562179"/>
                <a:gd name="connsiteX19" fmla="*/ 470039 w 613286"/>
                <a:gd name="connsiteY19" fmla="*/ 64406 h 562179"/>
                <a:gd name="connsiteX20" fmla="*/ 394196 w 613286"/>
                <a:gd name="connsiteY20" fmla="*/ 74730 h 562179"/>
                <a:gd name="connsiteX21" fmla="*/ 346973 w 613286"/>
                <a:gd name="connsiteY21" fmla="*/ 51732 h 562179"/>
                <a:gd name="connsiteX22" fmla="*/ 296275 w 613286"/>
                <a:gd name="connsiteY22" fmla="*/ 44066 h 562179"/>
                <a:gd name="connsiteX23" fmla="*/ 230551 w 613286"/>
                <a:gd name="connsiteY23" fmla="*/ 123077 h 562179"/>
                <a:gd name="connsiteX24" fmla="*/ 168200 w 613286"/>
                <a:gd name="connsiteY24" fmla="*/ 121135 h 562179"/>
                <a:gd name="connsiteX25" fmla="*/ 150619 w 613286"/>
                <a:gd name="connsiteY25" fmla="*/ 185633 h 562179"/>
                <a:gd name="connsiteX26" fmla="*/ 110040 w 613286"/>
                <a:gd name="connsiteY26" fmla="*/ 208324 h 562179"/>
                <a:gd name="connsiteX27" fmla="*/ 66701 w 613286"/>
                <a:gd name="connsiteY27" fmla="*/ 236126 h 562179"/>
                <a:gd name="connsiteX28" fmla="*/ 55355 w 613286"/>
                <a:gd name="connsiteY28" fmla="*/ 283145 h 562179"/>
                <a:gd name="connsiteX29" fmla="*/ 74572 w 613286"/>
                <a:gd name="connsiteY29" fmla="*/ 323315 h 562179"/>
                <a:gd name="connsiteX30" fmla="*/ 55764 w 613286"/>
                <a:gd name="connsiteY30" fmla="*/ 376467 h 562179"/>
                <a:gd name="connsiteX31" fmla="*/ 45236 w 613286"/>
                <a:gd name="connsiteY31" fmla="*/ 430436 h 562179"/>
                <a:gd name="connsiteX32" fmla="*/ 86531 w 613286"/>
                <a:gd name="connsiteY32" fmla="*/ 462634 h 562179"/>
                <a:gd name="connsiteX33" fmla="*/ 104112 w 613286"/>
                <a:gd name="connsiteY33" fmla="*/ 565973 h 562179"/>
                <a:gd name="connsiteX34" fmla="*/ 54742 w 613286"/>
                <a:gd name="connsiteY34" fmla="*/ 469891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13286" h="562179">
                  <a:moveTo>
                    <a:pt x="54742" y="469891"/>
                  </a:moveTo>
                  <a:cubicBezTo>
                    <a:pt x="34299" y="452821"/>
                    <a:pt x="6906" y="438818"/>
                    <a:pt x="1080" y="413673"/>
                  </a:cubicBezTo>
                  <a:cubicBezTo>
                    <a:pt x="-5871" y="383418"/>
                    <a:pt x="22749" y="356535"/>
                    <a:pt x="29700" y="326280"/>
                  </a:cubicBezTo>
                  <a:cubicBezTo>
                    <a:pt x="34299" y="305837"/>
                    <a:pt x="28780" y="284678"/>
                    <a:pt x="25713" y="263929"/>
                  </a:cubicBezTo>
                  <a:cubicBezTo>
                    <a:pt x="22749" y="243179"/>
                    <a:pt x="22953" y="220079"/>
                    <a:pt x="36855" y="203827"/>
                  </a:cubicBezTo>
                  <a:cubicBezTo>
                    <a:pt x="53924" y="183793"/>
                    <a:pt x="86837" y="179807"/>
                    <a:pt x="101863" y="158341"/>
                  </a:cubicBezTo>
                  <a:cubicBezTo>
                    <a:pt x="110449" y="146076"/>
                    <a:pt x="111369" y="130539"/>
                    <a:pt x="116786" y="116740"/>
                  </a:cubicBezTo>
                  <a:cubicBezTo>
                    <a:pt x="128541" y="87200"/>
                    <a:pt x="163703" y="67779"/>
                    <a:pt x="196718" y="72686"/>
                  </a:cubicBezTo>
                  <a:cubicBezTo>
                    <a:pt x="204895" y="73912"/>
                    <a:pt x="213072" y="76468"/>
                    <a:pt x="221249" y="75241"/>
                  </a:cubicBezTo>
                  <a:cubicBezTo>
                    <a:pt x="243226" y="72175"/>
                    <a:pt x="251096" y="47030"/>
                    <a:pt x="263566" y="29654"/>
                  </a:cubicBezTo>
                  <a:cubicBezTo>
                    <a:pt x="287076" y="-3055"/>
                    <a:pt x="341862" y="-10108"/>
                    <a:pt x="373753" y="15548"/>
                  </a:cubicBezTo>
                  <a:cubicBezTo>
                    <a:pt x="380806" y="21170"/>
                    <a:pt x="386735" y="28120"/>
                    <a:pt x="394810" y="32413"/>
                  </a:cubicBezTo>
                  <a:cubicBezTo>
                    <a:pt x="416070" y="43861"/>
                    <a:pt x="442237" y="33435"/>
                    <a:pt x="466564" y="30982"/>
                  </a:cubicBezTo>
                  <a:cubicBezTo>
                    <a:pt x="496002" y="28018"/>
                    <a:pt x="528404" y="39466"/>
                    <a:pt x="543020" y="63793"/>
                  </a:cubicBezTo>
                  <a:cubicBezTo>
                    <a:pt x="548438" y="72788"/>
                    <a:pt x="551300" y="83111"/>
                    <a:pt x="556411" y="92209"/>
                  </a:cubicBezTo>
                  <a:cubicBezTo>
                    <a:pt x="567552" y="111834"/>
                    <a:pt x="590141" y="125326"/>
                    <a:pt x="613651" y="126246"/>
                  </a:cubicBezTo>
                  <a:cubicBezTo>
                    <a:pt x="596172" y="127575"/>
                    <a:pt x="578284" y="128904"/>
                    <a:pt x="561215" y="125224"/>
                  </a:cubicBezTo>
                  <a:cubicBezTo>
                    <a:pt x="544145" y="121544"/>
                    <a:pt x="527484" y="111936"/>
                    <a:pt x="520124" y="96910"/>
                  </a:cubicBezTo>
                  <a:cubicBezTo>
                    <a:pt x="516445" y="89449"/>
                    <a:pt x="515218" y="80863"/>
                    <a:pt x="509801" y="74423"/>
                  </a:cubicBezTo>
                  <a:cubicBezTo>
                    <a:pt x="500908" y="63691"/>
                    <a:pt x="484247" y="62362"/>
                    <a:pt x="470039" y="64406"/>
                  </a:cubicBezTo>
                  <a:cubicBezTo>
                    <a:pt x="444588" y="68188"/>
                    <a:pt x="419443" y="79841"/>
                    <a:pt x="394196" y="74730"/>
                  </a:cubicBezTo>
                  <a:cubicBezTo>
                    <a:pt x="376718" y="71255"/>
                    <a:pt x="362305" y="60216"/>
                    <a:pt x="346973" y="51732"/>
                  </a:cubicBezTo>
                  <a:cubicBezTo>
                    <a:pt x="331539" y="43248"/>
                    <a:pt x="312425" y="37115"/>
                    <a:pt x="296275" y="44066"/>
                  </a:cubicBezTo>
                  <a:cubicBezTo>
                    <a:pt x="262851" y="58580"/>
                    <a:pt x="266633" y="116229"/>
                    <a:pt x="230551" y="123077"/>
                  </a:cubicBezTo>
                  <a:cubicBezTo>
                    <a:pt x="209597" y="127064"/>
                    <a:pt x="185781" y="109687"/>
                    <a:pt x="168200" y="121135"/>
                  </a:cubicBezTo>
                  <a:cubicBezTo>
                    <a:pt x="148268" y="134117"/>
                    <a:pt x="162885" y="165803"/>
                    <a:pt x="150619" y="185633"/>
                  </a:cubicBezTo>
                  <a:cubicBezTo>
                    <a:pt x="142544" y="198716"/>
                    <a:pt x="125066" y="203009"/>
                    <a:pt x="110040" y="208324"/>
                  </a:cubicBezTo>
                  <a:cubicBezTo>
                    <a:pt x="93481" y="214150"/>
                    <a:pt x="77638" y="222941"/>
                    <a:pt x="66701" y="236126"/>
                  </a:cubicBezTo>
                  <a:cubicBezTo>
                    <a:pt x="55764" y="249210"/>
                    <a:pt x="50347" y="267097"/>
                    <a:pt x="55355" y="283145"/>
                  </a:cubicBezTo>
                  <a:cubicBezTo>
                    <a:pt x="59751" y="297251"/>
                    <a:pt x="71710" y="308801"/>
                    <a:pt x="74572" y="323315"/>
                  </a:cubicBezTo>
                  <a:cubicBezTo>
                    <a:pt x="78354" y="342123"/>
                    <a:pt x="66190" y="360010"/>
                    <a:pt x="55764" y="376467"/>
                  </a:cubicBezTo>
                  <a:cubicBezTo>
                    <a:pt x="45338" y="392821"/>
                    <a:pt x="36037" y="413366"/>
                    <a:pt x="45236" y="430436"/>
                  </a:cubicBezTo>
                  <a:cubicBezTo>
                    <a:pt x="53413" y="445666"/>
                    <a:pt x="72732" y="451595"/>
                    <a:pt x="86531" y="462634"/>
                  </a:cubicBezTo>
                  <a:cubicBezTo>
                    <a:pt x="111880" y="482974"/>
                    <a:pt x="124350" y="539806"/>
                    <a:pt x="104112" y="565973"/>
                  </a:cubicBezTo>
                  <a:cubicBezTo>
                    <a:pt x="94095" y="528971"/>
                    <a:pt x="86940" y="496773"/>
                    <a:pt x="54742" y="46989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661EAE86-4493-4E03-8F5B-56335AC7AE8A}"/>
                </a:ext>
              </a:extLst>
            </p:cNvPr>
            <p:cNvSpPr/>
            <p:nvPr/>
          </p:nvSpPr>
          <p:spPr>
            <a:xfrm>
              <a:off x="8404749" y="2211984"/>
              <a:ext cx="1457764" cy="1608294"/>
            </a:xfrm>
            <a:custGeom>
              <a:avLst/>
              <a:gdLst>
                <a:gd name="connsiteX0" fmla="*/ 726949 w 1880745"/>
                <a:gd name="connsiteY0" fmla="*/ 293458 h 2074952"/>
                <a:gd name="connsiteX1" fmla="*/ 869845 w 1880745"/>
                <a:gd name="connsiteY1" fmla="*/ 438807 h 2074952"/>
                <a:gd name="connsiteX2" fmla="*/ 1055262 w 1880745"/>
                <a:gd name="connsiteY2" fmla="*/ 538466 h 2074952"/>
                <a:gd name="connsiteX3" fmla="*/ 1126812 w 1880745"/>
                <a:gd name="connsiteY3" fmla="*/ 616660 h 2074952"/>
                <a:gd name="connsiteX4" fmla="*/ 1093286 w 1880745"/>
                <a:gd name="connsiteY4" fmla="*/ 707733 h 2074952"/>
                <a:gd name="connsiteX5" fmla="*/ 1004359 w 1880745"/>
                <a:gd name="connsiteY5" fmla="*/ 762009 h 2074952"/>
                <a:gd name="connsiteX6" fmla="*/ 1167289 w 1880745"/>
                <a:gd name="connsiteY6" fmla="*/ 672980 h 2074952"/>
                <a:gd name="connsiteX7" fmla="*/ 1029402 w 1880745"/>
                <a:gd name="connsiteY7" fmla="*/ 788380 h 2074952"/>
                <a:gd name="connsiteX8" fmla="*/ 1155943 w 1880745"/>
                <a:gd name="connsiteY8" fmla="*/ 726131 h 2074952"/>
                <a:gd name="connsiteX9" fmla="*/ 968277 w 1880745"/>
                <a:gd name="connsiteY9" fmla="*/ 839896 h 2074952"/>
                <a:gd name="connsiteX10" fmla="*/ 711004 w 1880745"/>
                <a:gd name="connsiteY10" fmla="*/ 744734 h 2074952"/>
                <a:gd name="connsiteX11" fmla="*/ 789504 w 1880745"/>
                <a:gd name="connsiteY11" fmla="*/ 874853 h 2074952"/>
                <a:gd name="connsiteX12" fmla="*/ 735740 w 1880745"/>
                <a:gd name="connsiteY12" fmla="*/ 1013763 h 2074952"/>
                <a:gd name="connsiteX13" fmla="*/ 615638 w 1880745"/>
                <a:gd name="connsiteY13" fmla="*/ 1067221 h 2074952"/>
                <a:gd name="connsiteX14" fmla="*/ 797068 w 1880745"/>
                <a:gd name="connsiteY14" fmla="*/ 1019180 h 2074952"/>
                <a:gd name="connsiteX15" fmla="*/ 647222 w 1880745"/>
                <a:gd name="connsiteY15" fmla="*/ 1099725 h 2074952"/>
                <a:gd name="connsiteX16" fmla="*/ 756489 w 1880745"/>
                <a:gd name="connsiteY16" fmla="*/ 1092366 h 2074952"/>
                <a:gd name="connsiteX17" fmla="*/ 601327 w 1880745"/>
                <a:gd name="connsiteY17" fmla="*/ 1151446 h 2074952"/>
                <a:gd name="connsiteX18" fmla="*/ 445246 w 1880745"/>
                <a:gd name="connsiteY18" fmla="*/ 1079998 h 2074952"/>
                <a:gd name="connsiteX19" fmla="*/ 425008 w 1880745"/>
                <a:gd name="connsiteY19" fmla="*/ 1055977 h 2074952"/>
                <a:gd name="connsiteX20" fmla="*/ 304803 w 1880745"/>
                <a:gd name="connsiteY20" fmla="*/ 1158192 h 2074952"/>
                <a:gd name="connsiteX21" fmla="*/ 403951 w 1880745"/>
                <a:gd name="connsiteY21" fmla="*/ 1247425 h 2074952"/>
                <a:gd name="connsiteX22" fmla="*/ 344463 w 1880745"/>
                <a:gd name="connsiteY22" fmla="*/ 1217067 h 2074952"/>
                <a:gd name="connsiteX23" fmla="*/ 415604 w 1880745"/>
                <a:gd name="connsiteY23" fmla="*/ 1275636 h 2074952"/>
                <a:gd name="connsiteX24" fmla="*/ 346200 w 1880745"/>
                <a:gd name="connsiteY24" fmla="*/ 1237203 h 2074952"/>
                <a:gd name="connsiteX25" fmla="*/ 487869 w 1880745"/>
                <a:gd name="connsiteY25" fmla="*/ 1390934 h 2074952"/>
                <a:gd name="connsiteX26" fmla="*/ 224872 w 1880745"/>
                <a:gd name="connsiteY26" fmla="*/ 1655772 h 2074952"/>
                <a:gd name="connsiteX27" fmla="*/ 133696 w 1880745"/>
                <a:gd name="connsiteY27" fmla="*/ 1821870 h 2074952"/>
                <a:gd name="connsiteX28" fmla="*/ 75639 w 1880745"/>
                <a:gd name="connsiteY28" fmla="*/ 1776078 h 2074952"/>
                <a:gd name="connsiteX29" fmla="*/ 126644 w 1880745"/>
                <a:gd name="connsiteY29" fmla="*/ 1830967 h 2074952"/>
                <a:gd name="connsiteX30" fmla="*/ 0 w 1880745"/>
                <a:gd name="connsiteY30" fmla="*/ 1759826 h 2074952"/>
                <a:gd name="connsiteX31" fmla="*/ 170494 w 1880745"/>
                <a:gd name="connsiteY31" fmla="*/ 2084663 h 2074952"/>
                <a:gd name="connsiteX32" fmla="*/ 209233 w 1880745"/>
                <a:gd name="connsiteY32" fmla="*/ 1904153 h 2074952"/>
                <a:gd name="connsiteX33" fmla="*/ 405076 w 1880745"/>
                <a:gd name="connsiteY33" fmla="*/ 1598225 h 2074952"/>
                <a:gd name="connsiteX34" fmla="*/ 515876 w 1880745"/>
                <a:gd name="connsiteY34" fmla="*/ 1471990 h 2074952"/>
                <a:gd name="connsiteX35" fmla="*/ 535093 w 1880745"/>
                <a:gd name="connsiteY35" fmla="*/ 1458907 h 2074952"/>
                <a:gd name="connsiteX36" fmla="*/ 559828 w 1880745"/>
                <a:gd name="connsiteY36" fmla="*/ 1471888 h 2074952"/>
                <a:gd name="connsiteX37" fmla="*/ 670016 w 1880745"/>
                <a:gd name="connsiteY37" fmla="*/ 1582075 h 2074952"/>
                <a:gd name="connsiteX38" fmla="*/ 863712 w 1880745"/>
                <a:gd name="connsiteY38" fmla="*/ 1322144 h 2074952"/>
                <a:gd name="connsiteX39" fmla="*/ 776625 w 1880745"/>
                <a:gd name="connsiteY39" fmla="*/ 1382348 h 2074952"/>
                <a:gd name="connsiteX40" fmla="*/ 1256624 w 1880745"/>
                <a:gd name="connsiteY40" fmla="*/ 1000577 h 2074952"/>
                <a:gd name="connsiteX41" fmla="*/ 1315193 w 1880745"/>
                <a:gd name="connsiteY41" fmla="*/ 1133763 h 2074952"/>
                <a:gd name="connsiteX42" fmla="*/ 1300679 w 1880745"/>
                <a:gd name="connsiteY42" fmla="*/ 991276 h 2074952"/>
                <a:gd name="connsiteX43" fmla="*/ 1364665 w 1880745"/>
                <a:gd name="connsiteY43" fmla="*/ 1129470 h 2074952"/>
                <a:gd name="connsiteX44" fmla="*/ 1349639 w 1880745"/>
                <a:gd name="connsiteY44" fmla="*/ 1047698 h 2074952"/>
                <a:gd name="connsiteX45" fmla="*/ 1478532 w 1880745"/>
                <a:gd name="connsiteY45" fmla="*/ 1198055 h 2074952"/>
                <a:gd name="connsiteX46" fmla="*/ 1415466 w 1880745"/>
                <a:gd name="connsiteY46" fmla="*/ 1074274 h 2074952"/>
                <a:gd name="connsiteX47" fmla="*/ 1707186 w 1880745"/>
                <a:gd name="connsiteY47" fmla="*/ 1294750 h 2074952"/>
                <a:gd name="connsiteX48" fmla="*/ 1537101 w 1880745"/>
                <a:gd name="connsiteY48" fmla="*/ 1133558 h 2074952"/>
                <a:gd name="connsiteX49" fmla="*/ 1719860 w 1880745"/>
                <a:gd name="connsiteY49" fmla="*/ 1233115 h 2074952"/>
                <a:gd name="connsiteX50" fmla="*/ 1568787 w 1880745"/>
                <a:gd name="connsiteY50" fmla="*/ 1101667 h 2074952"/>
                <a:gd name="connsiteX51" fmla="*/ 1504392 w 1880745"/>
                <a:gd name="connsiteY51" fmla="*/ 1008754 h 2074952"/>
                <a:gd name="connsiteX52" fmla="*/ 1465346 w 1880745"/>
                <a:gd name="connsiteY52" fmla="*/ 362146 h 2074952"/>
                <a:gd name="connsiteX53" fmla="*/ 1543745 w 1880745"/>
                <a:gd name="connsiteY53" fmla="*/ 376354 h 2074952"/>
                <a:gd name="connsiteX54" fmla="*/ 1625925 w 1880745"/>
                <a:gd name="connsiteY54" fmla="*/ 403543 h 2074952"/>
                <a:gd name="connsiteX55" fmla="*/ 1715874 w 1880745"/>
                <a:gd name="connsiteY55" fmla="*/ 414889 h 2074952"/>
                <a:gd name="connsiteX56" fmla="*/ 1735806 w 1880745"/>
                <a:gd name="connsiteY56" fmla="*/ 412742 h 2074952"/>
                <a:gd name="connsiteX57" fmla="*/ 1761972 w 1880745"/>
                <a:gd name="connsiteY57" fmla="*/ 393526 h 2074952"/>
                <a:gd name="connsiteX58" fmla="*/ 1882790 w 1880745"/>
                <a:gd name="connsiteY58" fmla="*/ 323611 h 2074952"/>
                <a:gd name="connsiteX59" fmla="*/ 1721291 w 1880745"/>
                <a:gd name="connsiteY59" fmla="*/ 374616 h 2074952"/>
                <a:gd name="connsiteX60" fmla="*/ 1830660 w 1880745"/>
                <a:gd name="connsiteY60" fmla="*/ 307359 h 2074952"/>
                <a:gd name="connsiteX61" fmla="*/ 1681121 w 1880745"/>
                <a:gd name="connsiteY61" fmla="*/ 359693 h 2074952"/>
                <a:gd name="connsiteX62" fmla="*/ 1846913 w 1880745"/>
                <a:gd name="connsiteY62" fmla="*/ 264020 h 2074952"/>
                <a:gd name="connsiteX63" fmla="*/ 1593421 w 1880745"/>
                <a:gd name="connsiteY63" fmla="*/ 338841 h 2074952"/>
                <a:gd name="connsiteX64" fmla="*/ 1715260 w 1880745"/>
                <a:gd name="connsiteY64" fmla="*/ 225894 h 2074952"/>
                <a:gd name="connsiteX65" fmla="*/ 1603131 w 1880745"/>
                <a:gd name="connsiteY65" fmla="*/ 290902 h 2074952"/>
                <a:gd name="connsiteX66" fmla="*/ 1759213 w 1880745"/>
                <a:gd name="connsiteY66" fmla="*/ 171516 h 2074952"/>
                <a:gd name="connsiteX67" fmla="*/ 1591172 w 1880745"/>
                <a:gd name="connsiteY67" fmla="*/ 245621 h 2074952"/>
                <a:gd name="connsiteX68" fmla="*/ 1687663 w 1880745"/>
                <a:gd name="connsiteY68" fmla="*/ 89744 h 2074952"/>
                <a:gd name="connsiteX69" fmla="*/ 1600269 w 1880745"/>
                <a:gd name="connsiteY69" fmla="*/ 191345 h 2074952"/>
                <a:gd name="connsiteX70" fmla="*/ 1649332 w 1880745"/>
                <a:gd name="connsiteY70" fmla="*/ 64088 h 2074952"/>
                <a:gd name="connsiteX71" fmla="*/ 1501428 w 1880745"/>
                <a:gd name="connsiteY71" fmla="*/ 224463 h 2074952"/>
                <a:gd name="connsiteX72" fmla="*/ 1597509 w 1880745"/>
                <a:gd name="connsiteY72" fmla="*/ 37717 h 2074952"/>
                <a:gd name="connsiteX73" fmla="*/ 1512160 w 1880745"/>
                <a:gd name="connsiteY73" fmla="*/ 147087 h 2074952"/>
                <a:gd name="connsiteX74" fmla="*/ 1541905 w 1880745"/>
                <a:gd name="connsiteY74" fmla="*/ 28416 h 2074952"/>
                <a:gd name="connsiteX75" fmla="*/ 1437237 w 1880745"/>
                <a:gd name="connsiteY75" fmla="*/ 151789 h 2074952"/>
                <a:gd name="connsiteX76" fmla="*/ 1454205 w 1880745"/>
                <a:gd name="connsiteY76" fmla="*/ 0 h 2074952"/>
                <a:gd name="connsiteX77" fmla="*/ 1383268 w 1880745"/>
                <a:gd name="connsiteY77" fmla="*/ 133390 h 2074952"/>
                <a:gd name="connsiteX78" fmla="*/ 1391854 w 1880745"/>
                <a:gd name="connsiteY78" fmla="*/ 74412 h 2074952"/>
                <a:gd name="connsiteX79" fmla="*/ 1333898 w 1880745"/>
                <a:gd name="connsiteY79" fmla="*/ 128586 h 2074952"/>
                <a:gd name="connsiteX80" fmla="*/ 1329299 w 1880745"/>
                <a:gd name="connsiteY80" fmla="*/ 35673 h 2074952"/>
                <a:gd name="connsiteX81" fmla="*/ 1304972 w 1880745"/>
                <a:gd name="connsiteY81" fmla="*/ 118058 h 2074952"/>
                <a:gd name="connsiteX82" fmla="*/ 1283609 w 1880745"/>
                <a:gd name="connsiteY82" fmla="*/ 141158 h 2074952"/>
                <a:gd name="connsiteX83" fmla="*/ 1255091 w 1880745"/>
                <a:gd name="connsiteY83" fmla="*/ 133799 h 2074952"/>
                <a:gd name="connsiteX84" fmla="*/ 1067834 w 1880745"/>
                <a:gd name="connsiteY84" fmla="*/ 239693 h 2074952"/>
                <a:gd name="connsiteX85" fmla="*/ 726949 w 1880745"/>
                <a:gd name="connsiteY85" fmla="*/ 293458 h 20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880745" h="2074952">
                  <a:moveTo>
                    <a:pt x="726949" y="293458"/>
                  </a:moveTo>
                  <a:cubicBezTo>
                    <a:pt x="754036" y="355604"/>
                    <a:pt x="809845" y="402725"/>
                    <a:pt x="869845" y="438807"/>
                  </a:cubicBezTo>
                  <a:cubicBezTo>
                    <a:pt x="929845" y="474888"/>
                    <a:pt x="995364" y="502180"/>
                    <a:pt x="1055262" y="538466"/>
                  </a:cubicBezTo>
                  <a:cubicBezTo>
                    <a:pt x="1086744" y="557580"/>
                    <a:pt x="1118737" y="582111"/>
                    <a:pt x="1126812" y="616660"/>
                  </a:cubicBezTo>
                  <a:cubicBezTo>
                    <a:pt x="1134478" y="649368"/>
                    <a:pt x="1118124" y="683815"/>
                    <a:pt x="1093286" y="707733"/>
                  </a:cubicBezTo>
                  <a:cubicBezTo>
                    <a:pt x="1068447" y="731651"/>
                    <a:pt x="1036045" y="747085"/>
                    <a:pt x="1004359" y="762009"/>
                  </a:cubicBezTo>
                  <a:cubicBezTo>
                    <a:pt x="1066403" y="748619"/>
                    <a:pt x="1124052" y="717239"/>
                    <a:pt x="1167289" y="672980"/>
                  </a:cubicBezTo>
                  <a:cubicBezTo>
                    <a:pt x="1135909" y="723985"/>
                    <a:pt x="1086744" y="765075"/>
                    <a:pt x="1029402" y="788380"/>
                  </a:cubicBezTo>
                  <a:cubicBezTo>
                    <a:pt x="1077238" y="781225"/>
                    <a:pt x="1122315" y="759044"/>
                    <a:pt x="1155943" y="726131"/>
                  </a:cubicBezTo>
                  <a:cubicBezTo>
                    <a:pt x="1120168" y="791446"/>
                    <a:pt x="1045960" y="836421"/>
                    <a:pt x="968277" y="839896"/>
                  </a:cubicBezTo>
                  <a:cubicBezTo>
                    <a:pt x="874649" y="844087"/>
                    <a:pt x="789300" y="793389"/>
                    <a:pt x="711004" y="744734"/>
                  </a:cubicBezTo>
                  <a:cubicBezTo>
                    <a:pt x="753218" y="776830"/>
                    <a:pt x="783371" y="823951"/>
                    <a:pt x="789504" y="874853"/>
                  </a:cubicBezTo>
                  <a:cubicBezTo>
                    <a:pt x="795535" y="925756"/>
                    <a:pt x="776216" y="979725"/>
                    <a:pt x="735740" y="1013763"/>
                  </a:cubicBezTo>
                  <a:cubicBezTo>
                    <a:pt x="702418" y="1041770"/>
                    <a:pt x="658261" y="1054955"/>
                    <a:pt x="615638" y="1067221"/>
                  </a:cubicBezTo>
                  <a:cubicBezTo>
                    <a:pt x="679522" y="1079998"/>
                    <a:pt x="749436" y="1061497"/>
                    <a:pt x="797068" y="1019180"/>
                  </a:cubicBezTo>
                  <a:cubicBezTo>
                    <a:pt x="772230" y="1070594"/>
                    <a:pt x="705688" y="1088073"/>
                    <a:pt x="647222" y="1099725"/>
                  </a:cubicBezTo>
                  <a:cubicBezTo>
                    <a:pt x="683508" y="1106471"/>
                    <a:pt x="721634" y="1103916"/>
                    <a:pt x="756489" y="1092366"/>
                  </a:cubicBezTo>
                  <a:cubicBezTo>
                    <a:pt x="723372" y="1138158"/>
                    <a:pt x="659488" y="1157987"/>
                    <a:pt x="601327" y="1151446"/>
                  </a:cubicBezTo>
                  <a:cubicBezTo>
                    <a:pt x="543065" y="1144904"/>
                    <a:pt x="490220" y="1115568"/>
                    <a:pt x="445246" y="1079998"/>
                  </a:cubicBezTo>
                  <a:cubicBezTo>
                    <a:pt x="436864" y="1073354"/>
                    <a:pt x="428278" y="1065892"/>
                    <a:pt x="425008" y="1055977"/>
                  </a:cubicBezTo>
                  <a:cubicBezTo>
                    <a:pt x="374718" y="1077136"/>
                    <a:pt x="329028" y="1111378"/>
                    <a:pt x="304803" y="1158192"/>
                  </a:cubicBezTo>
                  <a:cubicBezTo>
                    <a:pt x="340067" y="1185688"/>
                    <a:pt x="373185" y="1215534"/>
                    <a:pt x="403951" y="1247425"/>
                  </a:cubicBezTo>
                  <a:cubicBezTo>
                    <a:pt x="385348" y="1235364"/>
                    <a:pt x="365314" y="1225142"/>
                    <a:pt x="344463" y="1217067"/>
                  </a:cubicBezTo>
                  <a:cubicBezTo>
                    <a:pt x="370834" y="1233422"/>
                    <a:pt x="394752" y="1253251"/>
                    <a:pt x="415604" y="1275636"/>
                  </a:cubicBezTo>
                  <a:cubicBezTo>
                    <a:pt x="392503" y="1262859"/>
                    <a:pt x="369403" y="1249980"/>
                    <a:pt x="346200" y="1237203"/>
                  </a:cubicBezTo>
                  <a:cubicBezTo>
                    <a:pt x="396899" y="1285449"/>
                    <a:pt x="444224" y="1336863"/>
                    <a:pt x="487869" y="1390934"/>
                  </a:cubicBezTo>
                  <a:cubicBezTo>
                    <a:pt x="395365" y="1474750"/>
                    <a:pt x="307461" y="1563165"/>
                    <a:pt x="224872" y="1655772"/>
                  </a:cubicBezTo>
                  <a:cubicBezTo>
                    <a:pt x="181533" y="1704324"/>
                    <a:pt x="137683" y="1758497"/>
                    <a:pt x="133696" y="1821870"/>
                  </a:cubicBezTo>
                  <a:cubicBezTo>
                    <a:pt x="114378" y="1806640"/>
                    <a:pt x="94957" y="1791308"/>
                    <a:pt x="75639" y="1776078"/>
                  </a:cubicBezTo>
                  <a:cubicBezTo>
                    <a:pt x="94957" y="1792228"/>
                    <a:pt x="112129" y="1810729"/>
                    <a:pt x="126644" y="1830967"/>
                  </a:cubicBezTo>
                  <a:cubicBezTo>
                    <a:pt x="84429" y="1807254"/>
                    <a:pt x="42215" y="1783540"/>
                    <a:pt x="0" y="1759826"/>
                  </a:cubicBezTo>
                  <a:cubicBezTo>
                    <a:pt x="89949" y="1848344"/>
                    <a:pt x="150255" y="1963437"/>
                    <a:pt x="170494" y="2084663"/>
                  </a:cubicBezTo>
                  <a:cubicBezTo>
                    <a:pt x="191754" y="2026606"/>
                    <a:pt x="193287" y="1963744"/>
                    <a:pt x="209233" y="1904153"/>
                  </a:cubicBezTo>
                  <a:cubicBezTo>
                    <a:pt x="240408" y="1787526"/>
                    <a:pt x="323918" y="1690831"/>
                    <a:pt x="405076" y="1598225"/>
                  </a:cubicBezTo>
                  <a:cubicBezTo>
                    <a:pt x="441975" y="1556113"/>
                    <a:pt x="478875" y="1514102"/>
                    <a:pt x="515876" y="1471990"/>
                  </a:cubicBezTo>
                  <a:cubicBezTo>
                    <a:pt x="521089" y="1466062"/>
                    <a:pt x="527018" y="1459725"/>
                    <a:pt x="535093" y="1458907"/>
                  </a:cubicBezTo>
                  <a:cubicBezTo>
                    <a:pt x="544803" y="1457884"/>
                    <a:pt x="553082" y="1465142"/>
                    <a:pt x="559828" y="1471888"/>
                  </a:cubicBezTo>
                  <a:cubicBezTo>
                    <a:pt x="596523" y="1508583"/>
                    <a:pt x="633321" y="1545380"/>
                    <a:pt x="670016" y="1582075"/>
                  </a:cubicBezTo>
                  <a:cubicBezTo>
                    <a:pt x="698329" y="1478021"/>
                    <a:pt x="782758" y="1397374"/>
                    <a:pt x="863712" y="1322144"/>
                  </a:cubicBezTo>
                  <a:cubicBezTo>
                    <a:pt x="830595" y="1336045"/>
                    <a:pt x="800748" y="1356794"/>
                    <a:pt x="776625" y="1382348"/>
                  </a:cubicBezTo>
                  <a:cubicBezTo>
                    <a:pt x="908277" y="1227084"/>
                    <a:pt x="1072332" y="1096557"/>
                    <a:pt x="1256624" y="1000577"/>
                  </a:cubicBezTo>
                  <a:cubicBezTo>
                    <a:pt x="1259589" y="1051173"/>
                    <a:pt x="1285142" y="1091650"/>
                    <a:pt x="1315193" y="1133763"/>
                  </a:cubicBezTo>
                  <a:cubicBezTo>
                    <a:pt x="1301599" y="1087562"/>
                    <a:pt x="1296590" y="1039112"/>
                    <a:pt x="1300679" y="991276"/>
                  </a:cubicBezTo>
                  <a:cubicBezTo>
                    <a:pt x="1303541" y="1042587"/>
                    <a:pt x="1326743" y="1092672"/>
                    <a:pt x="1364665" y="1129470"/>
                  </a:cubicBezTo>
                  <a:cubicBezTo>
                    <a:pt x="1355568" y="1103098"/>
                    <a:pt x="1350457" y="1075398"/>
                    <a:pt x="1349639" y="1047698"/>
                  </a:cubicBezTo>
                  <a:cubicBezTo>
                    <a:pt x="1378362" y="1106982"/>
                    <a:pt x="1423132" y="1159214"/>
                    <a:pt x="1478532" y="1198055"/>
                  </a:cubicBezTo>
                  <a:cubicBezTo>
                    <a:pt x="1451956" y="1159623"/>
                    <a:pt x="1430695" y="1117919"/>
                    <a:pt x="1415466" y="1074274"/>
                  </a:cubicBezTo>
                  <a:cubicBezTo>
                    <a:pt x="1472706" y="1183030"/>
                    <a:pt x="1582382" y="1266028"/>
                    <a:pt x="1707186" y="1294750"/>
                  </a:cubicBezTo>
                  <a:cubicBezTo>
                    <a:pt x="1641666" y="1250287"/>
                    <a:pt x="1583915" y="1195602"/>
                    <a:pt x="1537101" y="1133558"/>
                  </a:cubicBezTo>
                  <a:cubicBezTo>
                    <a:pt x="1585755" y="1182928"/>
                    <a:pt x="1650354" y="1218089"/>
                    <a:pt x="1719860" y="1233115"/>
                  </a:cubicBezTo>
                  <a:cubicBezTo>
                    <a:pt x="1665993" y="1193047"/>
                    <a:pt x="1612126" y="1151957"/>
                    <a:pt x="1568787" y="1101667"/>
                  </a:cubicBezTo>
                  <a:cubicBezTo>
                    <a:pt x="1544051" y="1072945"/>
                    <a:pt x="1522893" y="1041463"/>
                    <a:pt x="1504392" y="1008754"/>
                  </a:cubicBezTo>
                  <a:cubicBezTo>
                    <a:pt x="1393081" y="812298"/>
                    <a:pt x="1378464" y="569334"/>
                    <a:pt x="1465346" y="362146"/>
                  </a:cubicBezTo>
                  <a:cubicBezTo>
                    <a:pt x="1489878" y="371243"/>
                    <a:pt x="1519213" y="367154"/>
                    <a:pt x="1543745" y="376354"/>
                  </a:cubicBezTo>
                  <a:cubicBezTo>
                    <a:pt x="1570729" y="386473"/>
                    <a:pt x="1597816" y="396592"/>
                    <a:pt x="1625925" y="403543"/>
                  </a:cubicBezTo>
                  <a:cubicBezTo>
                    <a:pt x="1655261" y="410800"/>
                    <a:pt x="1685516" y="414684"/>
                    <a:pt x="1715874" y="414889"/>
                  </a:cubicBezTo>
                  <a:cubicBezTo>
                    <a:pt x="1722620" y="414991"/>
                    <a:pt x="1729468" y="414786"/>
                    <a:pt x="1735806" y="412742"/>
                  </a:cubicBezTo>
                  <a:cubicBezTo>
                    <a:pt x="1746334" y="409267"/>
                    <a:pt x="1754204" y="401090"/>
                    <a:pt x="1761972" y="393526"/>
                  </a:cubicBezTo>
                  <a:cubicBezTo>
                    <a:pt x="1795397" y="361430"/>
                    <a:pt x="1837305" y="337103"/>
                    <a:pt x="1882790" y="323611"/>
                  </a:cubicBezTo>
                  <a:cubicBezTo>
                    <a:pt x="1826061" y="330051"/>
                    <a:pt x="1770763" y="347529"/>
                    <a:pt x="1721291" y="374616"/>
                  </a:cubicBezTo>
                  <a:cubicBezTo>
                    <a:pt x="1756248" y="350084"/>
                    <a:pt x="1792841" y="327699"/>
                    <a:pt x="1830660" y="307359"/>
                  </a:cubicBezTo>
                  <a:cubicBezTo>
                    <a:pt x="1779553" y="321260"/>
                    <a:pt x="1729468" y="338841"/>
                    <a:pt x="1681121" y="359693"/>
                  </a:cubicBezTo>
                  <a:cubicBezTo>
                    <a:pt x="1727833" y="316558"/>
                    <a:pt x="1784971" y="283543"/>
                    <a:pt x="1846913" y="264020"/>
                  </a:cubicBezTo>
                  <a:cubicBezTo>
                    <a:pt x="1759417" y="278432"/>
                    <a:pt x="1673966" y="303679"/>
                    <a:pt x="1593421" y="338841"/>
                  </a:cubicBezTo>
                  <a:cubicBezTo>
                    <a:pt x="1629094" y="296831"/>
                    <a:pt x="1670082" y="258807"/>
                    <a:pt x="1715260" y="225894"/>
                  </a:cubicBezTo>
                  <a:cubicBezTo>
                    <a:pt x="1677850" y="247563"/>
                    <a:pt x="1640542" y="269233"/>
                    <a:pt x="1603131" y="290902"/>
                  </a:cubicBezTo>
                  <a:cubicBezTo>
                    <a:pt x="1650865" y="246337"/>
                    <a:pt x="1703199" y="206371"/>
                    <a:pt x="1759213" y="171516"/>
                  </a:cubicBezTo>
                  <a:cubicBezTo>
                    <a:pt x="1703199" y="196252"/>
                    <a:pt x="1647186" y="220988"/>
                    <a:pt x="1591172" y="245621"/>
                  </a:cubicBezTo>
                  <a:cubicBezTo>
                    <a:pt x="1644937" y="209949"/>
                    <a:pt x="1681121" y="151584"/>
                    <a:pt x="1687663" y="89744"/>
                  </a:cubicBezTo>
                  <a:cubicBezTo>
                    <a:pt x="1668344" y="129915"/>
                    <a:pt x="1637986" y="165281"/>
                    <a:pt x="1600269" y="191345"/>
                  </a:cubicBezTo>
                  <a:cubicBezTo>
                    <a:pt x="1636351" y="159250"/>
                    <a:pt x="1655158" y="110596"/>
                    <a:pt x="1649332" y="64088"/>
                  </a:cubicBezTo>
                  <a:cubicBezTo>
                    <a:pt x="1615397" y="128177"/>
                    <a:pt x="1563983" y="183884"/>
                    <a:pt x="1501428" y="224463"/>
                  </a:cubicBezTo>
                  <a:cubicBezTo>
                    <a:pt x="1557441" y="177240"/>
                    <a:pt x="1592808" y="108552"/>
                    <a:pt x="1597509" y="37717"/>
                  </a:cubicBezTo>
                  <a:cubicBezTo>
                    <a:pt x="1578395" y="79727"/>
                    <a:pt x="1548958" y="117444"/>
                    <a:pt x="1512160" y="147087"/>
                  </a:cubicBezTo>
                  <a:cubicBezTo>
                    <a:pt x="1535670" y="112129"/>
                    <a:pt x="1546300" y="69608"/>
                    <a:pt x="1541905" y="28416"/>
                  </a:cubicBezTo>
                  <a:cubicBezTo>
                    <a:pt x="1518089" y="76661"/>
                    <a:pt x="1481905" y="119387"/>
                    <a:pt x="1437237" y="151789"/>
                  </a:cubicBezTo>
                  <a:cubicBezTo>
                    <a:pt x="1464528" y="106303"/>
                    <a:pt x="1470866" y="49983"/>
                    <a:pt x="1454205" y="0"/>
                  </a:cubicBezTo>
                  <a:cubicBezTo>
                    <a:pt x="1443472" y="49370"/>
                    <a:pt x="1418736" y="95877"/>
                    <a:pt x="1383268" y="133390"/>
                  </a:cubicBezTo>
                  <a:cubicBezTo>
                    <a:pt x="1390014" y="114480"/>
                    <a:pt x="1392978" y="94344"/>
                    <a:pt x="1391854" y="74412"/>
                  </a:cubicBezTo>
                  <a:cubicBezTo>
                    <a:pt x="1380917" y="99864"/>
                    <a:pt x="1362927" y="129915"/>
                    <a:pt x="1333898" y="128586"/>
                  </a:cubicBezTo>
                  <a:cubicBezTo>
                    <a:pt x="1336147" y="97615"/>
                    <a:pt x="1334614" y="66337"/>
                    <a:pt x="1329299" y="35673"/>
                  </a:cubicBezTo>
                  <a:cubicBezTo>
                    <a:pt x="1327357" y="64395"/>
                    <a:pt x="1318975" y="92606"/>
                    <a:pt x="1304972" y="118058"/>
                  </a:cubicBezTo>
                  <a:cubicBezTo>
                    <a:pt x="1299861" y="127257"/>
                    <a:pt x="1293524" y="136661"/>
                    <a:pt x="1283609" y="141158"/>
                  </a:cubicBezTo>
                  <a:cubicBezTo>
                    <a:pt x="1273694" y="145758"/>
                    <a:pt x="1259486" y="143305"/>
                    <a:pt x="1255091" y="133799"/>
                  </a:cubicBezTo>
                  <a:cubicBezTo>
                    <a:pt x="1223507" y="198398"/>
                    <a:pt x="1140304" y="220272"/>
                    <a:pt x="1067834" y="239693"/>
                  </a:cubicBezTo>
                  <a:cubicBezTo>
                    <a:pt x="952025" y="270459"/>
                    <a:pt x="846438" y="303168"/>
                    <a:pt x="726949" y="293458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E40718C1-81CE-4A0B-AAD7-CD5277E2A049}"/>
                </a:ext>
              </a:extLst>
            </p:cNvPr>
            <p:cNvSpPr/>
            <p:nvPr/>
          </p:nvSpPr>
          <p:spPr>
            <a:xfrm>
              <a:off x="9737692" y="1367749"/>
              <a:ext cx="1101246" cy="760573"/>
            </a:xfrm>
            <a:custGeom>
              <a:avLst/>
              <a:gdLst>
                <a:gd name="connsiteX0" fmla="*/ 171465 w 1420780"/>
                <a:gd name="connsiteY0" fmla="*/ 663985 h 981258"/>
                <a:gd name="connsiteX1" fmla="*/ 214190 w 1420780"/>
                <a:gd name="connsiteY1" fmla="*/ 570152 h 981258"/>
                <a:gd name="connsiteX2" fmla="*/ 272657 w 1420780"/>
                <a:gd name="connsiteY2" fmla="*/ 659794 h 981258"/>
                <a:gd name="connsiteX3" fmla="*/ 195792 w 1420780"/>
                <a:gd name="connsiteY3" fmla="*/ 792775 h 981258"/>
                <a:gd name="connsiteX4" fmla="*/ 90511 w 1420780"/>
                <a:gd name="connsiteY4" fmla="*/ 942315 h 981258"/>
                <a:gd name="connsiteX5" fmla="*/ 121482 w 1420780"/>
                <a:gd name="connsiteY5" fmla="*/ 929129 h 981258"/>
                <a:gd name="connsiteX6" fmla="*/ 382844 w 1420780"/>
                <a:gd name="connsiteY6" fmla="*/ 557273 h 981258"/>
                <a:gd name="connsiteX7" fmla="*/ 709317 w 1420780"/>
                <a:gd name="connsiteY7" fmla="*/ 202691 h 981258"/>
                <a:gd name="connsiteX8" fmla="*/ 694394 w 1420780"/>
                <a:gd name="connsiteY8" fmla="*/ 175502 h 981258"/>
                <a:gd name="connsiteX9" fmla="*/ 742741 w 1420780"/>
                <a:gd name="connsiteY9" fmla="*/ 203713 h 981258"/>
                <a:gd name="connsiteX10" fmla="*/ 696029 w 1420780"/>
                <a:gd name="connsiteY10" fmla="*/ 144736 h 981258"/>
                <a:gd name="connsiteX11" fmla="*/ 756642 w 1420780"/>
                <a:gd name="connsiteY11" fmla="*/ 194207 h 981258"/>
                <a:gd name="connsiteX12" fmla="*/ 712690 w 1420780"/>
                <a:gd name="connsiteY12" fmla="*/ 138092 h 981258"/>
                <a:gd name="connsiteX13" fmla="*/ 985602 w 1420780"/>
                <a:gd name="connsiteY13" fmla="*/ 214139 h 981258"/>
                <a:gd name="connsiteX14" fmla="*/ 901480 w 1420780"/>
                <a:gd name="connsiteY14" fmla="*/ 171823 h 981258"/>
                <a:gd name="connsiteX15" fmla="*/ 1306351 w 1420780"/>
                <a:gd name="connsiteY15" fmla="*/ 90153 h 981258"/>
                <a:gd name="connsiteX16" fmla="*/ 1211599 w 1420780"/>
                <a:gd name="connsiteY16" fmla="*/ 109778 h 981258"/>
                <a:gd name="connsiteX17" fmla="*/ 1429724 w 1420780"/>
                <a:gd name="connsiteY17" fmla="*/ 0 h 981258"/>
                <a:gd name="connsiteX18" fmla="*/ 963831 w 1420780"/>
                <a:gd name="connsiteY18" fmla="*/ 301737 h 981258"/>
                <a:gd name="connsiteX19" fmla="*/ 745603 w 1420780"/>
                <a:gd name="connsiteY19" fmla="*/ 354582 h 981258"/>
                <a:gd name="connsiteX20" fmla="*/ 635109 w 1420780"/>
                <a:gd name="connsiteY20" fmla="*/ 434105 h 981258"/>
                <a:gd name="connsiteX21" fmla="*/ 162265 w 1420780"/>
                <a:gd name="connsiteY21" fmla="*/ 967562 h 981258"/>
                <a:gd name="connsiteX22" fmla="*/ 146729 w 1420780"/>
                <a:gd name="connsiteY22" fmla="*/ 980339 h 981258"/>
                <a:gd name="connsiteX23" fmla="*/ 118313 w 1420780"/>
                <a:gd name="connsiteY23" fmla="*/ 975535 h 981258"/>
                <a:gd name="connsiteX24" fmla="*/ 15076 w 1420780"/>
                <a:gd name="connsiteY24" fmla="*/ 905313 h 981258"/>
                <a:gd name="connsiteX25" fmla="*/ 34804 w 1420780"/>
                <a:gd name="connsiteY25" fmla="*/ 794411 h 981258"/>
                <a:gd name="connsiteX26" fmla="*/ 171465 w 1420780"/>
                <a:gd name="connsiteY26" fmla="*/ 663985 h 98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20780" h="981258">
                  <a:moveTo>
                    <a:pt x="171465" y="663985"/>
                  </a:moveTo>
                  <a:cubicBezTo>
                    <a:pt x="197631" y="638022"/>
                    <a:pt x="225945" y="604292"/>
                    <a:pt x="214190" y="570152"/>
                  </a:cubicBezTo>
                  <a:cubicBezTo>
                    <a:pt x="249352" y="586506"/>
                    <a:pt x="272963" y="622793"/>
                    <a:pt x="272657" y="659794"/>
                  </a:cubicBezTo>
                  <a:cubicBezTo>
                    <a:pt x="272146" y="711413"/>
                    <a:pt x="230851" y="753218"/>
                    <a:pt x="195792" y="792775"/>
                  </a:cubicBezTo>
                  <a:cubicBezTo>
                    <a:pt x="155008" y="838772"/>
                    <a:pt x="119642" y="889061"/>
                    <a:pt x="90511" y="942315"/>
                  </a:cubicBezTo>
                  <a:cubicBezTo>
                    <a:pt x="101959" y="945075"/>
                    <a:pt x="112998" y="937000"/>
                    <a:pt x="121482" y="929129"/>
                  </a:cubicBezTo>
                  <a:cubicBezTo>
                    <a:pt x="234838" y="825177"/>
                    <a:pt x="296473" y="682281"/>
                    <a:pt x="382844" y="557273"/>
                  </a:cubicBezTo>
                  <a:cubicBezTo>
                    <a:pt x="473610" y="425723"/>
                    <a:pt x="591873" y="313696"/>
                    <a:pt x="709317" y="202691"/>
                  </a:cubicBezTo>
                  <a:cubicBezTo>
                    <a:pt x="707886" y="192368"/>
                    <a:pt x="702469" y="182555"/>
                    <a:pt x="694394" y="175502"/>
                  </a:cubicBezTo>
                  <a:cubicBezTo>
                    <a:pt x="708908" y="187052"/>
                    <a:pt x="725262" y="196661"/>
                    <a:pt x="742741" y="203713"/>
                  </a:cubicBezTo>
                  <a:cubicBezTo>
                    <a:pt x="727204" y="184088"/>
                    <a:pt x="711668" y="164361"/>
                    <a:pt x="696029" y="144736"/>
                  </a:cubicBezTo>
                  <a:cubicBezTo>
                    <a:pt x="714223" y="163339"/>
                    <a:pt x="734564" y="179897"/>
                    <a:pt x="756642" y="194207"/>
                  </a:cubicBezTo>
                  <a:cubicBezTo>
                    <a:pt x="742026" y="175502"/>
                    <a:pt x="727307" y="156797"/>
                    <a:pt x="712690" y="138092"/>
                  </a:cubicBezTo>
                  <a:cubicBezTo>
                    <a:pt x="788124" y="194616"/>
                    <a:pt x="889828" y="205451"/>
                    <a:pt x="985602" y="214139"/>
                  </a:cubicBezTo>
                  <a:cubicBezTo>
                    <a:pt x="957596" y="200034"/>
                    <a:pt x="929487" y="185928"/>
                    <a:pt x="901480" y="171823"/>
                  </a:cubicBezTo>
                  <a:cubicBezTo>
                    <a:pt x="1040696" y="197887"/>
                    <a:pt x="1190543" y="167632"/>
                    <a:pt x="1306351" y="90153"/>
                  </a:cubicBezTo>
                  <a:cubicBezTo>
                    <a:pt x="1276505" y="102521"/>
                    <a:pt x="1244103" y="109267"/>
                    <a:pt x="1211599" y="109778"/>
                  </a:cubicBezTo>
                  <a:cubicBezTo>
                    <a:pt x="1291326" y="88007"/>
                    <a:pt x="1366147" y="50392"/>
                    <a:pt x="1429724" y="0"/>
                  </a:cubicBezTo>
                  <a:cubicBezTo>
                    <a:pt x="1323115" y="152095"/>
                    <a:pt x="1152314" y="262691"/>
                    <a:pt x="963831" y="301737"/>
                  </a:cubicBezTo>
                  <a:cubicBezTo>
                    <a:pt x="890237" y="316967"/>
                    <a:pt x="812758" y="322282"/>
                    <a:pt x="745603" y="354582"/>
                  </a:cubicBezTo>
                  <a:cubicBezTo>
                    <a:pt x="704206" y="374514"/>
                    <a:pt x="668738" y="403849"/>
                    <a:pt x="635109" y="434105"/>
                  </a:cubicBezTo>
                  <a:cubicBezTo>
                    <a:pt x="456949" y="594070"/>
                    <a:pt x="315280" y="785927"/>
                    <a:pt x="162265" y="967562"/>
                  </a:cubicBezTo>
                  <a:cubicBezTo>
                    <a:pt x="157972" y="972673"/>
                    <a:pt x="153270" y="978090"/>
                    <a:pt x="146729" y="980339"/>
                  </a:cubicBezTo>
                  <a:cubicBezTo>
                    <a:pt x="137427" y="983507"/>
                    <a:pt x="127308" y="979419"/>
                    <a:pt x="118313" y="975535"/>
                  </a:cubicBezTo>
                  <a:cubicBezTo>
                    <a:pt x="79369" y="958260"/>
                    <a:pt x="38381" y="939453"/>
                    <a:pt x="15076" y="905313"/>
                  </a:cubicBezTo>
                  <a:cubicBezTo>
                    <a:pt x="-12521" y="865143"/>
                    <a:pt x="-51" y="823031"/>
                    <a:pt x="34804" y="794411"/>
                  </a:cubicBezTo>
                  <a:cubicBezTo>
                    <a:pt x="83458" y="754445"/>
                    <a:pt x="126695" y="708346"/>
                    <a:pt x="171465" y="66398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B896E3AD-5F04-4A3C-B2F9-5CA603EF2647}"/>
                </a:ext>
              </a:extLst>
            </p:cNvPr>
            <p:cNvSpPr/>
            <p:nvPr/>
          </p:nvSpPr>
          <p:spPr>
            <a:xfrm>
              <a:off x="9211589" y="1875280"/>
              <a:ext cx="419900" cy="174298"/>
            </a:xfrm>
            <a:custGeom>
              <a:avLst/>
              <a:gdLst>
                <a:gd name="connsiteX0" fmla="*/ 120307 w 541736"/>
                <a:gd name="connsiteY0" fmla="*/ 71335 h 224871"/>
                <a:gd name="connsiteX1" fmla="*/ 317786 w 541736"/>
                <a:gd name="connsiteY1" fmla="*/ 92 h 224871"/>
                <a:gd name="connsiteX2" fmla="*/ 243987 w 541736"/>
                <a:gd name="connsiteY2" fmla="*/ 31676 h 224871"/>
                <a:gd name="connsiteX3" fmla="*/ 387291 w 541736"/>
                <a:gd name="connsiteY3" fmla="*/ 28712 h 224871"/>
                <a:gd name="connsiteX4" fmla="*/ 508824 w 541736"/>
                <a:gd name="connsiteY4" fmla="*/ 95867 h 224871"/>
                <a:gd name="connsiteX5" fmla="*/ 545724 w 541736"/>
                <a:gd name="connsiteY5" fmla="*/ 153005 h 224871"/>
                <a:gd name="connsiteX6" fmla="*/ 408245 w 541736"/>
                <a:gd name="connsiteY6" fmla="*/ 99751 h 224871"/>
                <a:gd name="connsiteX7" fmla="*/ 342215 w 541736"/>
                <a:gd name="connsiteY7" fmla="*/ 78286 h 224871"/>
                <a:gd name="connsiteX8" fmla="*/ 184498 w 541736"/>
                <a:gd name="connsiteY8" fmla="*/ 99240 h 224871"/>
                <a:gd name="connsiteX9" fmla="*/ 55912 w 541736"/>
                <a:gd name="connsiteY9" fmla="*/ 191437 h 224871"/>
                <a:gd name="connsiteX10" fmla="*/ 3681 w 541736"/>
                <a:gd name="connsiteY10" fmla="*/ 232630 h 224871"/>
                <a:gd name="connsiteX11" fmla="*/ 26168 w 541736"/>
                <a:gd name="connsiteY11" fmla="*/ 178149 h 224871"/>
                <a:gd name="connsiteX12" fmla="*/ 120307 w 541736"/>
                <a:gd name="connsiteY12" fmla="*/ 71335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1736" h="224871">
                  <a:moveTo>
                    <a:pt x="120307" y="71335"/>
                  </a:moveTo>
                  <a:cubicBezTo>
                    <a:pt x="175196" y="27179"/>
                    <a:pt x="245724" y="-1850"/>
                    <a:pt x="317786" y="92"/>
                  </a:cubicBezTo>
                  <a:cubicBezTo>
                    <a:pt x="293152" y="10620"/>
                    <a:pt x="268620" y="21148"/>
                    <a:pt x="243987" y="31676"/>
                  </a:cubicBezTo>
                  <a:cubicBezTo>
                    <a:pt x="291312" y="24010"/>
                    <a:pt x="340068" y="20126"/>
                    <a:pt x="387291" y="28712"/>
                  </a:cubicBezTo>
                  <a:cubicBezTo>
                    <a:pt x="434514" y="37298"/>
                    <a:pt x="480204" y="59478"/>
                    <a:pt x="508824" y="95867"/>
                  </a:cubicBezTo>
                  <a:cubicBezTo>
                    <a:pt x="522930" y="113754"/>
                    <a:pt x="532436" y="134504"/>
                    <a:pt x="545724" y="153005"/>
                  </a:cubicBezTo>
                  <a:cubicBezTo>
                    <a:pt x="499932" y="135219"/>
                    <a:pt x="454140" y="117434"/>
                    <a:pt x="408245" y="99751"/>
                  </a:cubicBezTo>
                  <a:cubicBezTo>
                    <a:pt x="386678" y="91369"/>
                    <a:pt x="365009" y="82988"/>
                    <a:pt x="342215" y="78286"/>
                  </a:cubicBezTo>
                  <a:cubicBezTo>
                    <a:pt x="289370" y="67349"/>
                    <a:pt x="233254" y="77264"/>
                    <a:pt x="184498" y="99240"/>
                  </a:cubicBezTo>
                  <a:cubicBezTo>
                    <a:pt x="135639" y="121216"/>
                    <a:pt x="93425" y="154640"/>
                    <a:pt x="55912" y="191437"/>
                  </a:cubicBezTo>
                  <a:cubicBezTo>
                    <a:pt x="48348" y="198797"/>
                    <a:pt x="16253" y="236718"/>
                    <a:pt x="3681" y="232630"/>
                  </a:cubicBezTo>
                  <a:cubicBezTo>
                    <a:pt x="-10425" y="228030"/>
                    <a:pt x="20137" y="187451"/>
                    <a:pt x="26168" y="178149"/>
                  </a:cubicBezTo>
                  <a:cubicBezTo>
                    <a:pt x="51824" y="138490"/>
                    <a:pt x="82692" y="101489"/>
                    <a:pt x="120307" y="7133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A988F7FD-C073-45CF-A9B5-419E05692224}"/>
                </a:ext>
              </a:extLst>
            </p:cNvPr>
            <p:cNvSpPr/>
            <p:nvPr/>
          </p:nvSpPr>
          <p:spPr>
            <a:xfrm>
              <a:off x="9692176" y="2409971"/>
              <a:ext cx="1719210" cy="2614467"/>
            </a:xfrm>
            <a:custGeom>
              <a:avLst/>
              <a:gdLst>
                <a:gd name="connsiteX0" fmla="*/ 497171 w 2218053"/>
                <a:gd name="connsiteY0" fmla="*/ 0 h 3373076"/>
                <a:gd name="connsiteX1" fmla="*/ 527324 w 2218053"/>
                <a:gd name="connsiteY1" fmla="*/ 494411 h 3373076"/>
                <a:gd name="connsiteX2" fmla="*/ 526200 w 2218053"/>
                <a:gd name="connsiteY2" fmla="*/ 736557 h 3373076"/>
                <a:gd name="connsiteX3" fmla="*/ 542554 w 2218053"/>
                <a:gd name="connsiteY3" fmla="*/ 848584 h 3373076"/>
                <a:gd name="connsiteX4" fmla="*/ 459352 w 2218053"/>
                <a:gd name="connsiteY4" fmla="*/ 910526 h 3373076"/>
                <a:gd name="connsiteX5" fmla="*/ 601941 w 2218053"/>
                <a:gd name="connsiteY5" fmla="*/ 908073 h 3373076"/>
                <a:gd name="connsiteX6" fmla="*/ 232538 w 2218053"/>
                <a:gd name="connsiteY6" fmla="*/ 1129674 h 3373076"/>
                <a:gd name="connsiteX7" fmla="*/ 410595 w 2218053"/>
                <a:gd name="connsiteY7" fmla="*/ 1104427 h 3373076"/>
                <a:gd name="connsiteX8" fmla="*/ 231516 w 2218053"/>
                <a:gd name="connsiteY8" fmla="*/ 1195193 h 3373076"/>
                <a:gd name="connsiteX9" fmla="*/ 361533 w 2218053"/>
                <a:gd name="connsiteY9" fmla="*/ 1164018 h 3373076"/>
                <a:gd name="connsiteX10" fmla="*/ 260034 w 2218053"/>
                <a:gd name="connsiteY10" fmla="*/ 1218907 h 3373076"/>
                <a:gd name="connsiteX11" fmla="*/ 0 w 2218053"/>
                <a:gd name="connsiteY11" fmla="*/ 1558566 h 3373076"/>
                <a:gd name="connsiteX12" fmla="*/ 144634 w 2218053"/>
                <a:gd name="connsiteY12" fmla="*/ 1418634 h 3373076"/>
                <a:gd name="connsiteX13" fmla="*/ 493696 w 2218053"/>
                <a:gd name="connsiteY13" fmla="*/ 1183848 h 3373076"/>
                <a:gd name="connsiteX14" fmla="*/ 411822 w 2218053"/>
                <a:gd name="connsiteY14" fmla="*/ 1348924 h 3373076"/>
                <a:gd name="connsiteX15" fmla="*/ 462009 w 2218053"/>
                <a:gd name="connsiteY15" fmla="*/ 1249469 h 3373076"/>
                <a:gd name="connsiteX16" fmla="*/ 350289 w 2218053"/>
                <a:gd name="connsiteY16" fmla="*/ 1468208 h 3373076"/>
                <a:gd name="connsiteX17" fmla="*/ 556251 w 2218053"/>
                <a:gd name="connsiteY17" fmla="*/ 1281462 h 3373076"/>
                <a:gd name="connsiteX18" fmla="*/ 643031 w 2218053"/>
                <a:gd name="connsiteY18" fmla="*/ 1602314 h 3373076"/>
                <a:gd name="connsiteX19" fmla="*/ 923610 w 2218053"/>
                <a:gd name="connsiteY19" fmla="*/ 2072500 h 3373076"/>
                <a:gd name="connsiteX20" fmla="*/ 885893 w 2218053"/>
                <a:gd name="connsiteY20" fmla="*/ 1942381 h 3373076"/>
                <a:gd name="connsiteX21" fmla="*/ 1364256 w 2218053"/>
                <a:gd name="connsiteY21" fmla="*/ 2680063 h 3373076"/>
                <a:gd name="connsiteX22" fmla="*/ 1600474 w 2218053"/>
                <a:gd name="connsiteY22" fmla="*/ 3176416 h 3373076"/>
                <a:gd name="connsiteX23" fmla="*/ 1653216 w 2218053"/>
                <a:gd name="connsiteY23" fmla="*/ 3019619 h 3373076"/>
                <a:gd name="connsiteX24" fmla="*/ 1667424 w 2218053"/>
                <a:gd name="connsiteY24" fmla="*/ 3164661 h 3373076"/>
                <a:gd name="connsiteX25" fmla="*/ 1730490 w 2218053"/>
                <a:gd name="connsiteY25" fmla="*/ 2954917 h 3373076"/>
                <a:gd name="connsiteX26" fmla="*/ 1742756 w 2218053"/>
                <a:gd name="connsiteY26" fmla="*/ 3168852 h 3373076"/>
                <a:gd name="connsiteX27" fmla="*/ 1789979 w 2218053"/>
                <a:gd name="connsiteY27" fmla="*/ 3018801 h 3373076"/>
                <a:gd name="connsiteX28" fmla="*/ 1795090 w 2218053"/>
                <a:gd name="connsiteY28" fmla="*/ 3187353 h 3373076"/>
                <a:gd name="connsiteX29" fmla="*/ 1829945 w 2218053"/>
                <a:gd name="connsiteY29" fmla="*/ 3017881 h 3373076"/>
                <a:gd name="connsiteX30" fmla="*/ 2030899 w 2218053"/>
                <a:gd name="connsiteY30" fmla="*/ 3277608 h 3373076"/>
                <a:gd name="connsiteX31" fmla="*/ 2227764 w 2218053"/>
                <a:gd name="connsiteY31" fmla="*/ 3373588 h 3373076"/>
                <a:gd name="connsiteX32" fmla="*/ 1256113 w 2218053"/>
                <a:gd name="connsiteY32" fmla="*/ 1824630 h 3373076"/>
                <a:gd name="connsiteX33" fmla="*/ 1055058 w 2218053"/>
                <a:gd name="connsiteY33" fmla="*/ 1505823 h 3373076"/>
                <a:gd name="connsiteX34" fmla="*/ 864121 w 2218053"/>
                <a:gd name="connsiteY34" fmla="*/ 1178021 h 3373076"/>
                <a:gd name="connsiteX35" fmla="*/ 744019 w 2218053"/>
                <a:gd name="connsiteY35" fmla="*/ 952230 h 3373076"/>
                <a:gd name="connsiteX36" fmla="*/ 497171 w 2218053"/>
                <a:gd name="connsiteY36" fmla="*/ 0 h 337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218053" h="3373076">
                  <a:moveTo>
                    <a:pt x="497171" y="0"/>
                  </a:moveTo>
                  <a:cubicBezTo>
                    <a:pt x="548687" y="158841"/>
                    <a:pt x="543883" y="329028"/>
                    <a:pt x="527324" y="494411"/>
                  </a:cubicBezTo>
                  <a:cubicBezTo>
                    <a:pt x="519249" y="575059"/>
                    <a:pt x="508619" y="657239"/>
                    <a:pt x="526200" y="736557"/>
                  </a:cubicBezTo>
                  <a:cubicBezTo>
                    <a:pt x="534479" y="773763"/>
                    <a:pt x="548994" y="811174"/>
                    <a:pt x="542554" y="848584"/>
                  </a:cubicBezTo>
                  <a:cubicBezTo>
                    <a:pt x="536115" y="886097"/>
                    <a:pt x="497478" y="922383"/>
                    <a:pt x="459352" y="910526"/>
                  </a:cubicBezTo>
                  <a:cubicBezTo>
                    <a:pt x="506882" y="909708"/>
                    <a:pt x="554411" y="908891"/>
                    <a:pt x="601941" y="908073"/>
                  </a:cubicBezTo>
                  <a:cubicBezTo>
                    <a:pt x="531311" y="1031753"/>
                    <a:pt x="326371" y="1020713"/>
                    <a:pt x="232538" y="1129674"/>
                  </a:cubicBezTo>
                  <a:cubicBezTo>
                    <a:pt x="290084" y="1112911"/>
                    <a:pt x="350391" y="1104427"/>
                    <a:pt x="410595" y="1104427"/>
                  </a:cubicBezTo>
                  <a:cubicBezTo>
                    <a:pt x="342827" y="1115977"/>
                    <a:pt x="279148" y="1148175"/>
                    <a:pt x="231516" y="1195193"/>
                  </a:cubicBezTo>
                  <a:cubicBezTo>
                    <a:pt x="274855" y="1184768"/>
                    <a:pt x="318193" y="1174444"/>
                    <a:pt x="361533" y="1164018"/>
                  </a:cubicBezTo>
                  <a:cubicBezTo>
                    <a:pt x="321464" y="1164325"/>
                    <a:pt x="288143" y="1191922"/>
                    <a:pt x="260034" y="1218907"/>
                  </a:cubicBezTo>
                  <a:cubicBezTo>
                    <a:pt x="155877" y="1318873"/>
                    <a:pt x="67870" y="1433762"/>
                    <a:pt x="0" y="1558566"/>
                  </a:cubicBezTo>
                  <a:cubicBezTo>
                    <a:pt x="48245" y="1511956"/>
                    <a:pt x="96388" y="1465244"/>
                    <a:pt x="144634" y="1418634"/>
                  </a:cubicBezTo>
                  <a:cubicBezTo>
                    <a:pt x="245723" y="1320815"/>
                    <a:pt x="353866" y="1219009"/>
                    <a:pt x="493696" y="1183848"/>
                  </a:cubicBezTo>
                  <a:cubicBezTo>
                    <a:pt x="450970" y="1230253"/>
                    <a:pt x="422248" y="1288209"/>
                    <a:pt x="411822" y="1348924"/>
                  </a:cubicBezTo>
                  <a:cubicBezTo>
                    <a:pt x="423270" y="1313660"/>
                    <a:pt x="440238" y="1280032"/>
                    <a:pt x="462009" y="1249469"/>
                  </a:cubicBezTo>
                  <a:cubicBezTo>
                    <a:pt x="448619" y="1330627"/>
                    <a:pt x="409165" y="1407800"/>
                    <a:pt x="350289" y="1468208"/>
                  </a:cubicBezTo>
                  <a:cubicBezTo>
                    <a:pt x="430016" y="1418225"/>
                    <a:pt x="500135" y="1354648"/>
                    <a:pt x="556251" y="1281462"/>
                  </a:cubicBezTo>
                  <a:cubicBezTo>
                    <a:pt x="518023" y="1390730"/>
                    <a:pt x="583236" y="1502143"/>
                    <a:pt x="643031" y="1602314"/>
                  </a:cubicBezTo>
                  <a:cubicBezTo>
                    <a:pt x="736557" y="1759008"/>
                    <a:pt x="830084" y="1915805"/>
                    <a:pt x="923610" y="2072500"/>
                  </a:cubicBezTo>
                  <a:cubicBezTo>
                    <a:pt x="911037" y="2029161"/>
                    <a:pt x="898465" y="1985720"/>
                    <a:pt x="885893" y="1942381"/>
                  </a:cubicBezTo>
                  <a:cubicBezTo>
                    <a:pt x="1040645" y="2190967"/>
                    <a:pt x="1200100" y="2436894"/>
                    <a:pt x="1364256" y="2680063"/>
                  </a:cubicBezTo>
                  <a:cubicBezTo>
                    <a:pt x="1468413" y="2834406"/>
                    <a:pt x="1577373" y="2994576"/>
                    <a:pt x="1600474" y="3176416"/>
                  </a:cubicBezTo>
                  <a:cubicBezTo>
                    <a:pt x="1627050" y="3127353"/>
                    <a:pt x="1644937" y="3074201"/>
                    <a:pt x="1653216" y="3019619"/>
                  </a:cubicBezTo>
                  <a:cubicBezTo>
                    <a:pt x="1657918" y="3067966"/>
                    <a:pt x="1662722" y="3116313"/>
                    <a:pt x="1667424" y="3164661"/>
                  </a:cubicBezTo>
                  <a:cubicBezTo>
                    <a:pt x="1708208" y="3101902"/>
                    <a:pt x="1730286" y="3028512"/>
                    <a:pt x="1730490" y="2954917"/>
                  </a:cubicBezTo>
                  <a:cubicBezTo>
                    <a:pt x="1757475" y="3028205"/>
                    <a:pt x="1764221" y="3094031"/>
                    <a:pt x="1742756" y="3168852"/>
                  </a:cubicBezTo>
                  <a:cubicBezTo>
                    <a:pt x="1765346" y="3121118"/>
                    <a:pt x="1781291" y="3070522"/>
                    <a:pt x="1789979" y="3018801"/>
                  </a:cubicBezTo>
                  <a:cubicBezTo>
                    <a:pt x="1802654" y="3074099"/>
                    <a:pt x="1804392" y="3131544"/>
                    <a:pt x="1795090" y="3187353"/>
                  </a:cubicBezTo>
                  <a:cubicBezTo>
                    <a:pt x="1812466" y="3132157"/>
                    <a:pt x="1824119" y="3075224"/>
                    <a:pt x="1829945" y="3017881"/>
                  </a:cubicBezTo>
                  <a:cubicBezTo>
                    <a:pt x="1854068" y="3126024"/>
                    <a:pt x="1929195" y="3223025"/>
                    <a:pt x="2030899" y="3277608"/>
                  </a:cubicBezTo>
                  <a:cubicBezTo>
                    <a:pt x="2095294" y="3312157"/>
                    <a:pt x="2169502" y="3330453"/>
                    <a:pt x="2227764" y="3373588"/>
                  </a:cubicBezTo>
                  <a:cubicBezTo>
                    <a:pt x="1888821" y="2865888"/>
                    <a:pt x="1564801" y="2349297"/>
                    <a:pt x="1256113" y="1824630"/>
                  </a:cubicBezTo>
                  <a:cubicBezTo>
                    <a:pt x="1193558" y="1718327"/>
                    <a:pt x="1117102" y="1612330"/>
                    <a:pt x="1055058" y="1505823"/>
                  </a:cubicBezTo>
                  <a:cubicBezTo>
                    <a:pt x="991378" y="1396556"/>
                    <a:pt x="927800" y="1287289"/>
                    <a:pt x="864121" y="1178021"/>
                  </a:cubicBezTo>
                  <a:cubicBezTo>
                    <a:pt x="821089" y="1104223"/>
                    <a:pt x="778056" y="1030117"/>
                    <a:pt x="744019" y="952230"/>
                  </a:cubicBezTo>
                  <a:cubicBezTo>
                    <a:pt x="611140" y="647733"/>
                    <a:pt x="615229" y="310119"/>
                    <a:pt x="497171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E02092EE-0CB9-47C4-A6A1-8655D08456FC}"/>
                </a:ext>
              </a:extLst>
            </p:cNvPr>
            <p:cNvSpPr/>
            <p:nvPr/>
          </p:nvSpPr>
          <p:spPr>
            <a:xfrm>
              <a:off x="8869960" y="2253241"/>
              <a:ext cx="522893" cy="221833"/>
            </a:xfrm>
            <a:custGeom>
              <a:avLst/>
              <a:gdLst>
                <a:gd name="connsiteX0" fmla="*/ 20961 w 674615"/>
                <a:gd name="connsiteY0" fmla="*/ 63501 h 286200"/>
                <a:gd name="connsiteX1" fmla="*/ 54590 w 674615"/>
                <a:gd name="connsiteY1" fmla="*/ 235119 h 286200"/>
                <a:gd name="connsiteX2" fmla="*/ 319938 w 674615"/>
                <a:gd name="connsiteY2" fmla="*/ 285102 h 286200"/>
                <a:gd name="connsiteX3" fmla="*/ 609001 w 674615"/>
                <a:gd name="connsiteY3" fmla="*/ 213450 h 286200"/>
                <a:gd name="connsiteX4" fmla="*/ 679529 w 674615"/>
                <a:gd name="connsiteY4" fmla="*/ 4217 h 286200"/>
                <a:gd name="connsiteX5" fmla="*/ 667979 w 674615"/>
                <a:gd name="connsiteY5" fmla="*/ 3910 h 286200"/>
                <a:gd name="connsiteX6" fmla="*/ 579972 w 674615"/>
                <a:gd name="connsiteY6" fmla="*/ 176244 h 286200"/>
                <a:gd name="connsiteX7" fmla="*/ 386582 w 674615"/>
                <a:gd name="connsiteY7" fmla="*/ 245136 h 286200"/>
                <a:gd name="connsiteX8" fmla="*/ 41097 w 674615"/>
                <a:gd name="connsiteY8" fmla="*/ 71883 h 286200"/>
                <a:gd name="connsiteX9" fmla="*/ 20961 w 674615"/>
                <a:gd name="connsiteY9" fmla="*/ 63501 h 286200"/>
                <a:gd name="connsiteX10" fmla="*/ 20961 w 674615"/>
                <a:gd name="connsiteY10" fmla="*/ 63501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4615" h="286200">
                  <a:moveTo>
                    <a:pt x="20961" y="63501"/>
                  </a:moveTo>
                  <a:cubicBezTo>
                    <a:pt x="-18289" y="121866"/>
                    <a:pt x="212" y="190554"/>
                    <a:pt x="54590" y="235119"/>
                  </a:cubicBezTo>
                  <a:cubicBezTo>
                    <a:pt x="124095" y="292052"/>
                    <a:pt x="234487" y="291439"/>
                    <a:pt x="319938" y="285102"/>
                  </a:cubicBezTo>
                  <a:cubicBezTo>
                    <a:pt x="414793" y="278151"/>
                    <a:pt x="531829" y="273552"/>
                    <a:pt x="609001" y="213450"/>
                  </a:cubicBezTo>
                  <a:cubicBezTo>
                    <a:pt x="669614" y="166227"/>
                    <a:pt x="691488" y="75256"/>
                    <a:pt x="679529" y="4217"/>
                  </a:cubicBezTo>
                  <a:cubicBezTo>
                    <a:pt x="678507" y="-1610"/>
                    <a:pt x="669716" y="-1098"/>
                    <a:pt x="667979" y="3910"/>
                  </a:cubicBezTo>
                  <a:cubicBezTo>
                    <a:pt x="644060" y="73416"/>
                    <a:pt x="649989" y="127078"/>
                    <a:pt x="579972" y="176244"/>
                  </a:cubicBezTo>
                  <a:cubicBezTo>
                    <a:pt x="525185" y="214676"/>
                    <a:pt x="452102" y="229599"/>
                    <a:pt x="386582" y="245136"/>
                  </a:cubicBezTo>
                  <a:cubicBezTo>
                    <a:pt x="266071" y="273552"/>
                    <a:pt x="-20538" y="264352"/>
                    <a:pt x="41097" y="71883"/>
                  </a:cubicBezTo>
                  <a:cubicBezTo>
                    <a:pt x="44982" y="60332"/>
                    <a:pt x="27809" y="53484"/>
                    <a:pt x="20961" y="63501"/>
                  </a:cubicBezTo>
                  <a:lnTo>
                    <a:pt x="20961" y="63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57C7A864-4F8F-46DE-ADD6-5B98EC20B2B7}"/>
                </a:ext>
              </a:extLst>
            </p:cNvPr>
            <p:cNvSpPr/>
            <p:nvPr/>
          </p:nvSpPr>
          <p:spPr>
            <a:xfrm>
              <a:off x="8874986" y="1921653"/>
              <a:ext cx="1156704" cy="411977"/>
            </a:xfrm>
            <a:custGeom>
              <a:avLst/>
              <a:gdLst>
                <a:gd name="connsiteX0" fmla="*/ 21735 w 1492330"/>
                <a:gd name="connsiteY0" fmla="*/ 536072 h 531515"/>
                <a:gd name="connsiteX1" fmla="*/ 337271 w 1492330"/>
                <a:gd name="connsiteY1" fmla="*/ 281660 h 531515"/>
                <a:gd name="connsiteX2" fmla="*/ 747764 w 1492330"/>
                <a:gd name="connsiteY2" fmla="*/ 31337 h 531515"/>
                <a:gd name="connsiteX3" fmla="*/ 1132703 w 1492330"/>
                <a:gd name="connsiteY3" fmla="*/ 229326 h 531515"/>
                <a:gd name="connsiteX4" fmla="*/ 1308308 w 1492330"/>
                <a:gd name="connsiteY4" fmla="*/ 342273 h 531515"/>
                <a:gd name="connsiteX5" fmla="*/ 1481050 w 1492330"/>
                <a:gd name="connsiteY5" fmla="*/ 502852 h 531515"/>
                <a:gd name="connsiteX6" fmla="*/ 1496689 w 1492330"/>
                <a:gd name="connsiteY6" fmla="*/ 494777 h 531515"/>
                <a:gd name="connsiteX7" fmla="*/ 1157542 w 1492330"/>
                <a:gd name="connsiteY7" fmla="*/ 190382 h 531515"/>
                <a:gd name="connsiteX8" fmla="*/ 726810 w 1492330"/>
                <a:gd name="connsiteY8" fmla="*/ 1081 h 531515"/>
                <a:gd name="connsiteX9" fmla="*/ 350865 w 1492330"/>
                <a:gd name="connsiteY9" fmla="*/ 230450 h 531515"/>
                <a:gd name="connsiteX10" fmla="*/ 108004 w 1492330"/>
                <a:gd name="connsiteY10" fmla="*/ 394504 h 531515"/>
                <a:gd name="connsiteX11" fmla="*/ 270 w 1492330"/>
                <a:gd name="connsiteY11" fmla="*/ 527077 h 531515"/>
                <a:gd name="connsiteX12" fmla="*/ 21735 w 1492330"/>
                <a:gd name="connsiteY12" fmla="*/ 536072 h 531515"/>
                <a:gd name="connsiteX13" fmla="*/ 21735 w 1492330"/>
                <a:gd name="connsiteY13" fmla="*/ 53607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2330" h="531515">
                  <a:moveTo>
                    <a:pt x="21735" y="536072"/>
                  </a:moveTo>
                  <a:cubicBezTo>
                    <a:pt x="98804" y="425271"/>
                    <a:pt x="232092" y="366089"/>
                    <a:pt x="337271" y="281660"/>
                  </a:cubicBezTo>
                  <a:cubicBezTo>
                    <a:pt x="451240" y="190178"/>
                    <a:pt x="582176" y="4761"/>
                    <a:pt x="747764" y="31337"/>
                  </a:cubicBezTo>
                  <a:cubicBezTo>
                    <a:pt x="896281" y="55255"/>
                    <a:pt x="1014339" y="148781"/>
                    <a:pt x="1132703" y="229326"/>
                  </a:cubicBezTo>
                  <a:cubicBezTo>
                    <a:pt x="1190148" y="268474"/>
                    <a:pt x="1250557" y="303636"/>
                    <a:pt x="1308308" y="342273"/>
                  </a:cubicBezTo>
                  <a:cubicBezTo>
                    <a:pt x="1378631" y="389394"/>
                    <a:pt x="1426672" y="441217"/>
                    <a:pt x="1481050" y="502852"/>
                  </a:cubicBezTo>
                  <a:cubicBezTo>
                    <a:pt x="1487490" y="510109"/>
                    <a:pt x="1497711" y="502443"/>
                    <a:pt x="1496689" y="494777"/>
                  </a:cubicBezTo>
                  <a:cubicBezTo>
                    <a:pt x="1476655" y="352188"/>
                    <a:pt x="1272226" y="256924"/>
                    <a:pt x="1157542" y="190382"/>
                  </a:cubicBezTo>
                  <a:cubicBezTo>
                    <a:pt x="1028751" y="115663"/>
                    <a:pt x="881665" y="14982"/>
                    <a:pt x="726810" y="1081"/>
                  </a:cubicBezTo>
                  <a:cubicBezTo>
                    <a:pt x="557543" y="-14149"/>
                    <a:pt x="463812" y="134982"/>
                    <a:pt x="350865" y="230450"/>
                  </a:cubicBezTo>
                  <a:cubicBezTo>
                    <a:pt x="275022" y="294539"/>
                    <a:pt x="190593" y="340229"/>
                    <a:pt x="108004" y="394504"/>
                  </a:cubicBezTo>
                  <a:cubicBezTo>
                    <a:pt x="57305" y="427929"/>
                    <a:pt x="11922" y="467690"/>
                    <a:pt x="270" y="527077"/>
                  </a:cubicBezTo>
                  <a:cubicBezTo>
                    <a:pt x="-2286" y="539342"/>
                    <a:pt x="13966" y="547315"/>
                    <a:pt x="21735" y="536072"/>
                  </a:cubicBezTo>
                  <a:lnTo>
                    <a:pt x="21735" y="536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442CEA1A-0132-4568-BE65-2350155F8F20}"/>
                </a:ext>
              </a:extLst>
            </p:cNvPr>
            <p:cNvSpPr/>
            <p:nvPr/>
          </p:nvSpPr>
          <p:spPr>
            <a:xfrm>
              <a:off x="9959905" y="2223684"/>
              <a:ext cx="396131" cy="1140859"/>
            </a:xfrm>
            <a:custGeom>
              <a:avLst/>
              <a:gdLst>
                <a:gd name="connsiteX0" fmla="*/ 2117 w 511072"/>
                <a:gd name="connsiteY0" fmla="*/ 17307 h 1471887"/>
                <a:gd name="connsiteX1" fmla="*/ 191214 w 511072"/>
                <a:gd name="connsiteY1" fmla="*/ 373933 h 1471887"/>
                <a:gd name="connsiteX2" fmla="*/ 257960 w 511072"/>
                <a:gd name="connsiteY2" fmla="*/ 762041 h 1471887"/>
                <a:gd name="connsiteX3" fmla="*/ 344740 w 511072"/>
                <a:gd name="connsiteY3" fmla="*/ 1126436 h 1471887"/>
                <a:gd name="connsiteX4" fmla="*/ 496631 w 511072"/>
                <a:gd name="connsiteY4" fmla="*/ 1472227 h 1471887"/>
                <a:gd name="connsiteX5" fmla="*/ 517994 w 511072"/>
                <a:gd name="connsiteY5" fmla="*/ 1464561 h 1471887"/>
                <a:gd name="connsiteX6" fmla="*/ 381026 w 511072"/>
                <a:gd name="connsiteY6" fmla="*/ 1075738 h 1471887"/>
                <a:gd name="connsiteX7" fmla="*/ 293122 w 511072"/>
                <a:gd name="connsiteY7" fmla="*/ 694784 h 1471887"/>
                <a:gd name="connsiteX8" fmla="*/ 204195 w 511072"/>
                <a:gd name="connsiteY8" fmla="*/ 311276 h 1471887"/>
                <a:gd name="connsiteX9" fmla="*/ 22356 w 511072"/>
                <a:gd name="connsiteY9" fmla="*/ 3406 h 1471887"/>
                <a:gd name="connsiteX10" fmla="*/ 2117 w 511072"/>
                <a:gd name="connsiteY10" fmla="*/ 17307 h 1471887"/>
                <a:gd name="connsiteX11" fmla="*/ 2117 w 511072"/>
                <a:gd name="connsiteY11" fmla="*/ 17307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1072" h="1471887">
                  <a:moveTo>
                    <a:pt x="2117" y="17307"/>
                  </a:moveTo>
                  <a:cubicBezTo>
                    <a:pt x="82560" y="125654"/>
                    <a:pt x="143480" y="249640"/>
                    <a:pt x="191214" y="373933"/>
                  </a:cubicBezTo>
                  <a:cubicBezTo>
                    <a:pt x="238948" y="498226"/>
                    <a:pt x="237926" y="632536"/>
                    <a:pt x="257960" y="762041"/>
                  </a:cubicBezTo>
                  <a:cubicBezTo>
                    <a:pt x="277074" y="885414"/>
                    <a:pt x="301197" y="1008378"/>
                    <a:pt x="344740" y="1126436"/>
                  </a:cubicBezTo>
                  <a:cubicBezTo>
                    <a:pt x="387057" y="1241121"/>
                    <a:pt x="429476" y="1368786"/>
                    <a:pt x="496631" y="1472227"/>
                  </a:cubicBezTo>
                  <a:cubicBezTo>
                    <a:pt x="503479" y="1482755"/>
                    <a:pt x="520242" y="1476725"/>
                    <a:pt x="517994" y="1464561"/>
                  </a:cubicBezTo>
                  <a:cubicBezTo>
                    <a:pt x="493462" y="1331682"/>
                    <a:pt x="424161" y="1204221"/>
                    <a:pt x="381026" y="1075738"/>
                  </a:cubicBezTo>
                  <a:cubicBezTo>
                    <a:pt x="339118" y="951036"/>
                    <a:pt x="319697" y="822655"/>
                    <a:pt x="293122" y="694784"/>
                  </a:cubicBezTo>
                  <a:cubicBezTo>
                    <a:pt x="266444" y="566914"/>
                    <a:pt x="235984" y="438124"/>
                    <a:pt x="204195" y="311276"/>
                  </a:cubicBezTo>
                  <a:cubicBezTo>
                    <a:pt x="175064" y="194547"/>
                    <a:pt x="111078" y="88653"/>
                    <a:pt x="22356" y="3406"/>
                  </a:cubicBezTo>
                  <a:cubicBezTo>
                    <a:pt x="12748" y="-5998"/>
                    <a:pt x="-6367" y="5859"/>
                    <a:pt x="2117" y="17307"/>
                  </a:cubicBezTo>
                  <a:lnTo>
                    <a:pt x="2117" y="1730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72A57C47-787F-4224-99E9-6973D796BDD3}"/>
                </a:ext>
              </a:extLst>
            </p:cNvPr>
            <p:cNvSpPr/>
            <p:nvPr/>
          </p:nvSpPr>
          <p:spPr>
            <a:xfrm>
              <a:off x="9370933" y="2323725"/>
              <a:ext cx="213911" cy="87149"/>
            </a:xfrm>
            <a:custGeom>
              <a:avLst/>
              <a:gdLst>
                <a:gd name="connsiteX0" fmla="*/ 6108 w 275978"/>
                <a:gd name="connsiteY0" fmla="*/ 72327 h 112435"/>
                <a:gd name="connsiteX1" fmla="*/ 86142 w 275978"/>
                <a:gd name="connsiteY1" fmla="*/ 100333 h 112435"/>
                <a:gd name="connsiteX2" fmla="*/ 153297 w 275978"/>
                <a:gd name="connsiteY2" fmla="*/ 114337 h 112435"/>
                <a:gd name="connsiteX3" fmla="*/ 275545 w 275978"/>
                <a:gd name="connsiteY3" fmla="*/ 10282 h 112435"/>
                <a:gd name="connsiteX4" fmla="*/ 263893 w 275978"/>
                <a:gd name="connsiteY4" fmla="*/ 1492 h 112435"/>
                <a:gd name="connsiteX5" fmla="*/ 188868 w 275978"/>
                <a:gd name="connsiteY5" fmla="*/ 66398 h 112435"/>
                <a:gd name="connsiteX6" fmla="*/ 110980 w 275978"/>
                <a:gd name="connsiteY6" fmla="*/ 73860 h 112435"/>
                <a:gd name="connsiteX7" fmla="*/ 80214 w 275978"/>
                <a:gd name="connsiteY7" fmla="*/ 59448 h 112435"/>
                <a:gd name="connsiteX8" fmla="*/ 2633 w 275978"/>
                <a:gd name="connsiteY8" fmla="*/ 58834 h 112435"/>
                <a:gd name="connsiteX9" fmla="*/ 6108 w 275978"/>
                <a:gd name="connsiteY9" fmla="*/ 72327 h 112435"/>
                <a:gd name="connsiteX10" fmla="*/ 6108 w 275978"/>
                <a:gd name="connsiteY10" fmla="*/ 72327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978" h="112435">
                  <a:moveTo>
                    <a:pt x="6108" y="72327"/>
                  </a:moveTo>
                  <a:cubicBezTo>
                    <a:pt x="32888" y="82242"/>
                    <a:pt x="59464" y="88477"/>
                    <a:pt x="86142" y="100333"/>
                  </a:cubicBezTo>
                  <a:cubicBezTo>
                    <a:pt x="107403" y="109737"/>
                    <a:pt x="129481" y="116483"/>
                    <a:pt x="153297" y="114337"/>
                  </a:cubicBezTo>
                  <a:cubicBezTo>
                    <a:pt x="206346" y="109635"/>
                    <a:pt x="248050" y="48102"/>
                    <a:pt x="275545" y="10282"/>
                  </a:cubicBezTo>
                  <a:cubicBezTo>
                    <a:pt x="280758" y="3127"/>
                    <a:pt x="270128" y="-2903"/>
                    <a:pt x="263893" y="1492"/>
                  </a:cubicBezTo>
                  <a:cubicBezTo>
                    <a:pt x="237624" y="20095"/>
                    <a:pt x="215750" y="50350"/>
                    <a:pt x="188868" y="66398"/>
                  </a:cubicBezTo>
                  <a:cubicBezTo>
                    <a:pt x="160247" y="83468"/>
                    <a:pt x="140213" y="86841"/>
                    <a:pt x="110980" y="73860"/>
                  </a:cubicBezTo>
                  <a:cubicBezTo>
                    <a:pt x="100656" y="69260"/>
                    <a:pt x="90742" y="63741"/>
                    <a:pt x="80214" y="59448"/>
                  </a:cubicBezTo>
                  <a:cubicBezTo>
                    <a:pt x="54455" y="48817"/>
                    <a:pt x="25733" y="39209"/>
                    <a:pt x="2633" y="58834"/>
                  </a:cubicBezTo>
                  <a:cubicBezTo>
                    <a:pt x="-2478" y="63230"/>
                    <a:pt x="486" y="70180"/>
                    <a:pt x="6108" y="72327"/>
                  </a:cubicBezTo>
                  <a:lnTo>
                    <a:pt x="6108" y="7232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17B5689B-E22F-4DB1-951C-B995D1AEADB7}"/>
                </a:ext>
              </a:extLst>
            </p:cNvPr>
            <p:cNvSpPr/>
            <p:nvPr/>
          </p:nvSpPr>
          <p:spPr>
            <a:xfrm>
              <a:off x="9461796" y="2389666"/>
              <a:ext cx="285215" cy="142607"/>
            </a:xfrm>
            <a:custGeom>
              <a:avLst/>
              <a:gdLst>
                <a:gd name="connsiteX0" fmla="*/ 3361 w 367971"/>
                <a:gd name="connsiteY0" fmla="*/ 16485 h 183985"/>
                <a:gd name="connsiteX1" fmla="*/ 141861 w 367971"/>
                <a:gd name="connsiteY1" fmla="*/ 152737 h 183985"/>
                <a:gd name="connsiteX2" fmla="*/ 367653 w 367971"/>
                <a:gd name="connsiteY2" fmla="*/ 191783 h 183985"/>
                <a:gd name="connsiteX3" fmla="*/ 370515 w 367971"/>
                <a:gd name="connsiteY3" fmla="*/ 175020 h 183985"/>
                <a:gd name="connsiteX4" fmla="*/ 145950 w 367971"/>
                <a:gd name="connsiteY4" fmla="*/ 117882 h 183985"/>
                <a:gd name="connsiteX5" fmla="*/ 13787 w 367971"/>
                <a:gd name="connsiteY5" fmla="*/ 131 h 183985"/>
                <a:gd name="connsiteX6" fmla="*/ 3361 w 367971"/>
                <a:gd name="connsiteY6" fmla="*/ 16485 h 183985"/>
                <a:gd name="connsiteX7" fmla="*/ 3361 w 367971"/>
                <a:gd name="connsiteY7" fmla="*/ 16485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71" h="183985">
                  <a:moveTo>
                    <a:pt x="3361" y="16485"/>
                  </a:moveTo>
                  <a:cubicBezTo>
                    <a:pt x="61930" y="63504"/>
                    <a:pt x="63872" y="125650"/>
                    <a:pt x="141861" y="152737"/>
                  </a:cubicBezTo>
                  <a:cubicBezTo>
                    <a:pt x="212900" y="177473"/>
                    <a:pt x="291401" y="197200"/>
                    <a:pt x="367653" y="191783"/>
                  </a:cubicBezTo>
                  <a:cubicBezTo>
                    <a:pt x="377057" y="191170"/>
                    <a:pt x="381350" y="177268"/>
                    <a:pt x="370515" y="175020"/>
                  </a:cubicBezTo>
                  <a:cubicBezTo>
                    <a:pt x="296921" y="159790"/>
                    <a:pt x="212389" y="155088"/>
                    <a:pt x="145950" y="117882"/>
                  </a:cubicBezTo>
                  <a:cubicBezTo>
                    <a:pt x="92287" y="87831"/>
                    <a:pt x="79613" y="11477"/>
                    <a:pt x="13787" y="131"/>
                  </a:cubicBezTo>
                  <a:cubicBezTo>
                    <a:pt x="4792" y="-1300"/>
                    <a:pt x="-5430" y="9330"/>
                    <a:pt x="3361" y="16485"/>
                  </a:cubicBezTo>
                  <a:lnTo>
                    <a:pt x="3361" y="1648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EB44C078-8740-413F-9F61-5C740FB61D7C}"/>
                </a:ext>
              </a:extLst>
            </p:cNvPr>
            <p:cNvSpPr/>
            <p:nvPr/>
          </p:nvSpPr>
          <p:spPr>
            <a:xfrm>
              <a:off x="9488889" y="2471336"/>
              <a:ext cx="285215" cy="705114"/>
            </a:xfrm>
            <a:custGeom>
              <a:avLst/>
              <a:gdLst>
                <a:gd name="connsiteX0" fmla="*/ 57640 w 367971"/>
                <a:gd name="connsiteY0" fmla="*/ 5769 h 909708"/>
                <a:gd name="connsiteX1" fmla="*/ 911 w 367971"/>
                <a:gd name="connsiteY1" fmla="*/ 269687 h 909708"/>
                <a:gd name="connsiteX2" fmla="*/ 34335 w 367971"/>
                <a:gd name="connsiteY2" fmla="*/ 546075 h 909708"/>
                <a:gd name="connsiteX3" fmla="*/ 366328 w 367971"/>
                <a:gd name="connsiteY3" fmla="*/ 910980 h 909708"/>
                <a:gd name="connsiteX4" fmla="*/ 370212 w 367971"/>
                <a:gd name="connsiteY4" fmla="*/ 898408 h 909708"/>
                <a:gd name="connsiteX5" fmla="*/ 44046 w 367971"/>
                <a:gd name="connsiteY5" fmla="*/ 506825 h 909708"/>
                <a:gd name="connsiteX6" fmla="*/ 21456 w 367971"/>
                <a:gd name="connsiteY6" fmla="*/ 270198 h 909708"/>
                <a:gd name="connsiteX7" fmla="*/ 79923 w 367971"/>
                <a:gd name="connsiteY7" fmla="*/ 14969 h 909708"/>
                <a:gd name="connsiteX8" fmla="*/ 57640 w 367971"/>
                <a:gd name="connsiteY8" fmla="*/ 5769 h 909708"/>
                <a:gd name="connsiteX9" fmla="*/ 57640 w 367971"/>
                <a:gd name="connsiteY9" fmla="*/ 5769 h 9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7971" h="909708">
                  <a:moveTo>
                    <a:pt x="57640" y="5769"/>
                  </a:moveTo>
                  <a:cubicBezTo>
                    <a:pt x="8986" y="83861"/>
                    <a:pt x="5000" y="181272"/>
                    <a:pt x="911" y="269687"/>
                  </a:cubicBezTo>
                  <a:cubicBezTo>
                    <a:pt x="-3382" y="362805"/>
                    <a:pt x="7453" y="456433"/>
                    <a:pt x="34335" y="546075"/>
                  </a:cubicBezTo>
                  <a:cubicBezTo>
                    <a:pt x="80741" y="700725"/>
                    <a:pt x="185204" y="877454"/>
                    <a:pt x="366328" y="910980"/>
                  </a:cubicBezTo>
                  <a:cubicBezTo>
                    <a:pt x="375016" y="912616"/>
                    <a:pt x="378798" y="901270"/>
                    <a:pt x="370212" y="898408"/>
                  </a:cubicBezTo>
                  <a:cubicBezTo>
                    <a:pt x="186021" y="838204"/>
                    <a:pt x="87282" y="678954"/>
                    <a:pt x="44046" y="506825"/>
                  </a:cubicBezTo>
                  <a:cubicBezTo>
                    <a:pt x="24625" y="429550"/>
                    <a:pt x="16959" y="349517"/>
                    <a:pt x="21456" y="270198"/>
                  </a:cubicBezTo>
                  <a:cubicBezTo>
                    <a:pt x="26465" y="181169"/>
                    <a:pt x="64080" y="101749"/>
                    <a:pt x="79923" y="14969"/>
                  </a:cubicBezTo>
                  <a:cubicBezTo>
                    <a:pt x="82172" y="2805"/>
                    <a:pt x="65204" y="-6496"/>
                    <a:pt x="57640" y="5769"/>
                  </a:cubicBezTo>
                  <a:lnTo>
                    <a:pt x="57640" y="57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089B84FF-DFD8-4E7C-8A17-59CDAA82B7DA}"/>
                </a:ext>
              </a:extLst>
            </p:cNvPr>
            <p:cNvSpPr/>
            <p:nvPr/>
          </p:nvSpPr>
          <p:spPr>
            <a:xfrm>
              <a:off x="9158386" y="2447485"/>
              <a:ext cx="372364" cy="182220"/>
            </a:xfrm>
            <a:custGeom>
              <a:avLst/>
              <a:gdLst>
                <a:gd name="connsiteX0" fmla="*/ 1691 w 480407"/>
                <a:gd name="connsiteY0" fmla="*/ 16097 h 235093"/>
                <a:gd name="connsiteX1" fmla="*/ 286051 w 480407"/>
                <a:gd name="connsiteY1" fmla="*/ 235040 h 235093"/>
                <a:gd name="connsiteX2" fmla="*/ 483121 w 480407"/>
                <a:gd name="connsiteY2" fmla="*/ 119231 h 235093"/>
                <a:gd name="connsiteX3" fmla="*/ 462882 w 480407"/>
                <a:gd name="connsiteY3" fmla="*/ 110748 h 235093"/>
                <a:gd name="connsiteX4" fmla="*/ 360361 w 480407"/>
                <a:gd name="connsiteY4" fmla="*/ 190270 h 235093"/>
                <a:gd name="connsiteX5" fmla="*/ 217363 w 480407"/>
                <a:gd name="connsiteY5" fmla="*/ 137937 h 235093"/>
                <a:gd name="connsiteX6" fmla="*/ 17739 w 480407"/>
                <a:gd name="connsiteY6" fmla="*/ 1480 h 235093"/>
                <a:gd name="connsiteX7" fmla="*/ 1691 w 480407"/>
                <a:gd name="connsiteY7" fmla="*/ 16097 h 235093"/>
                <a:gd name="connsiteX8" fmla="*/ 1691 w 480407"/>
                <a:gd name="connsiteY8" fmla="*/ 16097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07" h="235093">
                  <a:moveTo>
                    <a:pt x="1691" y="16097"/>
                  </a:moveTo>
                  <a:cubicBezTo>
                    <a:pt x="64655" y="104819"/>
                    <a:pt x="180464" y="195177"/>
                    <a:pt x="286051" y="235040"/>
                  </a:cubicBezTo>
                  <a:cubicBezTo>
                    <a:pt x="371912" y="267340"/>
                    <a:pt x="482917" y="212962"/>
                    <a:pt x="483121" y="119231"/>
                  </a:cubicBezTo>
                  <a:cubicBezTo>
                    <a:pt x="483121" y="109623"/>
                    <a:pt x="470446" y="103695"/>
                    <a:pt x="462882" y="110748"/>
                  </a:cubicBezTo>
                  <a:cubicBezTo>
                    <a:pt x="432014" y="139572"/>
                    <a:pt x="406562" y="182298"/>
                    <a:pt x="360361" y="190270"/>
                  </a:cubicBezTo>
                  <a:cubicBezTo>
                    <a:pt x="309765" y="198959"/>
                    <a:pt x="257738" y="162570"/>
                    <a:pt x="217363" y="137937"/>
                  </a:cubicBezTo>
                  <a:cubicBezTo>
                    <a:pt x="148164" y="95722"/>
                    <a:pt x="87040" y="43388"/>
                    <a:pt x="17739" y="1480"/>
                  </a:cubicBezTo>
                  <a:cubicBezTo>
                    <a:pt x="8641" y="-4039"/>
                    <a:pt x="-4749" y="7000"/>
                    <a:pt x="1691" y="16097"/>
                  </a:cubicBezTo>
                  <a:lnTo>
                    <a:pt x="1691" y="160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422FC587-603E-489A-B130-58BC52CDC0DB}"/>
                </a:ext>
              </a:extLst>
            </p:cNvPr>
            <p:cNvSpPr/>
            <p:nvPr/>
          </p:nvSpPr>
          <p:spPr>
            <a:xfrm>
              <a:off x="9093340" y="1728562"/>
              <a:ext cx="610042" cy="340673"/>
            </a:xfrm>
            <a:custGeom>
              <a:avLst/>
              <a:gdLst>
                <a:gd name="connsiteX0" fmla="*/ 146735 w 787051"/>
                <a:gd name="connsiteY0" fmla="*/ 417422 h 439522"/>
                <a:gd name="connsiteX1" fmla="*/ 44827 w 787051"/>
                <a:gd name="connsiteY1" fmla="*/ 294867 h 439522"/>
                <a:gd name="connsiteX2" fmla="*/ 91539 w 787051"/>
                <a:gd name="connsiteY2" fmla="*/ 96571 h 439522"/>
                <a:gd name="connsiteX3" fmla="*/ 358319 w 787051"/>
                <a:gd name="connsiteY3" fmla="*/ 42091 h 439522"/>
                <a:gd name="connsiteX4" fmla="*/ 778216 w 787051"/>
                <a:gd name="connsiteY4" fmla="*/ 426110 h 439522"/>
                <a:gd name="connsiteX5" fmla="*/ 794570 w 787051"/>
                <a:gd name="connsiteY5" fmla="*/ 411289 h 439522"/>
                <a:gd name="connsiteX6" fmla="*/ 658114 w 787051"/>
                <a:gd name="connsiteY6" fmla="*/ 246213 h 439522"/>
                <a:gd name="connsiteX7" fmla="*/ 498353 w 787051"/>
                <a:gd name="connsiteY7" fmla="*/ 80012 h 439522"/>
                <a:gd name="connsiteX8" fmla="*/ 231982 w 787051"/>
                <a:gd name="connsiteY8" fmla="*/ 4680 h 439522"/>
                <a:gd name="connsiteX9" fmla="*/ 12425 w 787051"/>
                <a:gd name="connsiteY9" fmla="*/ 158820 h 439522"/>
                <a:gd name="connsiteX10" fmla="*/ 127417 w 787051"/>
                <a:gd name="connsiteY10" fmla="*/ 444509 h 439522"/>
                <a:gd name="connsiteX11" fmla="*/ 149188 w 787051"/>
                <a:gd name="connsiteY11" fmla="*/ 419058 h 439522"/>
                <a:gd name="connsiteX12" fmla="*/ 146735 w 787051"/>
                <a:gd name="connsiteY12" fmla="*/ 417422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7051" h="439522">
                  <a:moveTo>
                    <a:pt x="146735" y="417422"/>
                  </a:moveTo>
                  <a:cubicBezTo>
                    <a:pt x="112391" y="375616"/>
                    <a:pt x="69256" y="342294"/>
                    <a:pt x="44827" y="294867"/>
                  </a:cubicBezTo>
                  <a:cubicBezTo>
                    <a:pt x="8950" y="225157"/>
                    <a:pt x="31539" y="147269"/>
                    <a:pt x="91539" y="96571"/>
                  </a:cubicBezTo>
                  <a:cubicBezTo>
                    <a:pt x="161454" y="37389"/>
                    <a:pt x="268881" y="18990"/>
                    <a:pt x="358319" y="42091"/>
                  </a:cubicBezTo>
                  <a:cubicBezTo>
                    <a:pt x="553549" y="92380"/>
                    <a:pt x="622339" y="323385"/>
                    <a:pt x="778216" y="426110"/>
                  </a:cubicBezTo>
                  <a:cubicBezTo>
                    <a:pt x="788335" y="432754"/>
                    <a:pt x="799272" y="420591"/>
                    <a:pt x="794570" y="411289"/>
                  </a:cubicBezTo>
                  <a:cubicBezTo>
                    <a:pt x="762884" y="348734"/>
                    <a:pt x="706155" y="297933"/>
                    <a:pt x="658114" y="246213"/>
                  </a:cubicBezTo>
                  <a:cubicBezTo>
                    <a:pt x="606393" y="190506"/>
                    <a:pt x="556819" y="129586"/>
                    <a:pt x="498353" y="80012"/>
                  </a:cubicBezTo>
                  <a:cubicBezTo>
                    <a:pt x="424452" y="17355"/>
                    <a:pt x="330619" y="-12185"/>
                    <a:pt x="231982" y="4680"/>
                  </a:cubicBezTo>
                  <a:cubicBezTo>
                    <a:pt x="142135" y="20012"/>
                    <a:pt x="47076" y="75617"/>
                    <a:pt x="12425" y="158820"/>
                  </a:cubicBezTo>
                  <a:cubicBezTo>
                    <a:pt x="-30607" y="262158"/>
                    <a:pt x="45543" y="380216"/>
                    <a:pt x="127417" y="444509"/>
                  </a:cubicBezTo>
                  <a:cubicBezTo>
                    <a:pt x="144997" y="458308"/>
                    <a:pt x="163192" y="436127"/>
                    <a:pt x="149188" y="419058"/>
                  </a:cubicBezTo>
                  <a:lnTo>
                    <a:pt x="146735" y="41742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C85DEE63-B3C9-4F51-ADA9-FB50E2B149FB}"/>
                </a:ext>
              </a:extLst>
            </p:cNvPr>
            <p:cNvSpPr/>
            <p:nvPr/>
          </p:nvSpPr>
          <p:spPr>
            <a:xfrm>
              <a:off x="8850140" y="1998066"/>
              <a:ext cx="348596" cy="293137"/>
            </a:xfrm>
            <a:custGeom>
              <a:avLst/>
              <a:gdLst>
                <a:gd name="connsiteX0" fmla="*/ 454061 w 449743"/>
                <a:gd name="connsiteY0" fmla="*/ 72581 h 378193"/>
                <a:gd name="connsiteX1" fmla="*/ 116243 w 449743"/>
                <a:gd name="connsiteY1" fmla="*/ 54796 h 378193"/>
                <a:gd name="connsiteX2" fmla="*/ 58900 w 449743"/>
                <a:gd name="connsiteY2" fmla="*/ 381269 h 378193"/>
                <a:gd name="connsiteX3" fmla="*/ 74744 w 449743"/>
                <a:gd name="connsiteY3" fmla="*/ 356329 h 378193"/>
                <a:gd name="connsiteX4" fmla="*/ 30280 w 449743"/>
                <a:gd name="connsiteY4" fmla="*/ 277010 h 378193"/>
                <a:gd name="connsiteX5" fmla="*/ 44795 w 449743"/>
                <a:gd name="connsiteY5" fmla="*/ 219259 h 378193"/>
                <a:gd name="connsiteX6" fmla="*/ 70144 w 449743"/>
                <a:gd name="connsiteY6" fmla="*/ 169787 h 378193"/>
                <a:gd name="connsiteX7" fmla="*/ 192597 w 449743"/>
                <a:gd name="connsiteY7" fmla="*/ 54592 h 378193"/>
                <a:gd name="connsiteX8" fmla="*/ 443636 w 449743"/>
                <a:gd name="connsiteY8" fmla="*/ 84949 h 378193"/>
                <a:gd name="connsiteX9" fmla="*/ 454061 w 449743"/>
                <a:gd name="connsiteY9" fmla="*/ 72581 h 378193"/>
                <a:gd name="connsiteX10" fmla="*/ 454061 w 449743"/>
                <a:gd name="connsiteY10" fmla="*/ 72581 h 37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743" h="378193">
                  <a:moveTo>
                    <a:pt x="454061" y="72581"/>
                  </a:moveTo>
                  <a:cubicBezTo>
                    <a:pt x="369837" y="-20025"/>
                    <a:pt x="213244" y="-21865"/>
                    <a:pt x="116243" y="54796"/>
                  </a:cubicBezTo>
                  <a:cubicBezTo>
                    <a:pt x="25272" y="126755"/>
                    <a:pt x="-61304" y="299497"/>
                    <a:pt x="58900" y="381269"/>
                  </a:cubicBezTo>
                  <a:cubicBezTo>
                    <a:pt x="74948" y="392104"/>
                    <a:pt x="90996" y="367163"/>
                    <a:pt x="74744" y="356329"/>
                  </a:cubicBezTo>
                  <a:cubicBezTo>
                    <a:pt x="59923" y="329855"/>
                    <a:pt x="45101" y="303484"/>
                    <a:pt x="30280" y="277010"/>
                  </a:cubicBezTo>
                  <a:cubicBezTo>
                    <a:pt x="30894" y="256670"/>
                    <a:pt x="35698" y="237453"/>
                    <a:pt x="44795" y="219259"/>
                  </a:cubicBezTo>
                  <a:cubicBezTo>
                    <a:pt x="51541" y="201781"/>
                    <a:pt x="60229" y="185835"/>
                    <a:pt x="70144" y="169787"/>
                  </a:cubicBezTo>
                  <a:cubicBezTo>
                    <a:pt x="99991" y="121133"/>
                    <a:pt x="137094" y="77692"/>
                    <a:pt x="192597" y="54592"/>
                  </a:cubicBezTo>
                  <a:cubicBezTo>
                    <a:pt x="277231" y="19430"/>
                    <a:pt x="368406" y="39771"/>
                    <a:pt x="443636" y="84949"/>
                  </a:cubicBezTo>
                  <a:cubicBezTo>
                    <a:pt x="452017" y="89958"/>
                    <a:pt x="460194" y="79225"/>
                    <a:pt x="454061" y="72581"/>
                  </a:cubicBezTo>
                  <a:lnTo>
                    <a:pt x="454061" y="7258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F0184257-D098-4124-AA19-0CA893B4C8E6}"/>
                </a:ext>
              </a:extLst>
            </p:cNvPr>
            <p:cNvSpPr/>
            <p:nvPr/>
          </p:nvSpPr>
          <p:spPr>
            <a:xfrm>
              <a:off x="8696052" y="2329235"/>
              <a:ext cx="744727" cy="610042"/>
            </a:xfrm>
            <a:custGeom>
              <a:avLst/>
              <a:gdLst>
                <a:gd name="connsiteX0" fmla="*/ 231940 w 960815"/>
                <a:gd name="connsiteY0" fmla="*/ 6 h 787051"/>
                <a:gd name="connsiteX1" fmla="*/ 3286 w 960815"/>
                <a:gd name="connsiteY1" fmla="*/ 318915 h 787051"/>
                <a:gd name="connsiteX2" fmla="*/ 185024 w 960815"/>
                <a:gd name="connsiteY2" fmla="*/ 499732 h 787051"/>
                <a:gd name="connsiteX3" fmla="*/ 478277 w 960815"/>
                <a:gd name="connsiteY3" fmla="*/ 699868 h 787051"/>
                <a:gd name="connsiteX4" fmla="*/ 690576 w 960815"/>
                <a:gd name="connsiteY4" fmla="*/ 792474 h 787051"/>
                <a:gd name="connsiteX5" fmla="*/ 907986 w 960815"/>
                <a:gd name="connsiteY5" fmla="*/ 678812 h 787051"/>
                <a:gd name="connsiteX6" fmla="*/ 876300 w 960815"/>
                <a:gd name="connsiteY6" fmla="*/ 351521 h 787051"/>
                <a:gd name="connsiteX7" fmla="*/ 853813 w 960815"/>
                <a:gd name="connsiteY7" fmla="*/ 371862 h 787051"/>
                <a:gd name="connsiteX8" fmla="*/ 835107 w 960815"/>
                <a:gd name="connsiteY8" fmla="*/ 681776 h 787051"/>
                <a:gd name="connsiteX9" fmla="*/ 627714 w 960815"/>
                <a:gd name="connsiteY9" fmla="*/ 741060 h 787051"/>
                <a:gd name="connsiteX10" fmla="*/ 457630 w 960815"/>
                <a:gd name="connsiteY10" fmla="*/ 646001 h 787051"/>
                <a:gd name="connsiteX11" fmla="*/ 116642 w 960815"/>
                <a:gd name="connsiteY11" fmla="*/ 416018 h 787051"/>
                <a:gd name="connsiteX12" fmla="*/ 46727 w 960815"/>
                <a:gd name="connsiteY12" fmla="*/ 207092 h 787051"/>
                <a:gd name="connsiteX13" fmla="*/ 235211 w 960815"/>
                <a:gd name="connsiteY13" fmla="*/ 31488 h 787051"/>
                <a:gd name="connsiteX14" fmla="*/ 231940 w 960815"/>
                <a:gd name="connsiteY14" fmla="*/ 6 h 787051"/>
                <a:gd name="connsiteX15" fmla="*/ 231940 w 960815"/>
                <a:gd name="connsiteY15" fmla="*/ 6 h 78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0815" h="787051">
                  <a:moveTo>
                    <a:pt x="231940" y="6"/>
                  </a:moveTo>
                  <a:cubicBezTo>
                    <a:pt x="93133" y="-1221"/>
                    <a:pt x="-21041" y="200141"/>
                    <a:pt x="3286" y="318915"/>
                  </a:cubicBezTo>
                  <a:cubicBezTo>
                    <a:pt x="20765" y="404264"/>
                    <a:pt x="117766" y="453224"/>
                    <a:pt x="185024" y="499732"/>
                  </a:cubicBezTo>
                  <a:cubicBezTo>
                    <a:pt x="282332" y="566989"/>
                    <a:pt x="380151" y="633837"/>
                    <a:pt x="478277" y="699868"/>
                  </a:cubicBezTo>
                  <a:cubicBezTo>
                    <a:pt x="540628" y="741878"/>
                    <a:pt x="609520" y="794723"/>
                    <a:pt x="690576" y="792474"/>
                  </a:cubicBezTo>
                  <a:cubicBezTo>
                    <a:pt x="771121" y="790225"/>
                    <a:pt x="859332" y="737585"/>
                    <a:pt x="907986" y="678812"/>
                  </a:cubicBezTo>
                  <a:cubicBezTo>
                    <a:pt x="980661" y="590907"/>
                    <a:pt x="990678" y="414281"/>
                    <a:pt x="876300" y="351521"/>
                  </a:cubicBezTo>
                  <a:cubicBezTo>
                    <a:pt x="863012" y="344264"/>
                    <a:pt x="845124" y="358574"/>
                    <a:pt x="853813" y="371862"/>
                  </a:cubicBezTo>
                  <a:cubicBezTo>
                    <a:pt x="920252" y="474485"/>
                    <a:pt x="944375" y="592849"/>
                    <a:pt x="835107" y="681776"/>
                  </a:cubicBezTo>
                  <a:cubicBezTo>
                    <a:pt x="779707" y="726853"/>
                    <a:pt x="701104" y="764876"/>
                    <a:pt x="627714" y="741060"/>
                  </a:cubicBezTo>
                  <a:cubicBezTo>
                    <a:pt x="567817" y="721640"/>
                    <a:pt x="510372" y="677585"/>
                    <a:pt x="457630" y="646001"/>
                  </a:cubicBezTo>
                  <a:cubicBezTo>
                    <a:pt x="340798" y="576086"/>
                    <a:pt x="221310" y="501776"/>
                    <a:pt x="116642" y="416018"/>
                  </a:cubicBezTo>
                  <a:cubicBezTo>
                    <a:pt x="45705" y="357858"/>
                    <a:pt x="13406" y="294588"/>
                    <a:pt x="46727" y="207092"/>
                  </a:cubicBezTo>
                  <a:cubicBezTo>
                    <a:pt x="80254" y="118779"/>
                    <a:pt x="133712" y="53362"/>
                    <a:pt x="235211" y="31488"/>
                  </a:cubicBezTo>
                  <a:cubicBezTo>
                    <a:pt x="253814" y="27501"/>
                    <a:pt x="251259" y="108"/>
                    <a:pt x="231940" y="6"/>
                  </a:cubicBezTo>
                  <a:lnTo>
                    <a:pt x="231940" y="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26EC1E1F-1953-47E6-82A2-B023CB1DFF56}"/>
                </a:ext>
              </a:extLst>
            </p:cNvPr>
            <p:cNvSpPr/>
            <p:nvPr/>
          </p:nvSpPr>
          <p:spPr>
            <a:xfrm>
              <a:off x="8552721" y="2624229"/>
              <a:ext cx="213911" cy="411977"/>
            </a:xfrm>
            <a:custGeom>
              <a:avLst/>
              <a:gdLst>
                <a:gd name="connsiteX0" fmla="*/ 276111 w 275978"/>
                <a:gd name="connsiteY0" fmla="*/ 21732 h 531515"/>
                <a:gd name="connsiteX1" fmla="*/ 65549 w 275978"/>
                <a:gd name="connsiteY1" fmla="*/ 54236 h 531515"/>
                <a:gd name="connsiteX2" fmla="*/ 3300 w 275978"/>
                <a:gd name="connsiteY2" fmla="*/ 273078 h 531515"/>
                <a:gd name="connsiteX3" fmla="*/ 108479 w 275978"/>
                <a:gd name="connsiteY3" fmla="*/ 541390 h 531515"/>
                <a:gd name="connsiteX4" fmla="*/ 124833 w 275978"/>
                <a:gd name="connsiteY4" fmla="*/ 528409 h 531515"/>
                <a:gd name="connsiteX5" fmla="*/ 138325 w 275978"/>
                <a:gd name="connsiteY5" fmla="*/ 523707 h 531515"/>
                <a:gd name="connsiteX6" fmla="*/ 94169 w 275978"/>
                <a:gd name="connsiteY6" fmla="*/ 425275 h 531515"/>
                <a:gd name="connsiteX7" fmla="*/ 43164 w 275978"/>
                <a:gd name="connsiteY7" fmla="*/ 184253 h 531515"/>
                <a:gd name="connsiteX8" fmla="*/ 269467 w 275978"/>
                <a:gd name="connsiteY8" fmla="*/ 35940 h 531515"/>
                <a:gd name="connsiteX9" fmla="*/ 276111 w 275978"/>
                <a:gd name="connsiteY9" fmla="*/ 2173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978" h="531515">
                  <a:moveTo>
                    <a:pt x="276111" y="21732"/>
                  </a:moveTo>
                  <a:cubicBezTo>
                    <a:pt x="210284" y="-20585"/>
                    <a:pt x="118802" y="3538"/>
                    <a:pt x="65549" y="54236"/>
                  </a:cubicBezTo>
                  <a:cubicBezTo>
                    <a:pt x="5856" y="111068"/>
                    <a:pt x="-7228" y="196621"/>
                    <a:pt x="3300" y="273078"/>
                  </a:cubicBezTo>
                  <a:cubicBezTo>
                    <a:pt x="16384" y="368546"/>
                    <a:pt x="66469" y="454406"/>
                    <a:pt x="108479" y="541390"/>
                  </a:cubicBezTo>
                  <a:cubicBezTo>
                    <a:pt x="112465" y="536382"/>
                    <a:pt x="117780" y="531987"/>
                    <a:pt x="124833" y="528409"/>
                  </a:cubicBezTo>
                  <a:cubicBezTo>
                    <a:pt x="129433" y="526058"/>
                    <a:pt x="133930" y="524627"/>
                    <a:pt x="138325" y="523707"/>
                  </a:cubicBezTo>
                  <a:cubicBezTo>
                    <a:pt x="123811" y="490590"/>
                    <a:pt x="109399" y="457574"/>
                    <a:pt x="94169" y="425275"/>
                  </a:cubicBezTo>
                  <a:cubicBezTo>
                    <a:pt x="58700" y="349534"/>
                    <a:pt x="28649" y="268069"/>
                    <a:pt x="43164" y="184253"/>
                  </a:cubicBezTo>
                  <a:cubicBezTo>
                    <a:pt x="61665" y="76928"/>
                    <a:pt x="156315" y="11409"/>
                    <a:pt x="269467" y="35940"/>
                  </a:cubicBezTo>
                  <a:cubicBezTo>
                    <a:pt x="278768" y="37882"/>
                    <a:pt x="284083" y="26843"/>
                    <a:pt x="276111" y="2173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1667E62D-CF2D-4CDF-BD03-EA568E2BA0E3}"/>
                </a:ext>
              </a:extLst>
            </p:cNvPr>
            <p:cNvSpPr/>
            <p:nvPr/>
          </p:nvSpPr>
          <p:spPr>
            <a:xfrm>
              <a:off x="8653184" y="2870484"/>
              <a:ext cx="530816" cy="277292"/>
            </a:xfrm>
            <a:custGeom>
              <a:avLst/>
              <a:gdLst>
                <a:gd name="connsiteX0" fmla="*/ 3500 w 684836"/>
                <a:gd name="connsiteY0" fmla="*/ 165523 h 357750"/>
                <a:gd name="connsiteX1" fmla="*/ 555866 w 684836"/>
                <a:gd name="connsiteY1" fmla="*/ 341434 h 357750"/>
                <a:gd name="connsiteX2" fmla="*/ 688234 w 684836"/>
                <a:gd name="connsiteY2" fmla="*/ 175029 h 357750"/>
                <a:gd name="connsiteX3" fmla="*/ 576923 w 684836"/>
                <a:gd name="connsiteY3" fmla="*/ 447 h 357750"/>
                <a:gd name="connsiteX4" fmla="*/ 565781 w 684836"/>
                <a:gd name="connsiteY4" fmla="*/ 17925 h 357750"/>
                <a:gd name="connsiteX5" fmla="*/ 601352 w 684836"/>
                <a:gd name="connsiteY5" fmla="*/ 255471 h 357750"/>
                <a:gd name="connsiteX6" fmla="*/ 383328 w 684836"/>
                <a:gd name="connsiteY6" fmla="*/ 317925 h 357750"/>
                <a:gd name="connsiteX7" fmla="*/ 11983 w 684836"/>
                <a:gd name="connsiteY7" fmla="*/ 152133 h 357750"/>
                <a:gd name="connsiteX8" fmla="*/ 3500 w 684836"/>
                <a:gd name="connsiteY8" fmla="*/ 165523 h 357750"/>
                <a:gd name="connsiteX9" fmla="*/ 3500 w 684836"/>
                <a:gd name="connsiteY9" fmla="*/ 165523 h 35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4836" h="357750">
                  <a:moveTo>
                    <a:pt x="3500" y="165523"/>
                  </a:moveTo>
                  <a:cubicBezTo>
                    <a:pt x="149973" y="271621"/>
                    <a:pt x="366259" y="428929"/>
                    <a:pt x="555866" y="341434"/>
                  </a:cubicBezTo>
                  <a:cubicBezTo>
                    <a:pt x="626599" y="308725"/>
                    <a:pt x="681181" y="251485"/>
                    <a:pt x="688234" y="175029"/>
                  </a:cubicBezTo>
                  <a:cubicBezTo>
                    <a:pt x="694878" y="102865"/>
                    <a:pt x="653583" y="20582"/>
                    <a:pt x="576923" y="447"/>
                  </a:cubicBezTo>
                  <a:cubicBezTo>
                    <a:pt x="565475" y="-2518"/>
                    <a:pt x="559137" y="9952"/>
                    <a:pt x="565781" y="17925"/>
                  </a:cubicBezTo>
                  <a:cubicBezTo>
                    <a:pt x="625679" y="89577"/>
                    <a:pt x="678217" y="173597"/>
                    <a:pt x="601352" y="255471"/>
                  </a:cubicBezTo>
                  <a:cubicBezTo>
                    <a:pt x="548302" y="312098"/>
                    <a:pt x="458661" y="335301"/>
                    <a:pt x="383328" y="317925"/>
                  </a:cubicBezTo>
                  <a:cubicBezTo>
                    <a:pt x="251574" y="287465"/>
                    <a:pt x="123295" y="223683"/>
                    <a:pt x="11983" y="152133"/>
                  </a:cubicBezTo>
                  <a:cubicBezTo>
                    <a:pt x="3091" y="146409"/>
                    <a:pt x="-4780" y="159492"/>
                    <a:pt x="3500" y="165523"/>
                  </a:cubicBezTo>
                  <a:lnTo>
                    <a:pt x="3500" y="1655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EBA88ABC-15BA-4527-A86A-1C7B352B0825}"/>
                </a:ext>
              </a:extLst>
            </p:cNvPr>
            <p:cNvSpPr/>
            <p:nvPr/>
          </p:nvSpPr>
          <p:spPr>
            <a:xfrm>
              <a:off x="8810467" y="3324321"/>
              <a:ext cx="625888" cy="554584"/>
            </a:xfrm>
            <a:custGeom>
              <a:avLst/>
              <a:gdLst>
                <a:gd name="connsiteX0" fmla="*/ 436047 w 807494"/>
                <a:gd name="connsiteY0" fmla="*/ 332912 h 715501"/>
                <a:gd name="connsiteX1" fmla="*/ 195638 w 807494"/>
                <a:gd name="connsiteY1" fmla="*/ 165690 h 715501"/>
                <a:gd name="connsiteX2" fmla="*/ 28824 w 807494"/>
                <a:gd name="connsiteY2" fmla="*/ 0 h 715501"/>
                <a:gd name="connsiteX3" fmla="*/ 0 w 807494"/>
                <a:gd name="connsiteY3" fmla="*/ 17172 h 715501"/>
                <a:gd name="connsiteX4" fmla="*/ 144020 w 807494"/>
                <a:gd name="connsiteY4" fmla="*/ 175604 h 715501"/>
                <a:gd name="connsiteX5" fmla="*/ 359590 w 807494"/>
                <a:gd name="connsiteY5" fmla="*/ 331072 h 715501"/>
                <a:gd name="connsiteX6" fmla="*/ 607460 w 807494"/>
                <a:gd name="connsiteY6" fmla="*/ 523644 h 715501"/>
                <a:gd name="connsiteX7" fmla="*/ 794717 w 807494"/>
                <a:gd name="connsiteY7" fmla="*/ 720407 h 715501"/>
                <a:gd name="connsiteX8" fmla="*/ 813729 w 807494"/>
                <a:gd name="connsiteY8" fmla="*/ 703235 h 715501"/>
                <a:gd name="connsiteX9" fmla="*/ 436047 w 807494"/>
                <a:gd name="connsiteY9" fmla="*/ 332912 h 71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494" h="715501">
                  <a:moveTo>
                    <a:pt x="436047" y="332912"/>
                  </a:moveTo>
                  <a:cubicBezTo>
                    <a:pt x="350698" y="279148"/>
                    <a:pt x="267597" y="237035"/>
                    <a:pt x="195638" y="165690"/>
                  </a:cubicBezTo>
                  <a:cubicBezTo>
                    <a:pt x="140034" y="110494"/>
                    <a:pt x="86065" y="53663"/>
                    <a:pt x="28824" y="0"/>
                  </a:cubicBezTo>
                  <a:cubicBezTo>
                    <a:pt x="21158" y="8382"/>
                    <a:pt x="11039" y="14719"/>
                    <a:pt x="0" y="17172"/>
                  </a:cubicBezTo>
                  <a:cubicBezTo>
                    <a:pt x="45996" y="71550"/>
                    <a:pt x="95162" y="123577"/>
                    <a:pt x="144020" y="175604"/>
                  </a:cubicBezTo>
                  <a:cubicBezTo>
                    <a:pt x="209437" y="245315"/>
                    <a:pt x="274241" y="286814"/>
                    <a:pt x="359590" y="331072"/>
                  </a:cubicBezTo>
                  <a:cubicBezTo>
                    <a:pt x="454752" y="380544"/>
                    <a:pt x="536319" y="446473"/>
                    <a:pt x="607460" y="523644"/>
                  </a:cubicBezTo>
                  <a:cubicBezTo>
                    <a:pt x="667665" y="589062"/>
                    <a:pt x="721838" y="667358"/>
                    <a:pt x="794717" y="720407"/>
                  </a:cubicBezTo>
                  <a:cubicBezTo>
                    <a:pt x="806370" y="728891"/>
                    <a:pt x="818738" y="713559"/>
                    <a:pt x="813729" y="703235"/>
                  </a:cubicBezTo>
                  <a:cubicBezTo>
                    <a:pt x="742894" y="556966"/>
                    <a:pt x="575365" y="420715"/>
                    <a:pt x="436047" y="33291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ADCEC745-1782-4218-BA70-25F47FECCF45}"/>
                </a:ext>
              </a:extLst>
            </p:cNvPr>
            <p:cNvSpPr/>
            <p:nvPr/>
          </p:nvSpPr>
          <p:spPr>
            <a:xfrm>
              <a:off x="9390389" y="3827009"/>
              <a:ext cx="720959" cy="1220085"/>
            </a:xfrm>
            <a:custGeom>
              <a:avLst/>
              <a:gdLst>
                <a:gd name="connsiteX0" fmla="*/ 633 w 930151"/>
                <a:gd name="connsiteY0" fmla="*/ 10328 h 1574102"/>
                <a:gd name="connsiteX1" fmla="*/ 115522 w 930151"/>
                <a:gd name="connsiteY1" fmla="*/ 237245 h 1574102"/>
                <a:gd name="connsiteX2" fmla="*/ 283460 w 930151"/>
                <a:gd name="connsiteY2" fmla="*/ 423581 h 1574102"/>
                <a:gd name="connsiteX3" fmla="*/ 392216 w 930151"/>
                <a:gd name="connsiteY3" fmla="*/ 613802 h 1574102"/>
                <a:gd name="connsiteX4" fmla="*/ 490240 w 930151"/>
                <a:gd name="connsiteY4" fmla="*/ 809236 h 1574102"/>
                <a:gd name="connsiteX5" fmla="*/ 707752 w 930151"/>
                <a:gd name="connsiteY5" fmla="*/ 1218503 h 1574102"/>
                <a:gd name="connsiteX6" fmla="*/ 910546 w 930151"/>
                <a:gd name="connsiteY6" fmla="*/ 1573392 h 1574102"/>
                <a:gd name="connsiteX7" fmla="*/ 935486 w 930151"/>
                <a:gd name="connsiteY7" fmla="*/ 1564397 h 1574102"/>
                <a:gd name="connsiteX8" fmla="*/ 770512 w 930151"/>
                <a:gd name="connsiteY8" fmla="*/ 1224636 h 1574102"/>
                <a:gd name="connsiteX9" fmla="*/ 545640 w 930151"/>
                <a:gd name="connsiteY9" fmla="*/ 805965 h 1574102"/>
                <a:gd name="connsiteX10" fmla="*/ 352046 w 930151"/>
                <a:gd name="connsiteY10" fmla="*/ 453837 h 1574102"/>
                <a:gd name="connsiteX11" fmla="*/ 190547 w 930151"/>
                <a:gd name="connsiteY11" fmla="*/ 257278 h 1574102"/>
                <a:gd name="connsiteX12" fmla="*/ 18009 w 930151"/>
                <a:gd name="connsiteY12" fmla="*/ 4093 h 1574102"/>
                <a:gd name="connsiteX13" fmla="*/ 633 w 930151"/>
                <a:gd name="connsiteY13" fmla="*/ 10328 h 1574102"/>
                <a:gd name="connsiteX14" fmla="*/ 633 w 930151"/>
                <a:gd name="connsiteY14" fmla="*/ 10328 h 157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0151" h="1574102">
                  <a:moveTo>
                    <a:pt x="633" y="10328"/>
                  </a:moveTo>
                  <a:cubicBezTo>
                    <a:pt x="30990" y="89136"/>
                    <a:pt x="68810" y="165899"/>
                    <a:pt x="115522" y="237245"/>
                  </a:cubicBezTo>
                  <a:cubicBezTo>
                    <a:pt x="163154" y="309919"/>
                    <a:pt x="226220" y="359186"/>
                    <a:pt x="283460" y="423581"/>
                  </a:cubicBezTo>
                  <a:cubicBezTo>
                    <a:pt x="331296" y="477448"/>
                    <a:pt x="359916" y="550838"/>
                    <a:pt x="392216" y="613802"/>
                  </a:cubicBezTo>
                  <a:cubicBezTo>
                    <a:pt x="425538" y="678606"/>
                    <a:pt x="457224" y="744228"/>
                    <a:pt x="490240" y="809236"/>
                  </a:cubicBezTo>
                  <a:cubicBezTo>
                    <a:pt x="560052" y="946919"/>
                    <a:pt x="633340" y="1083069"/>
                    <a:pt x="707752" y="1218503"/>
                  </a:cubicBezTo>
                  <a:cubicBezTo>
                    <a:pt x="772965" y="1337174"/>
                    <a:pt x="831840" y="1461978"/>
                    <a:pt x="910546" y="1573392"/>
                  </a:cubicBezTo>
                  <a:cubicBezTo>
                    <a:pt x="918314" y="1584329"/>
                    <a:pt x="940597" y="1579013"/>
                    <a:pt x="935486" y="1564397"/>
                  </a:cubicBezTo>
                  <a:cubicBezTo>
                    <a:pt x="893578" y="1446543"/>
                    <a:pt x="828365" y="1335845"/>
                    <a:pt x="770512" y="1224636"/>
                  </a:cubicBezTo>
                  <a:cubicBezTo>
                    <a:pt x="697428" y="1084193"/>
                    <a:pt x="623119" y="944262"/>
                    <a:pt x="545640" y="805965"/>
                  </a:cubicBezTo>
                  <a:cubicBezTo>
                    <a:pt x="480325" y="689237"/>
                    <a:pt x="419610" y="569339"/>
                    <a:pt x="352046" y="453837"/>
                  </a:cubicBezTo>
                  <a:cubicBezTo>
                    <a:pt x="309934" y="381878"/>
                    <a:pt x="242370" y="323309"/>
                    <a:pt x="190547" y="257278"/>
                  </a:cubicBezTo>
                  <a:cubicBezTo>
                    <a:pt x="127072" y="176529"/>
                    <a:pt x="77293" y="87500"/>
                    <a:pt x="18009" y="4093"/>
                  </a:cubicBezTo>
                  <a:cubicBezTo>
                    <a:pt x="12592" y="-3573"/>
                    <a:pt x="-3354" y="107"/>
                    <a:pt x="633" y="10328"/>
                  </a:cubicBezTo>
                  <a:lnTo>
                    <a:pt x="633" y="103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F3E081ED-848A-4034-9433-226C0E027624}"/>
                </a:ext>
              </a:extLst>
            </p:cNvPr>
            <p:cNvSpPr/>
            <p:nvPr/>
          </p:nvSpPr>
          <p:spPr>
            <a:xfrm>
              <a:off x="10282807" y="3204390"/>
              <a:ext cx="1148781" cy="1845972"/>
            </a:xfrm>
            <a:custGeom>
              <a:avLst/>
              <a:gdLst>
                <a:gd name="connsiteX0" fmla="*/ 1126 w 1482109"/>
                <a:gd name="connsiteY0" fmla="*/ 14389 h 2381596"/>
                <a:gd name="connsiteX1" fmla="*/ 505963 w 1482109"/>
                <a:gd name="connsiteY1" fmla="*/ 883825 h 2381596"/>
                <a:gd name="connsiteX2" fmla="*/ 762521 w 1482109"/>
                <a:gd name="connsiteY2" fmla="*/ 1303620 h 2381596"/>
                <a:gd name="connsiteX3" fmla="*/ 1465041 w 1482109"/>
                <a:gd name="connsiteY3" fmla="*/ 2384538 h 2381596"/>
                <a:gd name="connsiteX4" fmla="*/ 1481600 w 1482109"/>
                <a:gd name="connsiteY4" fmla="*/ 2376054 h 2381596"/>
                <a:gd name="connsiteX5" fmla="*/ 811175 w 1482109"/>
                <a:gd name="connsiteY5" fmla="*/ 1295443 h 2381596"/>
                <a:gd name="connsiteX6" fmla="*/ 552368 w 1482109"/>
                <a:gd name="connsiteY6" fmla="*/ 859907 h 2381596"/>
                <a:gd name="connsiteX7" fmla="*/ 19729 w 1482109"/>
                <a:gd name="connsiteY7" fmla="*/ 4781 h 2381596"/>
                <a:gd name="connsiteX8" fmla="*/ 1126 w 1482109"/>
                <a:gd name="connsiteY8" fmla="*/ 14389 h 2381596"/>
                <a:gd name="connsiteX9" fmla="*/ 1126 w 1482109"/>
                <a:gd name="connsiteY9" fmla="*/ 14389 h 238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2109" h="2381596">
                  <a:moveTo>
                    <a:pt x="1126" y="14389"/>
                  </a:moveTo>
                  <a:cubicBezTo>
                    <a:pt x="138502" y="316024"/>
                    <a:pt x="335060" y="598340"/>
                    <a:pt x="505963" y="883825"/>
                  </a:cubicBezTo>
                  <a:cubicBezTo>
                    <a:pt x="590086" y="1024472"/>
                    <a:pt x="673288" y="1165835"/>
                    <a:pt x="762521" y="1303620"/>
                  </a:cubicBezTo>
                  <a:cubicBezTo>
                    <a:pt x="851857" y="1441609"/>
                    <a:pt x="1364360" y="2253703"/>
                    <a:pt x="1465041" y="2384538"/>
                  </a:cubicBezTo>
                  <a:cubicBezTo>
                    <a:pt x="1472094" y="2393737"/>
                    <a:pt x="1486506" y="2386684"/>
                    <a:pt x="1481600" y="2376054"/>
                  </a:cubicBezTo>
                  <a:cubicBezTo>
                    <a:pt x="1415876" y="2232136"/>
                    <a:pt x="888961" y="1433841"/>
                    <a:pt x="811175" y="1295443"/>
                  </a:cubicBezTo>
                  <a:cubicBezTo>
                    <a:pt x="728586" y="1148356"/>
                    <a:pt x="640171" y="1004336"/>
                    <a:pt x="552368" y="859907"/>
                  </a:cubicBezTo>
                  <a:cubicBezTo>
                    <a:pt x="379319" y="575138"/>
                    <a:pt x="223034" y="271458"/>
                    <a:pt x="19729" y="4781"/>
                  </a:cubicBezTo>
                  <a:cubicBezTo>
                    <a:pt x="11756" y="-5543"/>
                    <a:pt x="-4394" y="2328"/>
                    <a:pt x="1126" y="14389"/>
                  </a:cubicBezTo>
                  <a:lnTo>
                    <a:pt x="1126" y="1438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E0ADA315-7810-4125-AE15-F7CA2B4B337A}"/>
                </a:ext>
              </a:extLst>
            </p:cNvPr>
            <p:cNvSpPr/>
            <p:nvPr/>
          </p:nvSpPr>
          <p:spPr>
            <a:xfrm>
              <a:off x="9305473" y="3252744"/>
              <a:ext cx="808108" cy="522893"/>
            </a:xfrm>
            <a:custGeom>
              <a:avLst/>
              <a:gdLst>
                <a:gd name="connsiteX0" fmla="*/ 1635 w 1042587"/>
                <a:gd name="connsiteY0" fmla="*/ 616808 h 674615"/>
                <a:gd name="connsiteX1" fmla="*/ 493082 w 1042587"/>
                <a:gd name="connsiteY1" fmla="*/ 474832 h 674615"/>
                <a:gd name="connsiteX2" fmla="*/ 750765 w 1042587"/>
                <a:gd name="connsiteY2" fmla="*/ 236979 h 674615"/>
                <a:gd name="connsiteX3" fmla="*/ 1046982 w 1042587"/>
                <a:gd name="connsiteY3" fmla="*/ 13028 h 674615"/>
                <a:gd name="connsiteX4" fmla="*/ 1043813 w 1042587"/>
                <a:gd name="connsiteY4" fmla="*/ 251 h 674615"/>
                <a:gd name="connsiteX5" fmla="*/ 799419 w 1042587"/>
                <a:gd name="connsiteY5" fmla="*/ 159296 h 674615"/>
                <a:gd name="connsiteX6" fmla="*/ 573525 w 1042587"/>
                <a:gd name="connsiteY6" fmla="*/ 387132 h 674615"/>
                <a:gd name="connsiteX7" fmla="*/ 315433 w 1042587"/>
                <a:gd name="connsiteY7" fmla="*/ 596365 h 674615"/>
                <a:gd name="connsiteX8" fmla="*/ 10425 w 1042587"/>
                <a:gd name="connsiteY8" fmla="*/ 608631 h 674615"/>
                <a:gd name="connsiteX9" fmla="*/ 1635 w 1042587"/>
                <a:gd name="connsiteY9" fmla="*/ 616808 h 674615"/>
                <a:gd name="connsiteX10" fmla="*/ 1635 w 1042587"/>
                <a:gd name="connsiteY10" fmla="*/ 61680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2587" h="674615">
                  <a:moveTo>
                    <a:pt x="1635" y="616808"/>
                  </a:moveTo>
                  <a:cubicBezTo>
                    <a:pt x="140647" y="777285"/>
                    <a:pt x="384428" y="566110"/>
                    <a:pt x="493082" y="474832"/>
                  </a:cubicBezTo>
                  <a:cubicBezTo>
                    <a:pt x="582724" y="399500"/>
                    <a:pt x="666131" y="317218"/>
                    <a:pt x="750765" y="236979"/>
                  </a:cubicBezTo>
                  <a:cubicBezTo>
                    <a:pt x="839998" y="152346"/>
                    <a:pt x="923609" y="52176"/>
                    <a:pt x="1046982" y="13028"/>
                  </a:cubicBezTo>
                  <a:cubicBezTo>
                    <a:pt x="1055261" y="10370"/>
                    <a:pt x="1052604" y="-1896"/>
                    <a:pt x="1043813" y="251"/>
                  </a:cubicBezTo>
                  <a:cubicBezTo>
                    <a:pt x="942008" y="25804"/>
                    <a:pt x="871275" y="90302"/>
                    <a:pt x="799419" y="159296"/>
                  </a:cubicBezTo>
                  <a:cubicBezTo>
                    <a:pt x="722145" y="233504"/>
                    <a:pt x="650799" y="312925"/>
                    <a:pt x="573525" y="387132"/>
                  </a:cubicBezTo>
                  <a:cubicBezTo>
                    <a:pt x="493900" y="463589"/>
                    <a:pt x="410697" y="537388"/>
                    <a:pt x="315433" y="596365"/>
                  </a:cubicBezTo>
                  <a:cubicBezTo>
                    <a:pt x="225894" y="651868"/>
                    <a:pt x="99556" y="682430"/>
                    <a:pt x="10425" y="608631"/>
                  </a:cubicBezTo>
                  <a:cubicBezTo>
                    <a:pt x="4497" y="603725"/>
                    <a:pt x="-3476" y="610982"/>
                    <a:pt x="1635" y="616808"/>
                  </a:cubicBezTo>
                  <a:lnTo>
                    <a:pt x="1635" y="6168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635E0F5E-FFD4-49C4-BF78-628B036A84A0}"/>
                </a:ext>
              </a:extLst>
            </p:cNvPr>
            <p:cNvSpPr/>
            <p:nvPr/>
          </p:nvSpPr>
          <p:spPr>
            <a:xfrm>
              <a:off x="10145618" y="3097557"/>
              <a:ext cx="118840" cy="150530"/>
            </a:xfrm>
            <a:custGeom>
              <a:avLst/>
              <a:gdLst>
                <a:gd name="connsiteX0" fmla="*/ 6400 w 153321"/>
                <a:gd name="connsiteY0" fmla="*/ 196276 h 194207"/>
                <a:gd name="connsiteX1" fmla="*/ 80097 w 153321"/>
                <a:gd name="connsiteY1" fmla="*/ 177878 h 194207"/>
                <a:gd name="connsiteX2" fmla="*/ 138053 w 153321"/>
                <a:gd name="connsiteY2" fmla="*/ 131268 h 194207"/>
                <a:gd name="connsiteX3" fmla="*/ 141426 w 153321"/>
                <a:gd name="connsiteY3" fmla="*/ 3193 h 194207"/>
                <a:gd name="connsiteX4" fmla="*/ 129058 w 153321"/>
                <a:gd name="connsiteY4" fmla="*/ 4420 h 194207"/>
                <a:gd name="connsiteX5" fmla="*/ 114339 w 153321"/>
                <a:gd name="connsiteY5" fmla="*/ 124522 h 194207"/>
                <a:gd name="connsiteX6" fmla="*/ 45957 w 153321"/>
                <a:gd name="connsiteY6" fmla="*/ 172563 h 194207"/>
                <a:gd name="connsiteX7" fmla="*/ 1494 w 153321"/>
                <a:gd name="connsiteY7" fmla="*/ 189939 h 194207"/>
                <a:gd name="connsiteX8" fmla="*/ 6400 w 153321"/>
                <a:gd name="connsiteY8" fmla="*/ 196276 h 194207"/>
                <a:gd name="connsiteX9" fmla="*/ 6400 w 153321"/>
                <a:gd name="connsiteY9" fmla="*/ 196276 h 19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321" h="194207">
                  <a:moveTo>
                    <a:pt x="6400" y="196276"/>
                  </a:moveTo>
                  <a:cubicBezTo>
                    <a:pt x="29603" y="186873"/>
                    <a:pt x="56485" y="188406"/>
                    <a:pt x="80097" y="177878"/>
                  </a:cubicBezTo>
                  <a:cubicBezTo>
                    <a:pt x="103300" y="167554"/>
                    <a:pt x="124151" y="151813"/>
                    <a:pt x="138053" y="131268"/>
                  </a:cubicBezTo>
                  <a:cubicBezTo>
                    <a:pt x="161767" y="96208"/>
                    <a:pt x="163402" y="39173"/>
                    <a:pt x="141426" y="3193"/>
                  </a:cubicBezTo>
                  <a:cubicBezTo>
                    <a:pt x="138768" y="-1202"/>
                    <a:pt x="130182" y="-1304"/>
                    <a:pt x="129058" y="4420"/>
                  </a:cubicBezTo>
                  <a:cubicBezTo>
                    <a:pt x="120676" y="46225"/>
                    <a:pt x="140608" y="84862"/>
                    <a:pt x="114339" y="124522"/>
                  </a:cubicBezTo>
                  <a:cubicBezTo>
                    <a:pt x="98700" y="148235"/>
                    <a:pt x="72942" y="162954"/>
                    <a:pt x="45957" y="172563"/>
                  </a:cubicBezTo>
                  <a:cubicBezTo>
                    <a:pt x="29808" y="178287"/>
                    <a:pt x="14782" y="179820"/>
                    <a:pt x="1494" y="189939"/>
                  </a:cubicBezTo>
                  <a:cubicBezTo>
                    <a:pt x="-2492" y="193005"/>
                    <a:pt x="2312" y="198014"/>
                    <a:pt x="6400" y="196276"/>
                  </a:cubicBezTo>
                  <a:lnTo>
                    <a:pt x="6400" y="1962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BE3B75F0-E965-474F-A4EF-0A58AAAE3BB4}"/>
                </a:ext>
              </a:extLst>
            </p:cNvPr>
            <p:cNvSpPr/>
            <p:nvPr/>
          </p:nvSpPr>
          <p:spPr>
            <a:xfrm>
              <a:off x="9374424" y="3779378"/>
              <a:ext cx="308982" cy="95071"/>
            </a:xfrm>
            <a:custGeom>
              <a:avLst/>
              <a:gdLst>
                <a:gd name="connsiteX0" fmla="*/ 401877 w 398636"/>
                <a:gd name="connsiteY0" fmla="*/ 536 h 122657"/>
                <a:gd name="connsiteX1" fmla="*/ 195710 w 398636"/>
                <a:gd name="connsiteY1" fmla="*/ 90689 h 122657"/>
                <a:gd name="connsiteX2" fmla="*/ 86341 w 398636"/>
                <a:gd name="connsiteY2" fmla="*/ 90791 h 122657"/>
                <a:gd name="connsiteX3" fmla="*/ 13257 w 398636"/>
                <a:gd name="connsiteY3" fmla="*/ 38151 h 122657"/>
                <a:gd name="connsiteX4" fmla="*/ 787 w 398636"/>
                <a:gd name="connsiteY4" fmla="*/ 49496 h 122657"/>
                <a:gd name="connsiteX5" fmla="*/ 160855 w 398636"/>
                <a:gd name="connsiteY5" fmla="*/ 120433 h 122657"/>
                <a:gd name="connsiteX6" fmla="*/ 405045 w 398636"/>
                <a:gd name="connsiteY6" fmla="*/ 5953 h 122657"/>
                <a:gd name="connsiteX7" fmla="*/ 401877 w 398636"/>
                <a:gd name="connsiteY7" fmla="*/ 536 h 122657"/>
                <a:gd name="connsiteX8" fmla="*/ 401877 w 398636"/>
                <a:gd name="connsiteY8" fmla="*/ 53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636" h="122657">
                  <a:moveTo>
                    <a:pt x="401877" y="536"/>
                  </a:moveTo>
                  <a:cubicBezTo>
                    <a:pt x="339730" y="42546"/>
                    <a:pt x="270531" y="74846"/>
                    <a:pt x="195710" y="90689"/>
                  </a:cubicBezTo>
                  <a:cubicBezTo>
                    <a:pt x="159322" y="98355"/>
                    <a:pt x="121502" y="106634"/>
                    <a:pt x="86341" y="90791"/>
                  </a:cubicBezTo>
                  <a:cubicBezTo>
                    <a:pt x="57823" y="78014"/>
                    <a:pt x="40446" y="52256"/>
                    <a:pt x="13257" y="38151"/>
                  </a:cubicBezTo>
                  <a:cubicBezTo>
                    <a:pt x="4978" y="33858"/>
                    <a:pt x="-2484" y="41933"/>
                    <a:pt x="787" y="49496"/>
                  </a:cubicBezTo>
                  <a:cubicBezTo>
                    <a:pt x="26034" y="108781"/>
                    <a:pt x="98708" y="134948"/>
                    <a:pt x="160855" y="120433"/>
                  </a:cubicBezTo>
                  <a:cubicBezTo>
                    <a:pt x="248044" y="100195"/>
                    <a:pt x="332677" y="54914"/>
                    <a:pt x="405045" y="5953"/>
                  </a:cubicBezTo>
                  <a:cubicBezTo>
                    <a:pt x="408418" y="3704"/>
                    <a:pt x="405250" y="-1713"/>
                    <a:pt x="401877" y="536"/>
                  </a:cubicBezTo>
                  <a:lnTo>
                    <a:pt x="401877" y="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373247C6-7C7E-49BF-B8F4-C435FA484794}"/>
                </a:ext>
              </a:extLst>
            </p:cNvPr>
            <p:cNvSpPr/>
            <p:nvPr/>
          </p:nvSpPr>
          <p:spPr>
            <a:xfrm>
              <a:off x="9466197" y="2554922"/>
              <a:ext cx="198066" cy="625888"/>
            </a:xfrm>
            <a:custGeom>
              <a:avLst/>
              <a:gdLst>
                <a:gd name="connsiteX0" fmla="*/ 259863 w 255536"/>
                <a:gd name="connsiteY0" fmla="*/ 809172 h 807494"/>
                <a:gd name="connsiteX1" fmla="*/ 34173 w 255536"/>
                <a:gd name="connsiteY1" fmla="*/ 428628 h 807494"/>
                <a:gd name="connsiteX2" fmla="*/ 83338 w 255536"/>
                <a:gd name="connsiteY2" fmla="*/ 12206 h 807494"/>
                <a:gd name="connsiteX3" fmla="*/ 65451 w 255536"/>
                <a:gd name="connsiteY3" fmla="*/ 4744 h 807494"/>
                <a:gd name="connsiteX4" fmla="*/ 10868 w 255536"/>
                <a:gd name="connsiteY4" fmla="*/ 440178 h 807494"/>
                <a:gd name="connsiteX5" fmla="*/ 256285 w 255536"/>
                <a:gd name="connsiteY5" fmla="*/ 814589 h 807494"/>
                <a:gd name="connsiteX6" fmla="*/ 259863 w 255536"/>
                <a:gd name="connsiteY6" fmla="*/ 809172 h 807494"/>
                <a:gd name="connsiteX7" fmla="*/ 259863 w 255536"/>
                <a:gd name="connsiteY7" fmla="*/ 809172 h 80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536" h="807494">
                  <a:moveTo>
                    <a:pt x="259863" y="809172"/>
                  </a:moveTo>
                  <a:cubicBezTo>
                    <a:pt x="128108" y="722903"/>
                    <a:pt x="56456" y="575407"/>
                    <a:pt x="34173" y="428628"/>
                  </a:cubicBezTo>
                  <a:cubicBezTo>
                    <a:pt x="12197" y="283790"/>
                    <a:pt x="49403" y="151729"/>
                    <a:pt x="83338" y="12206"/>
                  </a:cubicBezTo>
                  <a:cubicBezTo>
                    <a:pt x="85689" y="2598"/>
                    <a:pt x="70357" y="-5477"/>
                    <a:pt x="65451" y="4744"/>
                  </a:cubicBezTo>
                  <a:cubicBezTo>
                    <a:pt x="2589" y="135681"/>
                    <a:pt x="-13561" y="299122"/>
                    <a:pt x="10868" y="440178"/>
                  </a:cubicBezTo>
                  <a:cubicBezTo>
                    <a:pt x="37035" y="591455"/>
                    <a:pt x="125655" y="724538"/>
                    <a:pt x="256285" y="814589"/>
                  </a:cubicBezTo>
                  <a:cubicBezTo>
                    <a:pt x="259863" y="817043"/>
                    <a:pt x="263542" y="811523"/>
                    <a:pt x="259863" y="809172"/>
                  </a:cubicBezTo>
                  <a:lnTo>
                    <a:pt x="259863" y="809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3BDE8D75-A69C-47DC-A350-3FFEC3C9B2CA}"/>
                </a:ext>
              </a:extLst>
            </p:cNvPr>
            <p:cNvSpPr/>
            <p:nvPr/>
          </p:nvSpPr>
          <p:spPr>
            <a:xfrm>
              <a:off x="9496903" y="2321123"/>
              <a:ext cx="150530" cy="95071"/>
            </a:xfrm>
            <a:custGeom>
              <a:avLst/>
              <a:gdLst>
                <a:gd name="connsiteX0" fmla="*/ 188458 w 194207"/>
                <a:gd name="connsiteY0" fmla="*/ 1374 h 122657"/>
                <a:gd name="connsiteX1" fmla="*/ 97999 w 194207"/>
                <a:gd name="connsiteY1" fmla="*/ 74559 h 122657"/>
                <a:gd name="connsiteX2" fmla="*/ 4575 w 194207"/>
                <a:gd name="connsiteY2" fmla="*/ 112072 h 122657"/>
                <a:gd name="connsiteX3" fmla="*/ 11014 w 194207"/>
                <a:gd name="connsiteY3" fmla="*/ 128017 h 122657"/>
                <a:gd name="connsiteX4" fmla="*/ 194182 w 194207"/>
                <a:gd name="connsiteY4" fmla="*/ 4645 h 122657"/>
                <a:gd name="connsiteX5" fmla="*/ 188458 w 194207"/>
                <a:gd name="connsiteY5" fmla="*/ 1374 h 122657"/>
                <a:gd name="connsiteX6" fmla="*/ 188458 w 194207"/>
                <a:gd name="connsiteY6" fmla="*/ 1374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207" h="122657">
                  <a:moveTo>
                    <a:pt x="188458" y="1374"/>
                  </a:moveTo>
                  <a:cubicBezTo>
                    <a:pt x="165767" y="32958"/>
                    <a:pt x="134285" y="58103"/>
                    <a:pt x="97999" y="74559"/>
                  </a:cubicBezTo>
                  <a:cubicBezTo>
                    <a:pt x="67436" y="88460"/>
                    <a:pt x="33297" y="95104"/>
                    <a:pt x="4575" y="112072"/>
                  </a:cubicBezTo>
                  <a:cubicBezTo>
                    <a:pt x="-4318" y="117285"/>
                    <a:pt x="793" y="129448"/>
                    <a:pt x="11014" y="128017"/>
                  </a:cubicBezTo>
                  <a:cubicBezTo>
                    <a:pt x="90332" y="116774"/>
                    <a:pt x="152172" y="66382"/>
                    <a:pt x="194182" y="4645"/>
                  </a:cubicBezTo>
                  <a:cubicBezTo>
                    <a:pt x="196431" y="1271"/>
                    <a:pt x="190809" y="-1897"/>
                    <a:pt x="188458" y="1374"/>
                  </a:cubicBezTo>
                  <a:lnTo>
                    <a:pt x="188458" y="13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C4D6C836-93AC-4ECA-A144-4B1218574977}"/>
                </a:ext>
              </a:extLst>
            </p:cNvPr>
            <p:cNvSpPr/>
            <p:nvPr/>
          </p:nvSpPr>
          <p:spPr>
            <a:xfrm>
              <a:off x="9365815" y="2206227"/>
              <a:ext cx="71304" cy="166375"/>
            </a:xfrm>
            <a:custGeom>
              <a:avLst/>
              <a:gdLst>
                <a:gd name="connsiteX0" fmla="*/ 63103 w 91992"/>
                <a:gd name="connsiteY0" fmla="*/ 3953 h 214650"/>
                <a:gd name="connsiteX1" fmla="*/ 73529 w 91992"/>
                <a:gd name="connsiteY1" fmla="*/ 130597 h 214650"/>
                <a:gd name="connsiteX2" fmla="*/ 49713 w 91992"/>
                <a:gd name="connsiteY2" fmla="*/ 181602 h 214650"/>
                <a:gd name="connsiteX3" fmla="*/ 2797 w 91992"/>
                <a:gd name="connsiteY3" fmla="*/ 207462 h 214650"/>
                <a:gd name="connsiteX4" fmla="*/ 8929 w 91992"/>
                <a:gd name="connsiteY4" fmla="*/ 222488 h 214650"/>
                <a:gd name="connsiteX5" fmla="*/ 68112 w 91992"/>
                <a:gd name="connsiteY5" fmla="*/ 1500 h 214650"/>
                <a:gd name="connsiteX6" fmla="*/ 63103 w 91992"/>
                <a:gd name="connsiteY6" fmla="*/ 3953 h 214650"/>
                <a:gd name="connsiteX7" fmla="*/ 63103 w 91992"/>
                <a:gd name="connsiteY7" fmla="*/ 3953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92" h="214650">
                  <a:moveTo>
                    <a:pt x="63103" y="3953"/>
                  </a:moveTo>
                  <a:cubicBezTo>
                    <a:pt x="80275" y="44634"/>
                    <a:pt x="84773" y="87871"/>
                    <a:pt x="73529" y="130597"/>
                  </a:cubicBezTo>
                  <a:cubicBezTo>
                    <a:pt x="68827" y="148484"/>
                    <a:pt x="63307" y="168212"/>
                    <a:pt x="49713" y="181602"/>
                  </a:cubicBezTo>
                  <a:cubicBezTo>
                    <a:pt x="37141" y="193970"/>
                    <a:pt x="17413" y="196730"/>
                    <a:pt x="2797" y="207462"/>
                  </a:cubicBezTo>
                  <a:cubicBezTo>
                    <a:pt x="-3234" y="211960"/>
                    <a:pt x="1263" y="222999"/>
                    <a:pt x="8929" y="222488"/>
                  </a:cubicBezTo>
                  <a:cubicBezTo>
                    <a:pt x="121876" y="214924"/>
                    <a:pt x="102558" y="69575"/>
                    <a:pt x="68112" y="1500"/>
                  </a:cubicBezTo>
                  <a:cubicBezTo>
                    <a:pt x="66476" y="-1771"/>
                    <a:pt x="61774" y="887"/>
                    <a:pt x="63103" y="3953"/>
                  </a:cubicBezTo>
                  <a:lnTo>
                    <a:pt x="63103" y="3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040801EA-A924-4EFA-A2F4-582F82052080}"/>
                </a:ext>
              </a:extLst>
            </p:cNvPr>
            <p:cNvSpPr/>
            <p:nvPr/>
          </p:nvSpPr>
          <p:spPr>
            <a:xfrm>
              <a:off x="9210235" y="2634513"/>
              <a:ext cx="198066" cy="245602"/>
            </a:xfrm>
            <a:custGeom>
              <a:avLst/>
              <a:gdLst>
                <a:gd name="connsiteX0" fmla="*/ 3178 w 255536"/>
                <a:gd name="connsiteY0" fmla="*/ 319094 h 316864"/>
                <a:gd name="connsiteX1" fmla="*/ 212411 w 255536"/>
                <a:gd name="connsiteY1" fmla="*/ 197254 h 316864"/>
                <a:gd name="connsiteX2" fmla="*/ 228663 w 255536"/>
                <a:gd name="connsiteY2" fmla="*/ 798 h 316864"/>
                <a:gd name="connsiteX3" fmla="*/ 219566 w 255536"/>
                <a:gd name="connsiteY3" fmla="*/ 7033 h 316864"/>
                <a:gd name="connsiteX4" fmla="*/ 232240 w 255536"/>
                <a:gd name="connsiteY4" fmla="*/ 103319 h 316864"/>
                <a:gd name="connsiteX5" fmla="*/ 189310 w 255536"/>
                <a:gd name="connsiteY5" fmla="*/ 198992 h 316864"/>
                <a:gd name="connsiteX6" fmla="*/ 2462 w 255536"/>
                <a:gd name="connsiteY6" fmla="*/ 312859 h 316864"/>
                <a:gd name="connsiteX7" fmla="*/ 3178 w 255536"/>
                <a:gd name="connsiteY7" fmla="*/ 319094 h 316864"/>
                <a:gd name="connsiteX8" fmla="*/ 3178 w 255536"/>
                <a:gd name="connsiteY8" fmla="*/ 319094 h 31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36" h="316864">
                  <a:moveTo>
                    <a:pt x="3178" y="319094"/>
                  </a:moveTo>
                  <a:cubicBezTo>
                    <a:pt x="91696" y="310712"/>
                    <a:pt x="163859" y="267578"/>
                    <a:pt x="212411" y="197254"/>
                  </a:cubicBezTo>
                  <a:cubicBezTo>
                    <a:pt x="245222" y="149827"/>
                    <a:pt x="296636" y="42195"/>
                    <a:pt x="228663" y="798"/>
                  </a:cubicBezTo>
                  <a:cubicBezTo>
                    <a:pt x="224574" y="-1757"/>
                    <a:pt x="217828" y="2229"/>
                    <a:pt x="219566" y="7033"/>
                  </a:cubicBezTo>
                  <a:cubicBezTo>
                    <a:pt x="231627" y="40151"/>
                    <a:pt x="240418" y="67953"/>
                    <a:pt x="232240" y="103319"/>
                  </a:cubicBezTo>
                  <a:cubicBezTo>
                    <a:pt x="224472" y="137050"/>
                    <a:pt x="209140" y="170167"/>
                    <a:pt x="189310" y="198992"/>
                  </a:cubicBezTo>
                  <a:cubicBezTo>
                    <a:pt x="147300" y="260218"/>
                    <a:pt x="79737" y="304784"/>
                    <a:pt x="2462" y="312859"/>
                  </a:cubicBezTo>
                  <a:cubicBezTo>
                    <a:pt x="-1217" y="313267"/>
                    <a:pt x="-604" y="319503"/>
                    <a:pt x="3178" y="319094"/>
                  </a:cubicBezTo>
                  <a:lnTo>
                    <a:pt x="3178" y="31909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1F9A79F1-9958-479A-8CB5-5348CF8DB6A8}"/>
                </a:ext>
              </a:extLst>
            </p:cNvPr>
            <p:cNvSpPr/>
            <p:nvPr/>
          </p:nvSpPr>
          <p:spPr>
            <a:xfrm>
              <a:off x="9242411" y="2605000"/>
              <a:ext cx="134685" cy="229756"/>
            </a:xfrm>
            <a:custGeom>
              <a:avLst/>
              <a:gdLst>
                <a:gd name="connsiteX0" fmla="*/ 3882 w 173764"/>
                <a:gd name="connsiteY0" fmla="*/ 306267 h 296421"/>
                <a:gd name="connsiteX1" fmla="*/ 144120 w 173764"/>
                <a:gd name="connsiteY1" fmla="*/ 174717 h 296421"/>
                <a:gd name="connsiteX2" fmla="*/ 171309 w 173764"/>
                <a:gd name="connsiteY2" fmla="*/ 4530 h 296421"/>
                <a:gd name="connsiteX3" fmla="*/ 154137 w 173764"/>
                <a:gd name="connsiteY3" fmla="*/ 8415 h 296421"/>
                <a:gd name="connsiteX4" fmla="*/ 132263 w 173764"/>
                <a:gd name="connsiteY4" fmla="*/ 161430 h 296421"/>
                <a:gd name="connsiteX5" fmla="*/ 2349 w 173764"/>
                <a:gd name="connsiteY5" fmla="*/ 300135 h 296421"/>
                <a:gd name="connsiteX6" fmla="*/ 3882 w 173764"/>
                <a:gd name="connsiteY6" fmla="*/ 306267 h 296421"/>
                <a:gd name="connsiteX7" fmla="*/ 3882 w 173764"/>
                <a:gd name="connsiteY7" fmla="*/ 306267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64" h="296421">
                  <a:moveTo>
                    <a:pt x="3882" y="306267"/>
                  </a:moveTo>
                  <a:cubicBezTo>
                    <a:pt x="65313" y="293082"/>
                    <a:pt x="116113" y="224598"/>
                    <a:pt x="144120" y="174717"/>
                  </a:cubicBezTo>
                  <a:cubicBezTo>
                    <a:pt x="171309" y="126370"/>
                    <a:pt x="193694" y="57886"/>
                    <a:pt x="171309" y="4530"/>
                  </a:cubicBezTo>
                  <a:cubicBezTo>
                    <a:pt x="167834" y="-3851"/>
                    <a:pt x="154444" y="544"/>
                    <a:pt x="154137" y="8415"/>
                  </a:cubicBezTo>
                  <a:cubicBezTo>
                    <a:pt x="151888" y="63202"/>
                    <a:pt x="156386" y="109402"/>
                    <a:pt x="132263" y="161430"/>
                  </a:cubicBezTo>
                  <a:cubicBezTo>
                    <a:pt x="107732" y="214479"/>
                    <a:pt x="62144" y="279794"/>
                    <a:pt x="2349" y="300135"/>
                  </a:cubicBezTo>
                  <a:cubicBezTo>
                    <a:pt x="-1536" y="301566"/>
                    <a:pt x="-309" y="307188"/>
                    <a:pt x="3882" y="306267"/>
                  </a:cubicBezTo>
                  <a:lnTo>
                    <a:pt x="3882" y="3062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AE6E2AB8-843A-4385-8F02-222701E66CBF}"/>
                </a:ext>
              </a:extLst>
            </p:cNvPr>
            <p:cNvSpPr/>
            <p:nvPr/>
          </p:nvSpPr>
          <p:spPr>
            <a:xfrm>
              <a:off x="9399250" y="2444943"/>
              <a:ext cx="118840" cy="126762"/>
            </a:xfrm>
            <a:custGeom>
              <a:avLst/>
              <a:gdLst>
                <a:gd name="connsiteX0" fmla="*/ 3816 w 153321"/>
                <a:gd name="connsiteY0" fmla="*/ 165033 h 163543"/>
                <a:gd name="connsiteX1" fmla="*/ 157342 w 153321"/>
                <a:gd name="connsiteY1" fmla="*/ 8850 h 163543"/>
                <a:gd name="connsiteX2" fmla="*/ 140579 w 153321"/>
                <a:gd name="connsiteY2" fmla="*/ 4148 h 163543"/>
                <a:gd name="connsiteX3" fmla="*/ 101022 w 153321"/>
                <a:gd name="connsiteY3" fmla="*/ 81728 h 163543"/>
                <a:gd name="connsiteX4" fmla="*/ 1159 w 153321"/>
                <a:gd name="connsiteY4" fmla="*/ 160536 h 163543"/>
                <a:gd name="connsiteX5" fmla="*/ 3816 w 153321"/>
                <a:gd name="connsiteY5" fmla="*/ 165033 h 163543"/>
                <a:gd name="connsiteX6" fmla="*/ 3816 w 153321"/>
                <a:gd name="connsiteY6" fmla="*/ 165033 h 16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21" h="163543">
                  <a:moveTo>
                    <a:pt x="3816" y="165033"/>
                  </a:moveTo>
                  <a:cubicBezTo>
                    <a:pt x="65145" y="126907"/>
                    <a:pt x="154685" y="90417"/>
                    <a:pt x="157342" y="8850"/>
                  </a:cubicBezTo>
                  <a:cubicBezTo>
                    <a:pt x="157649" y="775"/>
                    <a:pt x="144668" y="-3825"/>
                    <a:pt x="140579" y="4148"/>
                  </a:cubicBezTo>
                  <a:cubicBezTo>
                    <a:pt x="127189" y="30315"/>
                    <a:pt x="119523" y="57912"/>
                    <a:pt x="101022" y="81728"/>
                  </a:cubicBezTo>
                  <a:cubicBezTo>
                    <a:pt x="75060" y="115255"/>
                    <a:pt x="36525" y="137026"/>
                    <a:pt x="1159" y="160536"/>
                  </a:cubicBezTo>
                  <a:cubicBezTo>
                    <a:pt x="-1499" y="162376"/>
                    <a:pt x="852" y="166771"/>
                    <a:pt x="3816" y="165033"/>
                  </a:cubicBezTo>
                  <a:lnTo>
                    <a:pt x="3816" y="1650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4415E7A6-9A23-4DB0-BB76-1846F766AAAE}"/>
                </a:ext>
              </a:extLst>
            </p:cNvPr>
            <p:cNvSpPr/>
            <p:nvPr/>
          </p:nvSpPr>
          <p:spPr>
            <a:xfrm>
              <a:off x="9427963" y="2462524"/>
              <a:ext cx="110917" cy="118840"/>
            </a:xfrm>
            <a:custGeom>
              <a:avLst/>
              <a:gdLst>
                <a:gd name="connsiteX0" fmla="*/ 4591 w 143100"/>
                <a:gd name="connsiteY0" fmla="*/ 156763 h 153321"/>
                <a:gd name="connsiteX1" fmla="*/ 145545 w 143100"/>
                <a:gd name="connsiteY1" fmla="*/ 4770 h 153321"/>
                <a:gd name="connsiteX2" fmla="*/ 133484 w 143100"/>
                <a:gd name="connsiteY2" fmla="*/ 2930 h 153321"/>
                <a:gd name="connsiteX3" fmla="*/ 92803 w 143100"/>
                <a:gd name="connsiteY3" fmla="*/ 82044 h 153321"/>
                <a:gd name="connsiteX4" fmla="*/ 1525 w 143100"/>
                <a:gd name="connsiteY4" fmla="*/ 151448 h 153321"/>
                <a:gd name="connsiteX5" fmla="*/ 4591 w 143100"/>
                <a:gd name="connsiteY5" fmla="*/ 156763 h 153321"/>
                <a:gd name="connsiteX6" fmla="*/ 4591 w 143100"/>
                <a:gd name="connsiteY6" fmla="*/ 156763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100" h="153321">
                  <a:moveTo>
                    <a:pt x="4591" y="156763"/>
                  </a:moveTo>
                  <a:cubicBezTo>
                    <a:pt x="57845" y="131311"/>
                    <a:pt x="165273" y="76524"/>
                    <a:pt x="145545" y="4770"/>
                  </a:cubicBezTo>
                  <a:cubicBezTo>
                    <a:pt x="144216" y="-136"/>
                    <a:pt x="136141" y="-2078"/>
                    <a:pt x="133484" y="2930"/>
                  </a:cubicBezTo>
                  <a:cubicBezTo>
                    <a:pt x="119276" y="29915"/>
                    <a:pt x="113552" y="57717"/>
                    <a:pt x="92803" y="82044"/>
                  </a:cubicBezTo>
                  <a:cubicBezTo>
                    <a:pt x="67862" y="111277"/>
                    <a:pt x="34234" y="130903"/>
                    <a:pt x="1525" y="151448"/>
                  </a:cubicBezTo>
                  <a:cubicBezTo>
                    <a:pt x="-1848" y="153594"/>
                    <a:pt x="912" y="158603"/>
                    <a:pt x="4591" y="156763"/>
                  </a:cubicBezTo>
                  <a:lnTo>
                    <a:pt x="4591" y="1567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15C64599-8FC8-4837-9928-418F9A331F38}"/>
                </a:ext>
              </a:extLst>
            </p:cNvPr>
            <p:cNvSpPr/>
            <p:nvPr/>
          </p:nvSpPr>
          <p:spPr>
            <a:xfrm>
              <a:off x="9003717" y="2893486"/>
              <a:ext cx="118840" cy="190143"/>
            </a:xfrm>
            <a:custGeom>
              <a:avLst/>
              <a:gdLst>
                <a:gd name="connsiteX0" fmla="*/ 3862 w 153321"/>
                <a:gd name="connsiteY0" fmla="*/ 247567 h 245314"/>
                <a:gd name="connsiteX1" fmla="*/ 135514 w 153321"/>
                <a:gd name="connsiteY1" fmla="*/ 123581 h 245314"/>
                <a:gd name="connsiteX2" fmla="*/ 146043 w 153321"/>
                <a:gd name="connsiteY2" fmla="*/ 2150 h 245314"/>
                <a:gd name="connsiteX3" fmla="*/ 133470 w 153321"/>
                <a:gd name="connsiteY3" fmla="*/ 6750 h 245314"/>
                <a:gd name="connsiteX4" fmla="*/ 133470 w 153321"/>
                <a:gd name="connsiteY4" fmla="*/ 67976 h 245314"/>
                <a:gd name="connsiteX5" fmla="*/ 109859 w 153321"/>
                <a:gd name="connsiteY5" fmla="*/ 130838 h 245314"/>
                <a:gd name="connsiteX6" fmla="*/ 1409 w 153321"/>
                <a:gd name="connsiteY6" fmla="*/ 243274 h 245314"/>
                <a:gd name="connsiteX7" fmla="*/ 3862 w 153321"/>
                <a:gd name="connsiteY7" fmla="*/ 247567 h 245314"/>
                <a:gd name="connsiteX8" fmla="*/ 3862 w 153321"/>
                <a:gd name="connsiteY8" fmla="*/ 247567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21" h="245314">
                  <a:moveTo>
                    <a:pt x="3862" y="247567"/>
                  </a:moveTo>
                  <a:cubicBezTo>
                    <a:pt x="64067" y="223138"/>
                    <a:pt x="105770" y="178163"/>
                    <a:pt x="135514" y="123581"/>
                  </a:cubicBezTo>
                  <a:cubicBezTo>
                    <a:pt x="154322" y="89135"/>
                    <a:pt x="175378" y="36085"/>
                    <a:pt x="146043" y="2150"/>
                  </a:cubicBezTo>
                  <a:cubicBezTo>
                    <a:pt x="141954" y="-2552"/>
                    <a:pt x="133572" y="1128"/>
                    <a:pt x="133470" y="6750"/>
                  </a:cubicBezTo>
                  <a:cubicBezTo>
                    <a:pt x="133061" y="27499"/>
                    <a:pt x="137661" y="47022"/>
                    <a:pt x="133470" y="67976"/>
                  </a:cubicBezTo>
                  <a:cubicBezTo>
                    <a:pt x="129075" y="89645"/>
                    <a:pt x="119774" y="111008"/>
                    <a:pt x="109859" y="130838"/>
                  </a:cubicBezTo>
                  <a:cubicBezTo>
                    <a:pt x="86349" y="177550"/>
                    <a:pt x="51597" y="220480"/>
                    <a:pt x="1409" y="243274"/>
                  </a:cubicBezTo>
                  <a:cubicBezTo>
                    <a:pt x="-1657" y="244603"/>
                    <a:pt x="796" y="248793"/>
                    <a:pt x="3862" y="247567"/>
                  </a:cubicBezTo>
                  <a:lnTo>
                    <a:pt x="3862" y="2475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F6ED92D8-8C3C-4DBC-A4C0-F4DFBDF0A23E}"/>
                </a:ext>
              </a:extLst>
            </p:cNvPr>
            <p:cNvSpPr/>
            <p:nvPr/>
          </p:nvSpPr>
          <p:spPr>
            <a:xfrm>
              <a:off x="9034635" y="2914649"/>
              <a:ext cx="110917" cy="190143"/>
            </a:xfrm>
            <a:custGeom>
              <a:avLst/>
              <a:gdLst>
                <a:gd name="connsiteX0" fmla="*/ 3325 w 143100"/>
                <a:gd name="connsiteY0" fmla="*/ 248065 h 245314"/>
                <a:gd name="connsiteX1" fmla="*/ 119748 w 143100"/>
                <a:gd name="connsiteY1" fmla="*/ 139922 h 245314"/>
                <a:gd name="connsiteX2" fmla="*/ 142030 w 143100"/>
                <a:gd name="connsiteY2" fmla="*/ 3568 h 245314"/>
                <a:gd name="connsiteX3" fmla="*/ 128538 w 143100"/>
                <a:gd name="connsiteY3" fmla="*/ 4897 h 245314"/>
                <a:gd name="connsiteX4" fmla="*/ 104109 w 143100"/>
                <a:gd name="connsiteY4" fmla="*/ 132256 h 245314"/>
                <a:gd name="connsiteX5" fmla="*/ 1077 w 143100"/>
                <a:gd name="connsiteY5" fmla="*/ 244181 h 245314"/>
                <a:gd name="connsiteX6" fmla="*/ 3325 w 143100"/>
                <a:gd name="connsiteY6" fmla="*/ 248065 h 245314"/>
                <a:gd name="connsiteX7" fmla="*/ 3325 w 143100"/>
                <a:gd name="connsiteY7" fmla="*/ 248065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245314">
                  <a:moveTo>
                    <a:pt x="3325" y="248065"/>
                  </a:moveTo>
                  <a:cubicBezTo>
                    <a:pt x="53921" y="227316"/>
                    <a:pt x="94910" y="186123"/>
                    <a:pt x="119748" y="139922"/>
                  </a:cubicBezTo>
                  <a:cubicBezTo>
                    <a:pt x="140191" y="102001"/>
                    <a:pt x="160736" y="45067"/>
                    <a:pt x="142030" y="3568"/>
                  </a:cubicBezTo>
                  <a:cubicBezTo>
                    <a:pt x="139577" y="-1951"/>
                    <a:pt x="129867" y="-725"/>
                    <a:pt x="128538" y="4897"/>
                  </a:cubicBezTo>
                  <a:cubicBezTo>
                    <a:pt x="118317" y="48236"/>
                    <a:pt x="123938" y="89735"/>
                    <a:pt x="104109" y="132256"/>
                  </a:cubicBezTo>
                  <a:cubicBezTo>
                    <a:pt x="81826" y="180195"/>
                    <a:pt x="46153" y="214641"/>
                    <a:pt x="1077" y="244181"/>
                  </a:cubicBezTo>
                  <a:cubicBezTo>
                    <a:pt x="-1274" y="245816"/>
                    <a:pt x="566" y="249189"/>
                    <a:pt x="3325" y="248065"/>
                  </a:cubicBezTo>
                  <a:lnTo>
                    <a:pt x="3325" y="2480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89C87D5E-F61C-4C3D-A44B-45273FE67EFB}"/>
                </a:ext>
              </a:extLst>
            </p:cNvPr>
            <p:cNvSpPr/>
            <p:nvPr/>
          </p:nvSpPr>
          <p:spPr>
            <a:xfrm>
              <a:off x="8741064" y="2402502"/>
              <a:ext cx="110917" cy="269369"/>
            </a:xfrm>
            <a:custGeom>
              <a:avLst/>
              <a:gdLst>
                <a:gd name="connsiteX0" fmla="*/ 147905 w 143100"/>
                <a:gd name="connsiteY0" fmla="*/ 539 h 347529"/>
                <a:gd name="connsiteX1" fmla="*/ 3374 w 143100"/>
                <a:gd name="connsiteY1" fmla="*/ 189533 h 347529"/>
                <a:gd name="connsiteX2" fmla="*/ 74004 w 143100"/>
                <a:gd name="connsiteY2" fmla="*/ 356347 h 347529"/>
                <a:gd name="connsiteX3" fmla="*/ 80137 w 143100"/>
                <a:gd name="connsiteY3" fmla="*/ 346841 h 347529"/>
                <a:gd name="connsiteX4" fmla="*/ 29234 w 143100"/>
                <a:gd name="connsiteY4" fmla="*/ 168375 h 347529"/>
                <a:gd name="connsiteX5" fmla="*/ 151789 w 143100"/>
                <a:gd name="connsiteY5" fmla="*/ 5547 h 347529"/>
                <a:gd name="connsiteX6" fmla="*/ 147905 w 143100"/>
                <a:gd name="connsiteY6" fmla="*/ 539 h 347529"/>
                <a:gd name="connsiteX7" fmla="*/ 147905 w 143100"/>
                <a:gd name="connsiteY7" fmla="*/ 539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347529">
                  <a:moveTo>
                    <a:pt x="147905" y="539"/>
                  </a:moveTo>
                  <a:cubicBezTo>
                    <a:pt x="82897" y="45104"/>
                    <a:pt x="18706" y="112770"/>
                    <a:pt x="3374" y="189533"/>
                  </a:cubicBezTo>
                  <a:cubicBezTo>
                    <a:pt x="-8381" y="248409"/>
                    <a:pt x="9507" y="330896"/>
                    <a:pt x="74004" y="356347"/>
                  </a:cubicBezTo>
                  <a:cubicBezTo>
                    <a:pt x="80137" y="358800"/>
                    <a:pt x="83612" y="350828"/>
                    <a:pt x="80137" y="346841"/>
                  </a:cubicBezTo>
                  <a:cubicBezTo>
                    <a:pt x="33118" y="293485"/>
                    <a:pt x="9507" y="238392"/>
                    <a:pt x="29234" y="168375"/>
                  </a:cubicBezTo>
                  <a:cubicBezTo>
                    <a:pt x="48450" y="100402"/>
                    <a:pt x="101295" y="53690"/>
                    <a:pt x="151789" y="5547"/>
                  </a:cubicBezTo>
                  <a:cubicBezTo>
                    <a:pt x="154345" y="3196"/>
                    <a:pt x="151074" y="-1608"/>
                    <a:pt x="147905" y="539"/>
                  </a:cubicBezTo>
                  <a:lnTo>
                    <a:pt x="147905" y="5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618CA9D0-6A2D-4F49-B3E7-0B055AAA068C}"/>
                </a:ext>
              </a:extLst>
            </p:cNvPr>
            <p:cNvSpPr/>
            <p:nvPr/>
          </p:nvSpPr>
          <p:spPr>
            <a:xfrm>
              <a:off x="8770810" y="2462877"/>
              <a:ext cx="63381" cy="229756"/>
            </a:xfrm>
            <a:custGeom>
              <a:avLst/>
              <a:gdLst>
                <a:gd name="connsiteX0" fmla="*/ 86018 w 81771"/>
                <a:gd name="connsiteY0" fmla="*/ 431 h 296421"/>
                <a:gd name="connsiteX1" fmla="*/ 1998 w 81771"/>
                <a:gd name="connsiteY1" fmla="*/ 149460 h 296421"/>
                <a:gd name="connsiteX2" fmla="*/ 62611 w 81771"/>
                <a:gd name="connsiteY2" fmla="*/ 303804 h 296421"/>
                <a:gd name="connsiteX3" fmla="*/ 70277 w 81771"/>
                <a:gd name="connsiteY3" fmla="*/ 296853 h 296421"/>
                <a:gd name="connsiteX4" fmla="*/ 19885 w 81771"/>
                <a:gd name="connsiteY4" fmla="*/ 149971 h 296421"/>
                <a:gd name="connsiteX5" fmla="*/ 88574 w 81771"/>
                <a:gd name="connsiteY5" fmla="*/ 3089 h 296421"/>
                <a:gd name="connsiteX6" fmla="*/ 86018 w 81771"/>
                <a:gd name="connsiteY6" fmla="*/ 431 h 296421"/>
                <a:gd name="connsiteX7" fmla="*/ 86018 w 81771"/>
                <a:gd name="connsiteY7" fmla="*/ 431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1" h="296421">
                  <a:moveTo>
                    <a:pt x="86018" y="431"/>
                  </a:moveTo>
                  <a:cubicBezTo>
                    <a:pt x="40328" y="35082"/>
                    <a:pt x="10175" y="94877"/>
                    <a:pt x="1998" y="149460"/>
                  </a:cubicBezTo>
                  <a:cubicBezTo>
                    <a:pt x="-5873" y="202509"/>
                    <a:pt x="8540" y="276206"/>
                    <a:pt x="62611" y="303804"/>
                  </a:cubicBezTo>
                  <a:cubicBezTo>
                    <a:pt x="67313" y="306155"/>
                    <a:pt x="73037" y="301555"/>
                    <a:pt x="70277" y="296853"/>
                  </a:cubicBezTo>
                  <a:cubicBezTo>
                    <a:pt x="41453" y="247688"/>
                    <a:pt x="15797" y="209255"/>
                    <a:pt x="19885" y="149971"/>
                  </a:cubicBezTo>
                  <a:cubicBezTo>
                    <a:pt x="23667" y="95593"/>
                    <a:pt x="45746" y="40397"/>
                    <a:pt x="88574" y="3089"/>
                  </a:cubicBezTo>
                  <a:cubicBezTo>
                    <a:pt x="90516" y="1453"/>
                    <a:pt x="87960" y="-1000"/>
                    <a:pt x="86018" y="431"/>
                  </a:cubicBezTo>
                  <a:lnTo>
                    <a:pt x="86018" y="4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8A516638-7F17-421A-A211-A140D07DF941}"/>
                </a:ext>
              </a:extLst>
            </p:cNvPr>
            <p:cNvSpPr/>
            <p:nvPr/>
          </p:nvSpPr>
          <p:spPr>
            <a:xfrm>
              <a:off x="8615129" y="2639690"/>
              <a:ext cx="158453" cy="198066"/>
            </a:xfrm>
            <a:custGeom>
              <a:avLst/>
              <a:gdLst>
                <a:gd name="connsiteX0" fmla="*/ 5272 w 204428"/>
                <a:gd name="connsiteY0" fmla="*/ 253846 h 255536"/>
                <a:gd name="connsiteX1" fmla="*/ 60877 w 204428"/>
                <a:gd name="connsiteY1" fmla="*/ 100218 h 255536"/>
                <a:gd name="connsiteX2" fmla="*/ 133449 w 204428"/>
                <a:gd name="connsiteY2" fmla="*/ 44204 h 255536"/>
                <a:gd name="connsiteX3" fmla="*/ 209905 w 204428"/>
                <a:gd name="connsiteY3" fmla="*/ 14971 h 255536"/>
                <a:gd name="connsiteX4" fmla="*/ 206123 w 204428"/>
                <a:gd name="connsiteY4" fmla="*/ 47 h 255536"/>
                <a:gd name="connsiteX5" fmla="*/ 47078 w 204428"/>
                <a:gd name="connsiteY5" fmla="*/ 89792 h 255536"/>
                <a:gd name="connsiteX6" fmla="*/ 468 w 204428"/>
                <a:gd name="connsiteY6" fmla="*/ 253641 h 255536"/>
                <a:gd name="connsiteX7" fmla="*/ 5272 w 204428"/>
                <a:gd name="connsiteY7" fmla="*/ 253846 h 255536"/>
                <a:gd name="connsiteX8" fmla="*/ 5272 w 204428"/>
                <a:gd name="connsiteY8" fmla="*/ 253846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428" h="255536">
                  <a:moveTo>
                    <a:pt x="5272" y="253846"/>
                  </a:moveTo>
                  <a:cubicBezTo>
                    <a:pt x="3432" y="198343"/>
                    <a:pt x="22649" y="142739"/>
                    <a:pt x="60877" y="100218"/>
                  </a:cubicBezTo>
                  <a:cubicBezTo>
                    <a:pt x="81115" y="77730"/>
                    <a:pt x="106158" y="58514"/>
                    <a:pt x="133449" y="44204"/>
                  </a:cubicBezTo>
                  <a:cubicBezTo>
                    <a:pt x="157878" y="31325"/>
                    <a:pt x="184863" y="26214"/>
                    <a:pt x="209905" y="14971"/>
                  </a:cubicBezTo>
                  <a:cubicBezTo>
                    <a:pt x="217572" y="11495"/>
                    <a:pt x="214096" y="354"/>
                    <a:pt x="206123" y="47"/>
                  </a:cubicBezTo>
                  <a:cubicBezTo>
                    <a:pt x="144999" y="-1690"/>
                    <a:pt x="81013" y="44613"/>
                    <a:pt x="47078" y="89792"/>
                  </a:cubicBezTo>
                  <a:cubicBezTo>
                    <a:pt x="10894" y="138037"/>
                    <a:pt x="-2803" y="195175"/>
                    <a:pt x="468" y="253641"/>
                  </a:cubicBezTo>
                  <a:cubicBezTo>
                    <a:pt x="775" y="256503"/>
                    <a:pt x="5374" y="256708"/>
                    <a:pt x="5272" y="253846"/>
                  </a:cubicBezTo>
                  <a:lnTo>
                    <a:pt x="5272" y="2538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7FE2EC12-9A50-4792-A631-A0C93441CA00}"/>
                </a:ext>
              </a:extLst>
            </p:cNvPr>
            <p:cNvSpPr/>
            <p:nvPr/>
          </p:nvSpPr>
          <p:spPr>
            <a:xfrm>
              <a:off x="8636145" y="2660152"/>
              <a:ext cx="142607" cy="213911"/>
            </a:xfrm>
            <a:custGeom>
              <a:avLst/>
              <a:gdLst>
                <a:gd name="connsiteX0" fmla="*/ 7902 w 183985"/>
                <a:gd name="connsiteY0" fmla="*/ 277532 h 275978"/>
                <a:gd name="connsiteX1" fmla="*/ 50628 w 183985"/>
                <a:gd name="connsiteY1" fmla="*/ 117158 h 275978"/>
                <a:gd name="connsiteX2" fmla="*/ 103371 w 183985"/>
                <a:gd name="connsiteY2" fmla="*/ 58282 h 275978"/>
                <a:gd name="connsiteX3" fmla="*/ 186062 w 183985"/>
                <a:gd name="connsiteY3" fmla="*/ 17805 h 275978"/>
                <a:gd name="connsiteX4" fmla="*/ 188004 w 183985"/>
                <a:gd name="connsiteY4" fmla="*/ 6051 h 275978"/>
                <a:gd name="connsiteX5" fmla="*/ 48890 w 183985"/>
                <a:gd name="connsiteY5" fmla="*/ 89560 h 275978"/>
                <a:gd name="connsiteX6" fmla="*/ 4018 w 183985"/>
                <a:gd name="connsiteY6" fmla="*/ 277839 h 275978"/>
                <a:gd name="connsiteX7" fmla="*/ 7902 w 183985"/>
                <a:gd name="connsiteY7" fmla="*/ 277532 h 275978"/>
                <a:gd name="connsiteX8" fmla="*/ 7902 w 183985"/>
                <a:gd name="connsiteY8" fmla="*/ 277532 h 27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985" h="275978">
                  <a:moveTo>
                    <a:pt x="7902" y="277532"/>
                  </a:moveTo>
                  <a:cubicBezTo>
                    <a:pt x="9231" y="220292"/>
                    <a:pt x="17613" y="166527"/>
                    <a:pt x="50628" y="117158"/>
                  </a:cubicBezTo>
                  <a:cubicBezTo>
                    <a:pt x="65245" y="95386"/>
                    <a:pt x="83030" y="75454"/>
                    <a:pt x="103371" y="58282"/>
                  </a:cubicBezTo>
                  <a:cubicBezTo>
                    <a:pt x="130457" y="35386"/>
                    <a:pt x="152842" y="28947"/>
                    <a:pt x="186062" y="17805"/>
                  </a:cubicBezTo>
                  <a:cubicBezTo>
                    <a:pt x="191377" y="16068"/>
                    <a:pt x="193524" y="9219"/>
                    <a:pt x="188004" y="6051"/>
                  </a:cubicBezTo>
                  <a:cubicBezTo>
                    <a:pt x="138737" y="-22263"/>
                    <a:pt x="71377" y="56136"/>
                    <a:pt x="48890" y="89560"/>
                  </a:cubicBezTo>
                  <a:cubicBezTo>
                    <a:pt x="12400" y="143631"/>
                    <a:pt x="-9474" y="213955"/>
                    <a:pt x="4018" y="277839"/>
                  </a:cubicBezTo>
                  <a:cubicBezTo>
                    <a:pt x="4529" y="279883"/>
                    <a:pt x="7902" y="279576"/>
                    <a:pt x="7902" y="277532"/>
                  </a:cubicBezTo>
                  <a:lnTo>
                    <a:pt x="7902" y="2775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7FE4B8E9-654B-4CC6-868F-9098EF8BFDF7}"/>
                </a:ext>
              </a:extLst>
            </p:cNvPr>
            <p:cNvSpPr/>
            <p:nvPr/>
          </p:nvSpPr>
          <p:spPr>
            <a:xfrm>
              <a:off x="8893879" y="2018751"/>
              <a:ext cx="253524" cy="198066"/>
            </a:xfrm>
            <a:custGeom>
              <a:avLst/>
              <a:gdLst>
                <a:gd name="connsiteX0" fmla="*/ 4208 w 327086"/>
                <a:gd name="connsiteY0" fmla="*/ 259011 h 255536"/>
                <a:gd name="connsiteX1" fmla="*/ 140460 w 327086"/>
                <a:gd name="connsiteY1" fmla="*/ 93935 h 255536"/>
                <a:gd name="connsiteX2" fmla="*/ 234804 w 327086"/>
                <a:gd name="connsiteY2" fmla="*/ 38944 h 255536"/>
                <a:gd name="connsiteX3" fmla="*/ 325366 w 327086"/>
                <a:gd name="connsiteY3" fmla="*/ 15945 h 255536"/>
                <a:gd name="connsiteX4" fmla="*/ 324241 w 327086"/>
                <a:gd name="connsiteY4" fmla="*/ 5826 h 255536"/>
                <a:gd name="connsiteX5" fmla="*/ 140664 w 327086"/>
                <a:gd name="connsiteY5" fmla="*/ 66235 h 255536"/>
                <a:gd name="connsiteX6" fmla="*/ 324 w 327086"/>
                <a:gd name="connsiteY6" fmla="*/ 256763 h 255536"/>
                <a:gd name="connsiteX7" fmla="*/ 4208 w 327086"/>
                <a:gd name="connsiteY7" fmla="*/ 259011 h 255536"/>
                <a:gd name="connsiteX8" fmla="*/ 4208 w 327086"/>
                <a:gd name="connsiteY8" fmla="*/ 25901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086" h="255536">
                  <a:moveTo>
                    <a:pt x="4208" y="259011"/>
                  </a:moveTo>
                  <a:cubicBezTo>
                    <a:pt x="42129" y="199625"/>
                    <a:pt x="84037" y="139012"/>
                    <a:pt x="140460" y="93935"/>
                  </a:cubicBezTo>
                  <a:cubicBezTo>
                    <a:pt x="168773" y="71346"/>
                    <a:pt x="200255" y="52027"/>
                    <a:pt x="234804" y="38944"/>
                  </a:cubicBezTo>
                  <a:cubicBezTo>
                    <a:pt x="264242" y="27802"/>
                    <a:pt x="296950" y="28007"/>
                    <a:pt x="325366" y="15945"/>
                  </a:cubicBezTo>
                  <a:cubicBezTo>
                    <a:pt x="330476" y="13799"/>
                    <a:pt x="328432" y="7462"/>
                    <a:pt x="324241" y="5826"/>
                  </a:cubicBezTo>
                  <a:cubicBezTo>
                    <a:pt x="266490" y="-16865"/>
                    <a:pt x="182981" y="31687"/>
                    <a:pt x="140664" y="66235"/>
                  </a:cubicBezTo>
                  <a:cubicBezTo>
                    <a:pt x="77598" y="117751"/>
                    <a:pt x="37632" y="187666"/>
                    <a:pt x="324" y="256763"/>
                  </a:cubicBezTo>
                  <a:cubicBezTo>
                    <a:pt x="-1107" y="259216"/>
                    <a:pt x="2572" y="261362"/>
                    <a:pt x="4208" y="259011"/>
                  </a:cubicBezTo>
                  <a:lnTo>
                    <a:pt x="4208" y="25901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F32D300E-6BF2-4D5F-82FC-6028C2F811BD}"/>
                </a:ext>
              </a:extLst>
            </p:cNvPr>
            <p:cNvSpPr/>
            <p:nvPr/>
          </p:nvSpPr>
          <p:spPr>
            <a:xfrm>
              <a:off x="8932762" y="2025079"/>
              <a:ext cx="229756" cy="198066"/>
            </a:xfrm>
            <a:custGeom>
              <a:avLst/>
              <a:gdLst>
                <a:gd name="connsiteX0" fmla="*/ 5048 w 296421"/>
                <a:gd name="connsiteY0" fmla="*/ 260251 h 255536"/>
                <a:gd name="connsiteX1" fmla="*/ 122084 w 296421"/>
                <a:gd name="connsiteY1" fmla="*/ 99264 h 255536"/>
                <a:gd name="connsiteX2" fmla="*/ 296972 w 296421"/>
                <a:gd name="connsiteY2" fmla="*/ 17083 h 255536"/>
                <a:gd name="connsiteX3" fmla="*/ 292679 w 296421"/>
                <a:gd name="connsiteY3" fmla="*/ 13 h 255536"/>
                <a:gd name="connsiteX4" fmla="*/ 142 w 296421"/>
                <a:gd name="connsiteY4" fmla="*/ 258923 h 255536"/>
                <a:gd name="connsiteX5" fmla="*/ 5048 w 296421"/>
                <a:gd name="connsiteY5" fmla="*/ 260251 h 255536"/>
                <a:gd name="connsiteX6" fmla="*/ 5048 w 296421"/>
                <a:gd name="connsiteY6" fmla="*/ 26025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255536">
                  <a:moveTo>
                    <a:pt x="5048" y="260251"/>
                  </a:moveTo>
                  <a:cubicBezTo>
                    <a:pt x="29273" y="197696"/>
                    <a:pt x="67092" y="141683"/>
                    <a:pt x="122084" y="99264"/>
                  </a:cubicBezTo>
                  <a:cubicBezTo>
                    <a:pt x="175746" y="57764"/>
                    <a:pt x="233906" y="40592"/>
                    <a:pt x="296972" y="17083"/>
                  </a:cubicBezTo>
                  <a:cubicBezTo>
                    <a:pt x="305763" y="13812"/>
                    <a:pt x="301879" y="-498"/>
                    <a:pt x="292679" y="13"/>
                  </a:cubicBezTo>
                  <a:cubicBezTo>
                    <a:pt x="155201" y="7679"/>
                    <a:pt x="33873" y="141069"/>
                    <a:pt x="142" y="258923"/>
                  </a:cubicBezTo>
                  <a:cubicBezTo>
                    <a:pt x="-880" y="261989"/>
                    <a:pt x="3924" y="263216"/>
                    <a:pt x="5048" y="260251"/>
                  </a:cubicBezTo>
                  <a:lnTo>
                    <a:pt x="5048" y="2602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C72B4F8C-AE5C-46D1-8614-2BC12C735EAD}"/>
                </a:ext>
              </a:extLst>
            </p:cNvPr>
            <p:cNvSpPr/>
            <p:nvPr/>
          </p:nvSpPr>
          <p:spPr>
            <a:xfrm>
              <a:off x="9157523" y="1753751"/>
              <a:ext cx="301060" cy="134685"/>
            </a:xfrm>
            <a:custGeom>
              <a:avLst/>
              <a:gdLst>
                <a:gd name="connsiteX0" fmla="*/ 3826 w 388414"/>
                <a:gd name="connsiteY0" fmla="*/ 173648 h 173764"/>
                <a:gd name="connsiteX1" fmla="*/ 177795 w 388414"/>
                <a:gd name="connsiteY1" fmla="*/ 42302 h 173764"/>
                <a:gd name="connsiteX2" fmla="*/ 379669 w 388414"/>
                <a:gd name="connsiteY2" fmla="*/ 39031 h 173764"/>
                <a:gd name="connsiteX3" fmla="*/ 385393 w 388414"/>
                <a:gd name="connsiteY3" fmla="*/ 26868 h 173764"/>
                <a:gd name="connsiteX4" fmla="*/ 169822 w 388414"/>
                <a:gd name="connsiteY4" fmla="*/ 25743 h 173764"/>
                <a:gd name="connsiteX5" fmla="*/ 146 w 388414"/>
                <a:gd name="connsiteY5" fmla="*/ 172625 h 173764"/>
                <a:gd name="connsiteX6" fmla="*/ 3826 w 388414"/>
                <a:gd name="connsiteY6" fmla="*/ 173648 h 173764"/>
                <a:gd name="connsiteX7" fmla="*/ 3826 w 388414"/>
                <a:gd name="connsiteY7" fmla="*/ 173648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414" h="173764">
                  <a:moveTo>
                    <a:pt x="3826" y="173648"/>
                  </a:moveTo>
                  <a:cubicBezTo>
                    <a:pt x="31424" y="108128"/>
                    <a:pt x="111560" y="66527"/>
                    <a:pt x="177795" y="42302"/>
                  </a:cubicBezTo>
                  <a:cubicBezTo>
                    <a:pt x="248119" y="16544"/>
                    <a:pt x="308527" y="20019"/>
                    <a:pt x="379669" y="39031"/>
                  </a:cubicBezTo>
                  <a:cubicBezTo>
                    <a:pt x="387744" y="41178"/>
                    <a:pt x="391730" y="31161"/>
                    <a:pt x="385393" y="26868"/>
                  </a:cubicBezTo>
                  <a:cubicBezTo>
                    <a:pt x="324268" y="-15245"/>
                    <a:pt x="234218" y="-1752"/>
                    <a:pt x="169822" y="25743"/>
                  </a:cubicBezTo>
                  <a:cubicBezTo>
                    <a:pt x="102361" y="54466"/>
                    <a:pt x="24473" y="103324"/>
                    <a:pt x="146" y="172625"/>
                  </a:cubicBezTo>
                  <a:cubicBezTo>
                    <a:pt x="-773" y="174874"/>
                    <a:pt x="2906" y="175794"/>
                    <a:pt x="3826" y="173648"/>
                  </a:cubicBezTo>
                  <a:lnTo>
                    <a:pt x="3826" y="1736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6" name="任意多边形: 形状 725">
              <a:extLst>
                <a:ext uri="{FF2B5EF4-FFF2-40B4-BE49-F238E27FC236}">
                  <a16:creationId xmlns:a16="http://schemas.microsoft.com/office/drawing/2014/main" id="{F52F4C6A-F32E-4DEB-8528-4755C7373AB6}"/>
                </a:ext>
              </a:extLst>
            </p:cNvPr>
            <p:cNvSpPr/>
            <p:nvPr/>
          </p:nvSpPr>
          <p:spPr>
            <a:xfrm>
              <a:off x="9152323" y="1806712"/>
              <a:ext cx="142607" cy="261447"/>
            </a:xfrm>
            <a:custGeom>
              <a:avLst/>
              <a:gdLst>
                <a:gd name="connsiteX0" fmla="*/ 186855 w 183985"/>
                <a:gd name="connsiteY0" fmla="*/ 141 h 337307"/>
                <a:gd name="connsiteX1" fmla="*/ 14726 w 183985"/>
                <a:gd name="connsiteY1" fmla="*/ 145183 h 337307"/>
                <a:gd name="connsiteX2" fmla="*/ 39360 w 183985"/>
                <a:gd name="connsiteY2" fmla="*/ 336222 h 337307"/>
                <a:gd name="connsiteX3" fmla="*/ 53567 w 183985"/>
                <a:gd name="connsiteY3" fmla="*/ 326307 h 337307"/>
                <a:gd name="connsiteX4" fmla="*/ 38031 w 183985"/>
                <a:gd name="connsiteY4" fmla="*/ 145694 h 337307"/>
                <a:gd name="connsiteX5" fmla="*/ 188695 w 183985"/>
                <a:gd name="connsiteY5" fmla="*/ 3412 h 337307"/>
                <a:gd name="connsiteX6" fmla="*/ 186855 w 183985"/>
                <a:gd name="connsiteY6" fmla="*/ 141 h 337307"/>
                <a:gd name="connsiteX7" fmla="*/ 186855 w 183985"/>
                <a:gd name="connsiteY7" fmla="*/ 141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985" h="337307">
                  <a:moveTo>
                    <a:pt x="186855" y="141"/>
                  </a:moveTo>
                  <a:cubicBezTo>
                    <a:pt x="114692" y="26512"/>
                    <a:pt x="43755" y="74757"/>
                    <a:pt x="14726" y="145183"/>
                  </a:cubicBezTo>
                  <a:cubicBezTo>
                    <a:pt x="-9908" y="204979"/>
                    <a:pt x="-4899" y="285421"/>
                    <a:pt x="39360" y="336222"/>
                  </a:cubicBezTo>
                  <a:cubicBezTo>
                    <a:pt x="46310" y="344195"/>
                    <a:pt x="57043" y="334382"/>
                    <a:pt x="53567" y="326307"/>
                  </a:cubicBezTo>
                  <a:cubicBezTo>
                    <a:pt x="27707" y="265592"/>
                    <a:pt x="13806" y="209680"/>
                    <a:pt x="38031" y="145694"/>
                  </a:cubicBezTo>
                  <a:cubicBezTo>
                    <a:pt x="63687" y="78028"/>
                    <a:pt x="123789" y="35814"/>
                    <a:pt x="188695" y="3412"/>
                  </a:cubicBezTo>
                  <a:cubicBezTo>
                    <a:pt x="191046" y="2287"/>
                    <a:pt x="189104" y="-677"/>
                    <a:pt x="186855" y="141"/>
                  </a:cubicBezTo>
                  <a:lnTo>
                    <a:pt x="186855" y="1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7" name="任意多边形: 形状 726">
              <a:extLst>
                <a:ext uri="{FF2B5EF4-FFF2-40B4-BE49-F238E27FC236}">
                  <a16:creationId xmlns:a16="http://schemas.microsoft.com/office/drawing/2014/main" id="{D27114DA-98D3-49B5-AAEE-80C4B87A2622}"/>
                </a:ext>
              </a:extLst>
            </p:cNvPr>
            <p:cNvSpPr/>
            <p:nvPr/>
          </p:nvSpPr>
          <p:spPr>
            <a:xfrm>
              <a:off x="9129976" y="1740653"/>
              <a:ext cx="229756" cy="166375"/>
            </a:xfrm>
            <a:custGeom>
              <a:avLst/>
              <a:gdLst>
                <a:gd name="connsiteX0" fmla="*/ 4716 w 296421"/>
                <a:gd name="connsiteY0" fmla="*/ 219984 h 214650"/>
                <a:gd name="connsiteX1" fmla="*/ 133813 w 296421"/>
                <a:gd name="connsiteY1" fmla="*/ 68706 h 214650"/>
                <a:gd name="connsiteX2" fmla="*/ 213029 w 296421"/>
                <a:gd name="connsiteY2" fmla="*/ 33033 h 214650"/>
                <a:gd name="connsiteX3" fmla="*/ 301547 w 296421"/>
                <a:gd name="connsiteY3" fmla="*/ 14941 h 214650"/>
                <a:gd name="connsiteX4" fmla="*/ 301854 w 296421"/>
                <a:gd name="connsiteY4" fmla="*/ 3493 h 214650"/>
                <a:gd name="connsiteX5" fmla="*/ 101922 w 296421"/>
                <a:gd name="connsiteY5" fmla="*/ 69422 h 214650"/>
                <a:gd name="connsiteX6" fmla="*/ 14 w 296421"/>
                <a:gd name="connsiteY6" fmla="*/ 219984 h 214650"/>
                <a:gd name="connsiteX7" fmla="*/ 4716 w 296421"/>
                <a:gd name="connsiteY7" fmla="*/ 219984 h 214650"/>
                <a:gd name="connsiteX8" fmla="*/ 4716 w 296421"/>
                <a:gd name="connsiteY8" fmla="*/ 219984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421" h="214650">
                  <a:moveTo>
                    <a:pt x="4716" y="219984"/>
                  </a:moveTo>
                  <a:cubicBezTo>
                    <a:pt x="14120" y="147616"/>
                    <a:pt x="69622" y="102028"/>
                    <a:pt x="133813" y="68706"/>
                  </a:cubicBezTo>
                  <a:cubicBezTo>
                    <a:pt x="159264" y="55418"/>
                    <a:pt x="185840" y="42744"/>
                    <a:pt x="213029" y="33033"/>
                  </a:cubicBezTo>
                  <a:cubicBezTo>
                    <a:pt x="242569" y="22403"/>
                    <a:pt x="270985" y="20870"/>
                    <a:pt x="301547" y="14941"/>
                  </a:cubicBezTo>
                  <a:cubicBezTo>
                    <a:pt x="307680" y="13715"/>
                    <a:pt x="307884" y="5027"/>
                    <a:pt x="301854" y="3493"/>
                  </a:cubicBezTo>
                  <a:cubicBezTo>
                    <a:pt x="236334" y="-13576"/>
                    <a:pt x="153029" y="35691"/>
                    <a:pt x="101922" y="69422"/>
                  </a:cubicBezTo>
                  <a:cubicBezTo>
                    <a:pt x="48157" y="104890"/>
                    <a:pt x="5227" y="156713"/>
                    <a:pt x="14" y="219984"/>
                  </a:cubicBezTo>
                  <a:cubicBezTo>
                    <a:pt x="-292" y="222743"/>
                    <a:pt x="4410" y="222743"/>
                    <a:pt x="4716" y="219984"/>
                  </a:cubicBezTo>
                  <a:lnTo>
                    <a:pt x="4716" y="2199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B8EFF1D2-CAF5-4F0D-85DD-8B63E0FCD604}"/>
                </a:ext>
              </a:extLst>
            </p:cNvPr>
            <p:cNvSpPr/>
            <p:nvPr/>
          </p:nvSpPr>
          <p:spPr>
            <a:xfrm>
              <a:off x="8888076" y="2142951"/>
              <a:ext cx="293137" cy="253524"/>
            </a:xfrm>
            <a:custGeom>
              <a:avLst/>
              <a:gdLst>
                <a:gd name="connsiteX0" fmla="*/ 41 w 378193"/>
                <a:gd name="connsiteY0" fmla="*/ 234208 h 327086"/>
                <a:gd name="connsiteX1" fmla="*/ 97247 w 378193"/>
                <a:gd name="connsiteY1" fmla="*/ 332743 h 327086"/>
                <a:gd name="connsiteX2" fmla="*/ 253533 w 378193"/>
                <a:gd name="connsiteY2" fmla="*/ 285111 h 327086"/>
                <a:gd name="connsiteX3" fmla="*/ 332954 w 378193"/>
                <a:gd name="connsiteY3" fmla="*/ 226440 h 327086"/>
                <a:gd name="connsiteX4" fmla="*/ 378337 w 378193"/>
                <a:gd name="connsiteY4" fmla="*/ 174719 h 327086"/>
                <a:gd name="connsiteX5" fmla="*/ 346139 w 378193"/>
                <a:gd name="connsiteY5" fmla="*/ 115639 h 327086"/>
                <a:gd name="connsiteX6" fmla="*/ 297996 w 378193"/>
                <a:gd name="connsiteY6" fmla="*/ 5759 h 327086"/>
                <a:gd name="connsiteX7" fmla="*/ 281949 w 378193"/>
                <a:gd name="connsiteY7" fmla="*/ 7292 h 327086"/>
                <a:gd name="connsiteX8" fmla="*/ 317519 w 378193"/>
                <a:gd name="connsiteY8" fmla="*/ 100103 h 327086"/>
                <a:gd name="connsiteX9" fmla="*/ 340824 w 378193"/>
                <a:gd name="connsiteY9" fmla="*/ 192913 h 327086"/>
                <a:gd name="connsiteX10" fmla="*/ 286139 w 378193"/>
                <a:gd name="connsiteY10" fmla="*/ 242487 h 327086"/>
                <a:gd name="connsiteX11" fmla="*/ 151216 w 378193"/>
                <a:gd name="connsiteY11" fmla="*/ 322317 h 327086"/>
                <a:gd name="connsiteX12" fmla="*/ 10876 w 378193"/>
                <a:gd name="connsiteY12" fmla="*/ 230324 h 327086"/>
                <a:gd name="connsiteX13" fmla="*/ 41 w 378193"/>
                <a:gd name="connsiteY13" fmla="*/ 234208 h 327086"/>
                <a:gd name="connsiteX14" fmla="*/ 41 w 378193"/>
                <a:gd name="connsiteY14" fmla="*/ 234208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8193" h="327086">
                  <a:moveTo>
                    <a:pt x="41" y="234208"/>
                  </a:moveTo>
                  <a:cubicBezTo>
                    <a:pt x="6787" y="284497"/>
                    <a:pt x="44402" y="323543"/>
                    <a:pt x="97247" y="332743"/>
                  </a:cubicBezTo>
                  <a:cubicBezTo>
                    <a:pt x="153874" y="342657"/>
                    <a:pt x="207434" y="313015"/>
                    <a:pt x="253533" y="285111"/>
                  </a:cubicBezTo>
                  <a:cubicBezTo>
                    <a:pt x="281846" y="267939"/>
                    <a:pt x="308320" y="248109"/>
                    <a:pt x="332954" y="226440"/>
                  </a:cubicBezTo>
                  <a:cubicBezTo>
                    <a:pt x="347877" y="213356"/>
                    <a:pt x="374555" y="195571"/>
                    <a:pt x="378337" y="174719"/>
                  </a:cubicBezTo>
                  <a:cubicBezTo>
                    <a:pt x="382221" y="153050"/>
                    <a:pt x="357383" y="131585"/>
                    <a:pt x="346139" y="115639"/>
                  </a:cubicBezTo>
                  <a:cubicBezTo>
                    <a:pt x="321097" y="80375"/>
                    <a:pt x="304845" y="48075"/>
                    <a:pt x="297996" y="5759"/>
                  </a:cubicBezTo>
                  <a:cubicBezTo>
                    <a:pt x="296565" y="-2827"/>
                    <a:pt x="281744" y="-1396"/>
                    <a:pt x="281949" y="7292"/>
                  </a:cubicBezTo>
                  <a:cubicBezTo>
                    <a:pt x="282664" y="41534"/>
                    <a:pt x="295236" y="73016"/>
                    <a:pt x="317519" y="100103"/>
                  </a:cubicBezTo>
                  <a:cubicBezTo>
                    <a:pt x="342766" y="130767"/>
                    <a:pt x="374146" y="158058"/>
                    <a:pt x="340824" y="192913"/>
                  </a:cubicBezTo>
                  <a:cubicBezTo>
                    <a:pt x="323959" y="210596"/>
                    <a:pt x="305458" y="227155"/>
                    <a:pt x="286139" y="242487"/>
                  </a:cubicBezTo>
                  <a:cubicBezTo>
                    <a:pt x="248013" y="272641"/>
                    <a:pt x="200177" y="309438"/>
                    <a:pt x="151216" y="322317"/>
                  </a:cubicBezTo>
                  <a:cubicBezTo>
                    <a:pt x="82119" y="340409"/>
                    <a:pt x="33976" y="283271"/>
                    <a:pt x="10876" y="230324"/>
                  </a:cubicBezTo>
                  <a:cubicBezTo>
                    <a:pt x="8116" y="224191"/>
                    <a:pt x="-674" y="228586"/>
                    <a:pt x="41" y="234208"/>
                  </a:cubicBezTo>
                  <a:lnTo>
                    <a:pt x="41" y="2342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2FA2A68A-CBBB-4985-BB69-57D88B4A5D52}"/>
                </a:ext>
              </a:extLst>
            </p:cNvPr>
            <p:cNvSpPr/>
            <p:nvPr/>
          </p:nvSpPr>
          <p:spPr>
            <a:xfrm>
              <a:off x="9042973" y="2185441"/>
              <a:ext cx="126762" cy="79226"/>
            </a:xfrm>
            <a:custGeom>
              <a:avLst/>
              <a:gdLst>
                <a:gd name="connsiteX0" fmla="*/ 234 w 163543"/>
                <a:gd name="connsiteY0" fmla="*/ 4501 h 102214"/>
                <a:gd name="connsiteX1" fmla="*/ 166844 w 163543"/>
                <a:gd name="connsiteY1" fmla="*/ 111009 h 102214"/>
                <a:gd name="connsiteX2" fmla="*/ 165719 w 163543"/>
                <a:gd name="connsiteY2" fmla="*/ 100480 h 102214"/>
                <a:gd name="connsiteX3" fmla="*/ 63300 w 163543"/>
                <a:gd name="connsiteY3" fmla="*/ 63172 h 102214"/>
                <a:gd name="connsiteX4" fmla="*/ 5140 w 163543"/>
                <a:gd name="connsiteY4" fmla="*/ 1026 h 102214"/>
                <a:gd name="connsiteX5" fmla="*/ 234 w 163543"/>
                <a:gd name="connsiteY5" fmla="*/ 4501 h 102214"/>
                <a:gd name="connsiteX6" fmla="*/ 234 w 163543"/>
                <a:gd name="connsiteY6" fmla="*/ 4501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543" h="102214">
                  <a:moveTo>
                    <a:pt x="234" y="4501"/>
                  </a:moveTo>
                  <a:cubicBezTo>
                    <a:pt x="23743" y="55608"/>
                    <a:pt x="104391" y="118572"/>
                    <a:pt x="166844" y="111009"/>
                  </a:cubicBezTo>
                  <a:cubicBezTo>
                    <a:pt x="173692" y="110191"/>
                    <a:pt x="171443" y="101298"/>
                    <a:pt x="165719" y="100480"/>
                  </a:cubicBezTo>
                  <a:cubicBezTo>
                    <a:pt x="128104" y="95063"/>
                    <a:pt x="93863" y="86170"/>
                    <a:pt x="63300" y="63172"/>
                  </a:cubicBezTo>
                  <a:cubicBezTo>
                    <a:pt x="39689" y="45387"/>
                    <a:pt x="23641" y="23104"/>
                    <a:pt x="5140" y="1026"/>
                  </a:cubicBezTo>
                  <a:cubicBezTo>
                    <a:pt x="2892" y="-1734"/>
                    <a:pt x="-992" y="1639"/>
                    <a:pt x="234" y="4501"/>
                  </a:cubicBezTo>
                  <a:lnTo>
                    <a:pt x="234" y="4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0" name="任意多边形: 形状 729">
              <a:extLst>
                <a:ext uri="{FF2B5EF4-FFF2-40B4-BE49-F238E27FC236}">
                  <a16:creationId xmlns:a16="http://schemas.microsoft.com/office/drawing/2014/main" id="{E1E76F74-7CDA-40EC-AB2B-16E272FECD8E}"/>
                </a:ext>
              </a:extLst>
            </p:cNvPr>
            <p:cNvSpPr/>
            <p:nvPr/>
          </p:nvSpPr>
          <p:spPr>
            <a:xfrm>
              <a:off x="9332961" y="1957225"/>
              <a:ext cx="63381" cy="174298"/>
            </a:xfrm>
            <a:custGeom>
              <a:avLst/>
              <a:gdLst>
                <a:gd name="connsiteX0" fmla="*/ 80447 w 81771"/>
                <a:gd name="connsiteY0" fmla="*/ 229736 h 224871"/>
                <a:gd name="connsiteX1" fmla="*/ 15030 w 81771"/>
                <a:gd name="connsiteY1" fmla="*/ 2309 h 224871"/>
                <a:gd name="connsiteX2" fmla="*/ 1129 w 81771"/>
                <a:gd name="connsiteY2" fmla="*/ 12019 h 224871"/>
                <a:gd name="connsiteX3" fmla="*/ 73701 w 81771"/>
                <a:gd name="connsiteY3" fmla="*/ 227896 h 224871"/>
                <a:gd name="connsiteX4" fmla="*/ 80447 w 81771"/>
                <a:gd name="connsiteY4" fmla="*/ 229736 h 224871"/>
                <a:gd name="connsiteX5" fmla="*/ 80447 w 81771"/>
                <a:gd name="connsiteY5" fmla="*/ 229736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24871">
                  <a:moveTo>
                    <a:pt x="80447" y="229736"/>
                  </a:moveTo>
                  <a:cubicBezTo>
                    <a:pt x="104672" y="153484"/>
                    <a:pt x="76359" y="56687"/>
                    <a:pt x="15030" y="2309"/>
                  </a:cubicBezTo>
                  <a:cubicBezTo>
                    <a:pt x="7977" y="-3927"/>
                    <a:pt x="-3675" y="3535"/>
                    <a:pt x="1129" y="12019"/>
                  </a:cubicBezTo>
                  <a:cubicBezTo>
                    <a:pt x="42117" y="85000"/>
                    <a:pt x="100379" y="138254"/>
                    <a:pt x="73701" y="227896"/>
                  </a:cubicBezTo>
                  <a:cubicBezTo>
                    <a:pt x="72474" y="231984"/>
                    <a:pt x="79118" y="233824"/>
                    <a:pt x="80447" y="229736"/>
                  </a:cubicBezTo>
                  <a:lnTo>
                    <a:pt x="80447" y="2297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1" name="任意多边形: 形状 730">
              <a:extLst>
                <a:ext uri="{FF2B5EF4-FFF2-40B4-BE49-F238E27FC236}">
                  <a16:creationId xmlns:a16="http://schemas.microsoft.com/office/drawing/2014/main" id="{2051A0D0-6E87-4D27-AA52-3B850E867EC7}"/>
                </a:ext>
              </a:extLst>
            </p:cNvPr>
            <p:cNvSpPr/>
            <p:nvPr/>
          </p:nvSpPr>
          <p:spPr>
            <a:xfrm>
              <a:off x="9312395" y="1974334"/>
              <a:ext cx="63381" cy="95071"/>
            </a:xfrm>
            <a:custGeom>
              <a:avLst/>
              <a:gdLst>
                <a:gd name="connsiteX0" fmla="*/ 82449 w 81771"/>
                <a:gd name="connsiteY0" fmla="*/ 128856 h 122657"/>
                <a:gd name="connsiteX1" fmla="*/ 7628 w 81771"/>
                <a:gd name="connsiteY1" fmla="*/ 372 h 122657"/>
                <a:gd name="connsiteX2" fmla="*/ 1496 w 81771"/>
                <a:gd name="connsiteY2" fmla="*/ 9878 h 122657"/>
                <a:gd name="connsiteX3" fmla="*/ 48310 w 81771"/>
                <a:gd name="connsiteY3" fmla="*/ 54648 h 122657"/>
                <a:gd name="connsiteX4" fmla="*/ 77032 w 81771"/>
                <a:gd name="connsiteY4" fmla="*/ 128753 h 122657"/>
                <a:gd name="connsiteX5" fmla="*/ 82449 w 81771"/>
                <a:gd name="connsiteY5" fmla="*/ 128856 h 122657"/>
                <a:gd name="connsiteX6" fmla="*/ 82449 w 81771"/>
                <a:gd name="connsiteY6" fmla="*/ 12885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771" h="122657">
                  <a:moveTo>
                    <a:pt x="82449" y="128856"/>
                  </a:moveTo>
                  <a:cubicBezTo>
                    <a:pt x="80712" y="82553"/>
                    <a:pt x="57509" y="18566"/>
                    <a:pt x="7628" y="372"/>
                  </a:cubicBezTo>
                  <a:cubicBezTo>
                    <a:pt x="1598" y="-1774"/>
                    <a:pt x="-2286" y="5892"/>
                    <a:pt x="1496" y="9878"/>
                  </a:cubicBezTo>
                  <a:cubicBezTo>
                    <a:pt x="16623" y="25721"/>
                    <a:pt x="35022" y="36863"/>
                    <a:pt x="48310" y="54648"/>
                  </a:cubicBezTo>
                  <a:cubicBezTo>
                    <a:pt x="65175" y="77033"/>
                    <a:pt x="74272" y="101360"/>
                    <a:pt x="77032" y="128753"/>
                  </a:cubicBezTo>
                  <a:cubicBezTo>
                    <a:pt x="77441" y="131922"/>
                    <a:pt x="82654" y="132229"/>
                    <a:pt x="82449" y="128856"/>
                  </a:cubicBezTo>
                  <a:lnTo>
                    <a:pt x="82449" y="1288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2" name="任意多边形: 形状 731">
              <a:extLst>
                <a:ext uri="{FF2B5EF4-FFF2-40B4-BE49-F238E27FC236}">
                  <a16:creationId xmlns:a16="http://schemas.microsoft.com/office/drawing/2014/main" id="{6B167E1D-7F3E-443B-96E8-9B5014FB21FF}"/>
                </a:ext>
              </a:extLst>
            </p:cNvPr>
            <p:cNvSpPr/>
            <p:nvPr/>
          </p:nvSpPr>
          <p:spPr>
            <a:xfrm>
              <a:off x="9424756" y="1926411"/>
              <a:ext cx="71304" cy="190143"/>
            </a:xfrm>
            <a:custGeom>
              <a:avLst/>
              <a:gdLst>
                <a:gd name="connsiteX0" fmla="*/ 89582 w 91992"/>
                <a:gd name="connsiteY0" fmla="*/ 251399 h 245314"/>
                <a:gd name="connsiteX1" fmla="*/ 82324 w 91992"/>
                <a:gd name="connsiteY1" fmla="*/ 106459 h 245314"/>
                <a:gd name="connsiteX2" fmla="*/ 15783 w 91992"/>
                <a:gd name="connsiteY2" fmla="*/ 1280 h 245314"/>
                <a:gd name="connsiteX3" fmla="*/ 3210 w 91992"/>
                <a:gd name="connsiteY3" fmla="*/ 16203 h 245314"/>
                <a:gd name="connsiteX4" fmla="*/ 84982 w 91992"/>
                <a:gd name="connsiteY4" fmla="*/ 251296 h 245314"/>
                <a:gd name="connsiteX5" fmla="*/ 89582 w 91992"/>
                <a:gd name="connsiteY5" fmla="*/ 251399 h 245314"/>
                <a:gd name="connsiteX6" fmla="*/ 89582 w 91992"/>
                <a:gd name="connsiteY6" fmla="*/ 251399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92" h="245314">
                  <a:moveTo>
                    <a:pt x="89582" y="251399"/>
                  </a:moveTo>
                  <a:cubicBezTo>
                    <a:pt x="97350" y="202642"/>
                    <a:pt x="96225" y="154193"/>
                    <a:pt x="82324" y="106459"/>
                  </a:cubicBezTo>
                  <a:cubicBezTo>
                    <a:pt x="71490" y="68946"/>
                    <a:pt x="52580" y="22029"/>
                    <a:pt x="15783" y="1280"/>
                  </a:cubicBezTo>
                  <a:cubicBezTo>
                    <a:pt x="6277" y="-4138"/>
                    <a:pt x="-5887" y="8946"/>
                    <a:pt x="3210" y="16203"/>
                  </a:cubicBezTo>
                  <a:cubicBezTo>
                    <a:pt x="70672" y="70581"/>
                    <a:pt x="95817" y="171263"/>
                    <a:pt x="84982" y="251296"/>
                  </a:cubicBezTo>
                  <a:cubicBezTo>
                    <a:pt x="84573" y="254056"/>
                    <a:pt x="89173" y="254056"/>
                    <a:pt x="89582" y="251399"/>
                  </a:cubicBezTo>
                  <a:lnTo>
                    <a:pt x="89582" y="2513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3" name="任意多边形: 形状 732">
              <a:extLst>
                <a:ext uri="{FF2B5EF4-FFF2-40B4-BE49-F238E27FC236}">
                  <a16:creationId xmlns:a16="http://schemas.microsoft.com/office/drawing/2014/main" id="{26EDD339-9A0D-403D-B433-57A3FE106CDB}"/>
                </a:ext>
              </a:extLst>
            </p:cNvPr>
            <p:cNvSpPr/>
            <p:nvPr/>
          </p:nvSpPr>
          <p:spPr>
            <a:xfrm>
              <a:off x="9408008" y="1931807"/>
              <a:ext cx="47536" cy="102994"/>
            </a:xfrm>
            <a:custGeom>
              <a:avLst/>
              <a:gdLst>
                <a:gd name="connsiteX0" fmla="*/ 70609 w 61328"/>
                <a:gd name="connsiteY0" fmla="*/ 136499 h 132878"/>
                <a:gd name="connsiteX1" fmla="*/ 10916 w 61328"/>
                <a:gd name="connsiteY1" fmla="*/ 656 h 132878"/>
                <a:gd name="connsiteX2" fmla="*/ 1103 w 61328"/>
                <a:gd name="connsiteY2" fmla="*/ 9549 h 132878"/>
                <a:gd name="connsiteX3" fmla="*/ 43522 w 61328"/>
                <a:gd name="connsiteY3" fmla="*/ 59532 h 132878"/>
                <a:gd name="connsiteX4" fmla="*/ 66418 w 61328"/>
                <a:gd name="connsiteY4" fmla="*/ 136397 h 132878"/>
                <a:gd name="connsiteX5" fmla="*/ 70609 w 61328"/>
                <a:gd name="connsiteY5" fmla="*/ 136499 h 132878"/>
                <a:gd name="connsiteX6" fmla="*/ 70609 w 61328"/>
                <a:gd name="connsiteY6" fmla="*/ 1364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28" h="132878">
                  <a:moveTo>
                    <a:pt x="70609" y="136499"/>
                  </a:moveTo>
                  <a:cubicBezTo>
                    <a:pt x="72142" y="92036"/>
                    <a:pt x="59468" y="22019"/>
                    <a:pt x="10916" y="656"/>
                  </a:cubicBezTo>
                  <a:cubicBezTo>
                    <a:pt x="5192" y="-1899"/>
                    <a:pt x="-2985" y="3416"/>
                    <a:pt x="1103" y="9549"/>
                  </a:cubicBezTo>
                  <a:cubicBezTo>
                    <a:pt x="13267" y="27948"/>
                    <a:pt x="31972" y="40009"/>
                    <a:pt x="43522" y="59532"/>
                  </a:cubicBezTo>
                  <a:cubicBezTo>
                    <a:pt x="57117" y="82530"/>
                    <a:pt x="66112" y="109924"/>
                    <a:pt x="66418" y="136397"/>
                  </a:cubicBezTo>
                  <a:cubicBezTo>
                    <a:pt x="66418" y="138953"/>
                    <a:pt x="70507" y="139055"/>
                    <a:pt x="70609" y="136499"/>
                  </a:cubicBezTo>
                  <a:lnTo>
                    <a:pt x="70609" y="1364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4" name="任意多边形: 形状 733">
              <a:extLst>
                <a:ext uri="{FF2B5EF4-FFF2-40B4-BE49-F238E27FC236}">
                  <a16:creationId xmlns:a16="http://schemas.microsoft.com/office/drawing/2014/main" id="{7D2BE9EE-B7D4-4F04-89A2-AE49855BDA3D}"/>
                </a:ext>
              </a:extLst>
            </p:cNvPr>
            <p:cNvSpPr/>
            <p:nvPr/>
          </p:nvSpPr>
          <p:spPr>
            <a:xfrm>
              <a:off x="9638021" y="2358812"/>
              <a:ext cx="245602" cy="118840"/>
            </a:xfrm>
            <a:custGeom>
              <a:avLst/>
              <a:gdLst>
                <a:gd name="connsiteX0" fmla="*/ 246087 w 316864"/>
                <a:gd name="connsiteY0" fmla="*/ 177 h 153321"/>
                <a:gd name="connsiteX1" fmla="*/ 120670 w 316864"/>
                <a:gd name="connsiteY1" fmla="*/ 61403 h 153321"/>
                <a:gd name="connsiteX2" fmla="*/ 5679 w 316864"/>
                <a:gd name="connsiteY2" fmla="*/ 137451 h 153321"/>
                <a:gd name="connsiteX3" fmla="*/ 20398 w 316864"/>
                <a:gd name="connsiteY3" fmla="*/ 151965 h 153321"/>
                <a:gd name="connsiteX4" fmla="*/ 94196 w 316864"/>
                <a:gd name="connsiteY4" fmla="*/ 114555 h 153321"/>
                <a:gd name="connsiteX5" fmla="*/ 176683 w 316864"/>
                <a:gd name="connsiteY5" fmla="*/ 83686 h 153321"/>
                <a:gd name="connsiteX6" fmla="*/ 320397 w 316864"/>
                <a:gd name="connsiteY6" fmla="*/ 50671 h 153321"/>
                <a:gd name="connsiteX7" fmla="*/ 320090 w 316864"/>
                <a:gd name="connsiteY7" fmla="*/ 47604 h 153321"/>
                <a:gd name="connsiteX8" fmla="*/ 168404 w 316864"/>
                <a:gd name="connsiteY8" fmla="*/ 80824 h 153321"/>
                <a:gd name="connsiteX9" fmla="*/ 105031 w 316864"/>
                <a:gd name="connsiteY9" fmla="*/ 103924 h 153321"/>
                <a:gd name="connsiteX10" fmla="*/ 11403 w 316864"/>
                <a:gd name="connsiteY10" fmla="*/ 136326 h 153321"/>
                <a:gd name="connsiteX11" fmla="*/ 20500 w 316864"/>
                <a:gd name="connsiteY11" fmla="*/ 152067 h 153321"/>
                <a:gd name="connsiteX12" fmla="*/ 248540 w 316864"/>
                <a:gd name="connsiteY12" fmla="*/ 4368 h 153321"/>
                <a:gd name="connsiteX13" fmla="*/ 246087 w 316864"/>
                <a:gd name="connsiteY13" fmla="*/ 177 h 153321"/>
                <a:gd name="connsiteX14" fmla="*/ 246087 w 316864"/>
                <a:gd name="connsiteY14" fmla="*/ 177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864" h="153321">
                  <a:moveTo>
                    <a:pt x="246087" y="177"/>
                  </a:moveTo>
                  <a:cubicBezTo>
                    <a:pt x="202135" y="16531"/>
                    <a:pt x="160431" y="37281"/>
                    <a:pt x="120670" y="61403"/>
                  </a:cubicBezTo>
                  <a:cubicBezTo>
                    <a:pt x="81420" y="85117"/>
                    <a:pt x="46258" y="116088"/>
                    <a:pt x="5679" y="137451"/>
                  </a:cubicBezTo>
                  <a:cubicBezTo>
                    <a:pt x="-9245" y="145321"/>
                    <a:pt x="8643" y="166173"/>
                    <a:pt x="20398" y="151965"/>
                  </a:cubicBezTo>
                  <a:cubicBezTo>
                    <a:pt x="35525" y="133567"/>
                    <a:pt x="72425" y="123550"/>
                    <a:pt x="94196" y="114555"/>
                  </a:cubicBezTo>
                  <a:cubicBezTo>
                    <a:pt x="121283" y="103413"/>
                    <a:pt x="148677" y="92783"/>
                    <a:pt x="176683" y="83686"/>
                  </a:cubicBezTo>
                  <a:cubicBezTo>
                    <a:pt x="223804" y="68252"/>
                    <a:pt x="271538" y="59768"/>
                    <a:pt x="320397" y="50671"/>
                  </a:cubicBezTo>
                  <a:cubicBezTo>
                    <a:pt x="322237" y="50364"/>
                    <a:pt x="321930" y="47502"/>
                    <a:pt x="320090" y="47604"/>
                  </a:cubicBezTo>
                  <a:cubicBezTo>
                    <a:pt x="268165" y="49751"/>
                    <a:pt x="217058" y="64470"/>
                    <a:pt x="168404" y="80824"/>
                  </a:cubicBezTo>
                  <a:cubicBezTo>
                    <a:pt x="147041" y="87979"/>
                    <a:pt x="125985" y="95747"/>
                    <a:pt x="105031" y="103924"/>
                  </a:cubicBezTo>
                  <a:cubicBezTo>
                    <a:pt x="78455" y="114248"/>
                    <a:pt x="40738" y="137860"/>
                    <a:pt x="11403" y="136326"/>
                  </a:cubicBezTo>
                  <a:cubicBezTo>
                    <a:pt x="14469" y="141539"/>
                    <a:pt x="17433" y="146854"/>
                    <a:pt x="20500" y="152067"/>
                  </a:cubicBezTo>
                  <a:cubicBezTo>
                    <a:pt x="73549" y="84708"/>
                    <a:pt x="171471" y="42187"/>
                    <a:pt x="248540" y="4368"/>
                  </a:cubicBezTo>
                  <a:cubicBezTo>
                    <a:pt x="251198" y="2834"/>
                    <a:pt x="248847" y="-845"/>
                    <a:pt x="246087" y="177"/>
                  </a:cubicBezTo>
                  <a:lnTo>
                    <a:pt x="246087" y="1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5" name="任意多边形: 形状 734">
              <a:extLst>
                <a:ext uri="{FF2B5EF4-FFF2-40B4-BE49-F238E27FC236}">
                  <a16:creationId xmlns:a16="http://schemas.microsoft.com/office/drawing/2014/main" id="{C2FF7CB2-8A44-477B-9C00-72F0C9E54D46}"/>
                </a:ext>
              </a:extLst>
            </p:cNvPr>
            <p:cNvSpPr/>
            <p:nvPr/>
          </p:nvSpPr>
          <p:spPr>
            <a:xfrm>
              <a:off x="9505477" y="2391286"/>
              <a:ext cx="174298" cy="55458"/>
            </a:xfrm>
            <a:custGeom>
              <a:avLst/>
              <a:gdLst>
                <a:gd name="connsiteX0" fmla="*/ 770 w 224871"/>
                <a:gd name="connsiteY0" fmla="*/ 51090 h 71550"/>
                <a:gd name="connsiteX1" fmla="*/ 229526 w 224871"/>
                <a:gd name="connsiteY1" fmla="*/ 4276 h 71550"/>
                <a:gd name="connsiteX2" fmla="*/ 226460 w 224871"/>
                <a:gd name="connsiteY2" fmla="*/ 290 h 71550"/>
                <a:gd name="connsiteX3" fmla="*/ 8027 w 224871"/>
                <a:gd name="connsiteY3" fmla="*/ 46082 h 71550"/>
                <a:gd name="connsiteX4" fmla="*/ 770 w 224871"/>
                <a:gd name="connsiteY4" fmla="*/ 51090 h 71550"/>
                <a:gd name="connsiteX5" fmla="*/ 770 w 224871"/>
                <a:gd name="connsiteY5" fmla="*/ 51090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871" h="71550">
                  <a:moveTo>
                    <a:pt x="770" y="51090"/>
                  </a:moveTo>
                  <a:cubicBezTo>
                    <a:pt x="57090" y="124173"/>
                    <a:pt x="178010" y="42811"/>
                    <a:pt x="229526" y="4276"/>
                  </a:cubicBezTo>
                  <a:cubicBezTo>
                    <a:pt x="231877" y="2538"/>
                    <a:pt x="228913" y="-1039"/>
                    <a:pt x="226460" y="290"/>
                  </a:cubicBezTo>
                  <a:cubicBezTo>
                    <a:pt x="171979" y="29932"/>
                    <a:pt x="67312" y="101380"/>
                    <a:pt x="8027" y="46082"/>
                  </a:cubicBezTo>
                  <a:cubicBezTo>
                    <a:pt x="4552" y="42811"/>
                    <a:pt x="-2296" y="47002"/>
                    <a:pt x="770" y="51090"/>
                  </a:cubicBezTo>
                  <a:lnTo>
                    <a:pt x="770" y="510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6" name="任意多边形: 形状 735">
              <a:extLst>
                <a:ext uri="{FF2B5EF4-FFF2-40B4-BE49-F238E27FC236}">
                  <a16:creationId xmlns:a16="http://schemas.microsoft.com/office/drawing/2014/main" id="{A3DD895A-2DB4-4B50-8FB0-617A09ACF4A1}"/>
                </a:ext>
              </a:extLst>
            </p:cNvPr>
            <p:cNvSpPr/>
            <p:nvPr/>
          </p:nvSpPr>
          <p:spPr>
            <a:xfrm>
              <a:off x="9645612" y="3029076"/>
              <a:ext cx="364441" cy="142607"/>
            </a:xfrm>
            <a:custGeom>
              <a:avLst/>
              <a:gdLst>
                <a:gd name="connsiteX0" fmla="*/ 485 w 470186"/>
                <a:gd name="connsiteY0" fmla="*/ 2719 h 183985"/>
                <a:gd name="connsiteX1" fmla="*/ 468934 w 470186"/>
                <a:gd name="connsiteY1" fmla="*/ 186194 h 183985"/>
                <a:gd name="connsiteX2" fmla="*/ 469139 w 470186"/>
                <a:gd name="connsiteY2" fmla="*/ 178630 h 183985"/>
                <a:gd name="connsiteX3" fmla="*/ 2939 w 470186"/>
                <a:gd name="connsiteY3" fmla="*/ 471 h 183985"/>
                <a:gd name="connsiteX4" fmla="*/ 485 w 470186"/>
                <a:gd name="connsiteY4" fmla="*/ 2719 h 183985"/>
                <a:gd name="connsiteX5" fmla="*/ 485 w 470186"/>
                <a:gd name="connsiteY5" fmla="*/ 2719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186" h="183985">
                  <a:moveTo>
                    <a:pt x="485" y="2719"/>
                  </a:moveTo>
                  <a:cubicBezTo>
                    <a:pt x="117010" y="119448"/>
                    <a:pt x="296396" y="199585"/>
                    <a:pt x="468934" y="186194"/>
                  </a:cubicBezTo>
                  <a:cubicBezTo>
                    <a:pt x="473943" y="185786"/>
                    <a:pt x="474352" y="178937"/>
                    <a:pt x="469139" y="178630"/>
                  </a:cubicBezTo>
                  <a:cubicBezTo>
                    <a:pt x="292103" y="169022"/>
                    <a:pt x="133160" y="118631"/>
                    <a:pt x="2939" y="471"/>
                  </a:cubicBezTo>
                  <a:cubicBezTo>
                    <a:pt x="1405" y="-960"/>
                    <a:pt x="-1048" y="1186"/>
                    <a:pt x="485" y="2719"/>
                  </a:cubicBezTo>
                  <a:lnTo>
                    <a:pt x="485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7" name="任意多边形: 形状 736">
              <a:extLst>
                <a:ext uri="{FF2B5EF4-FFF2-40B4-BE49-F238E27FC236}">
                  <a16:creationId xmlns:a16="http://schemas.microsoft.com/office/drawing/2014/main" id="{17053D26-A9D3-4C13-BBD2-0B77B756B831}"/>
                </a:ext>
              </a:extLst>
            </p:cNvPr>
            <p:cNvSpPr/>
            <p:nvPr/>
          </p:nvSpPr>
          <p:spPr>
            <a:xfrm>
              <a:off x="9689448" y="3083840"/>
              <a:ext cx="198066" cy="87149"/>
            </a:xfrm>
            <a:custGeom>
              <a:avLst/>
              <a:gdLst>
                <a:gd name="connsiteX0" fmla="*/ 863 w 255536"/>
                <a:gd name="connsiteY0" fmla="*/ 4536 h 112435"/>
                <a:gd name="connsiteX1" fmla="*/ 261305 w 255536"/>
                <a:gd name="connsiteY1" fmla="*/ 119833 h 112435"/>
                <a:gd name="connsiteX2" fmla="*/ 262327 w 255536"/>
                <a:gd name="connsiteY2" fmla="*/ 113803 h 112435"/>
                <a:gd name="connsiteX3" fmla="*/ 4951 w 255536"/>
                <a:gd name="connsiteY3" fmla="*/ 754 h 112435"/>
                <a:gd name="connsiteX4" fmla="*/ 863 w 255536"/>
                <a:gd name="connsiteY4" fmla="*/ 4536 h 112435"/>
                <a:gd name="connsiteX5" fmla="*/ 863 w 255536"/>
                <a:gd name="connsiteY5" fmla="*/ 4536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36" h="112435">
                  <a:moveTo>
                    <a:pt x="863" y="4536"/>
                  </a:moveTo>
                  <a:cubicBezTo>
                    <a:pt x="70164" y="69748"/>
                    <a:pt x="162873" y="114314"/>
                    <a:pt x="261305" y="119833"/>
                  </a:cubicBezTo>
                  <a:cubicBezTo>
                    <a:pt x="264882" y="120038"/>
                    <a:pt x="266007" y="114314"/>
                    <a:pt x="262327" y="113803"/>
                  </a:cubicBezTo>
                  <a:cubicBezTo>
                    <a:pt x="164815" y="98880"/>
                    <a:pt x="78239" y="64535"/>
                    <a:pt x="4951" y="754"/>
                  </a:cubicBezTo>
                  <a:cubicBezTo>
                    <a:pt x="2294" y="-1597"/>
                    <a:pt x="-1795" y="2083"/>
                    <a:pt x="863" y="4536"/>
                  </a:cubicBezTo>
                  <a:lnTo>
                    <a:pt x="863" y="4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8" name="任意多边形: 形状 737">
              <a:extLst>
                <a:ext uri="{FF2B5EF4-FFF2-40B4-BE49-F238E27FC236}">
                  <a16:creationId xmlns:a16="http://schemas.microsoft.com/office/drawing/2014/main" id="{3956F721-3008-467C-8E9B-702D04D39BA9}"/>
                </a:ext>
              </a:extLst>
            </p:cNvPr>
            <p:cNvSpPr/>
            <p:nvPr/>
          </p:nvSpPr>
          <p:spPr>
            <a:xfrm>
              <a:off x="9712579" y="3044380"/>
              <a:ext cx="514971" cy="87149"/>
            </a:xfrm>
            <a:custGeom>
              <a:avLst/>
              <a:gdLst>
                <a:gd name="connsiteX0" fmla="*/ 866 w 664393"/>
                <a:gd name="connsiteY0" fmla="*/ 3418 h 112435"/>
                <a:gd name="connsiteX1" fmla="*/ 340524 w 664393"/>
                <a:gd name="connsiteY1" fmla="*/ 111561 h 112435"/>
                <a:gd name="connsiteX2" fmla="*/ 519195 w 664393"/>
                <a:gd name="connsiteY2" fmla="*/ 98069 h 112435"/>
                <a:gd name="connsiteX3" fmla="*/ 670370 w 664393"/>
                <a:gd name="connsiteY3" fmla="*/ 24372 h 112435"/>
                <a:gd name="connsiteX4" fmla="*/ 652994 w 664393"/>
                <a:gd name="connsiteY4" fmla="*/ 11289 h 112435"/>
                <a:gd name="connsiteX5" fmla="*/ 489962 w 664393"/>
                <a:gd name="connsiteY5" fmla="*/ 81305 h 112435"/>
                <a:gd name="connsiteX6" fmla="*/ 322739 w 664393"/>
                <a:gd name="connsiteY6" fmla="*/ 96433 h 112435"/>
                <a:gd name="connsiteX7" fmla="*/ 2910 w 664393"/>
                <a:gd name="connsiteY7" fmla="*/ 250 h 112435"/>
                <a:gd name="connsiteX8" fmla="*/ 866 w 664393"/>
                <a:gd name="connsiteY8" fmla="*/ 3418 h 112435"/>
                <a:gd name="connsiteX9" fmla="*/ 866 w 664393"/>
                <a:gd name="connsiteY9" fmla="*/ 3418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393" h="112435">
                  <a:moveTo>
                    <a:pt x="866" y="3418"/>
                  </a:moveTo>
                  <a:cubicBezTo>
                    <a:pt x="100934" y="69755"/>
                    <a:pt x="219196" y="103690"/>
                    <a:pt x="340524" y="111561"/>
                  </a:cubicBezTo>
                  <a:cubicBezTo>
                    <a:pt x="400626" y="115445"/>
                    <a:pt x="460422" y="111050"/>
                    <a:pt x="519195" y="98069"/>
                  </a:cubicBezTo>
                  <a:cubicBezTo>
                    <a:pt x="570507" y="86723"/>
                    <a:pt x="642466" y="70880"/>
                    <a:pt x="670370" y="24372"/>
                  </a:cubicBezTo>
                  <a:cubicBezTo>
                    <a:pt x="676401" y="14457"/>
                    <a:pt x="661477" y="1680"/>
                    <a:pt x="652994" y="11289"/>
                  </a:cubicBezTo>
                  <a:cubicBezTo>
                    <a:pt x="614561" y="54832"/>
                    <a:pt x="546589" y="69551"/>
                    <a:pt x="489962" y="81305"/>
                  </a:cubicBezTo>
                  <a:cubicBezTo>
                    <a:pt x="435481" y="92651"/>
                    <a:pt x="378446" y="98069"/>
                    <a:pt x="322739" y="96433"/>
                  </a:cubicBezTo>
                  <a:cubicBezTo>
                    <a:pt x="208770" y="93060"/>
                    <a:pt x="99196" y="57285"/>
                    <a:pt x="2910" y="250"/>
                  </a:cubicBezTo>
                  <a:cubicBezTo>
                    <a:pt x="763" y="-875"/>
                    <a:pt x="-1179" y="2089"/>
                    <a:pt x="866" y="3418"/>
                  </a:cubicBezTo>
                  <a:lnTo>
                    <a:pt x="866" y="34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9" name="任意多边形: 形状 738">
              <a:extLst>
                <a:ext uri="{FF2B5EF4-FFF2-40B4-BE49-F238E27FC236}">
                  <a16:creationId xmlns:a16="http://schemas.microsoft.com/office/drawing/2014/main" id="{3EF618F3-2A54-47BD-8F65-A514D8F85E6E}"/>
                </a:ext>
              </a:extLst>
            </p:cNvPr>
            <p:cNvSpPr/>
            <p:nvPr/>
          </p:nvSpPr>
          <p:spPr>
            <a:xfrm>
              <a:off x="9820437" y="3041558"/>
              <a:ext cx="269369" cy="47536"/>
            </a:xfrm>
            <a:custGeom>
              <a:avLst/>
              <a:gdLst>
                <a:gd name="connsiteX0" fmla="*/ 1441 w 347529"/>
                <a:gd name="connsiteY0" fmla="*/ 5525 h 61328"/>
                <a:gd name="connsiteX1" fmla="*/ 348050 w 347529"/>
                <a:gd name="connsiteY1" fmla="*/ 40176 h 61328"/>
                <a:gd name="connsiteX2" fmla="*/ 346414 w 347529"/>
                <a:gd name="connsiteY2" fmla="*/ 36189 h 61328"/>
                <a:gd name="connsiteX3" fmla="*/ 4609 w 347529"/>
                <a:gd name="connsiteY3" fmla="*/ 516 h 61328"/>
                <a:gd name="connsiteX4" fmla="*/ 1441 w 347529"/>
                <a:gd name="connsiteY4" fmla="*/ 5525 h 61328"/>
                <a:gd name="connsiteX5" fmla="*/ 1441 w 347529"/>
                <a:gd name="connsiteY5" fmla="*/ 55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7529" h="61328">
                  <a:moveTo>
                    <a:pt x="1441" y="5525"/>
                  </a:moveTo>
                  <a:cubicBezTo>
                    <a:pt x="101611" y="66342"/>
                    <a:pt x="236943" y="86888"/>
                    <a:pt x="348050" y="40176"/>
                  </a:cubicBezTo>
                  <a:cubicBezTo>
                    <a:pt x="350401" y="39153"/>
                    <a:pt x="348867" y="35474"/>
                    <a:pt x="346414" y="36189"/>
                  </a:cubicBezTo>
                  <a:cubicBezTo>
                    <a:pt x="228663" y="68182"/>
                    <a:pt x="110606" y="63378"/>
                    <a:pt x="4609" y="516"/>
                  </a:cubicBezTo>
                  <a:cubicBezTo>
                    <a:pt x="1236" y="-1630"/>
                    <a:pt x="-1932" y="3481"/>
                    <a:pt x="1441" y="5525"/>
                  </a:cubicBezTo>
                  <a:lnTo>
                    <a:pt x="1441" y="55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0" name="任意多边形: 形状 739">
              <a:extLst>
                <a:ext uri="{FF2B5EF4-FFF2-40B4-BE49-F238E27FC236}">
                  <a16:creationId xmlns:a16="http://schemas.microsoft.com/office/drawing/2014/main" id="{7335731C-915A-4DF3-9770-55B64F773409}"/>
                </a:ext>
              </a:extLst>
            </p:cNvPr>
            <p:cNvSpPr/>
            <p:nvPr/>
          </p:nvSpPr>
          <p:spPr>
            <a:xfrm>
              <a:off x="9912652" y="2543850"/>
              <a:ext cx="229756" cy="55458"/>
            </a:xfrm>
            <a:custGeom>
              <a:avLst/>
              <a:gdLst>
                <a:gd name="connsiteX0" fmla="*/ 2365 w 296421"/>
                <a:gd name="connsiteY0" fmla="*/ 5128 h 71550"/>
                <a:gd name="connsiteX1" fmla="*/ 292756 w 296421"/>
                <a:gd name="connsiteY1" fmla="*/ 77190 h 71550"/>
                <a:gd name="connsiteX2" fmla="*/ 305227 w 296421"/>
                <a:gd name="connsiteY2" fmla="*/ 74328 h 71550"/>
                <a:gd name="connsiteX3" fmla="*/ 198208 w 296421"/>
                <a:gd name="connsiteY3" fmla="*/ 5231 h 71550"/>
                <a:gd name="connsiteX4" fmla="*/ 2467 w 296421"/>
                <a:gd name="connsiteY4" fmla="*/ 324 h 71550"/>
                <a:gd name="connsiteX5" fmla="*/ 2365 w 296421"/>
                <a:gd name="connsiteY5" fmla="*/ 5128 h 71550"/>
                <a:gd name="connsiteX6" fmla="*/ 2365 w 296421"/>
                <a:gd name="connsiteY6" fmla="*/ 51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71550">
                  <a:moveTo>
                    <a:pt x="2365" y="5128"/>
                  </a:moveTo>
                  <a:cubicBezTo>
                    <a:pt x="91701" y="8195"/>
                    <a:pt x="236436" y="-2333"/>
                    <a:pt x="292756" y="77190"/>
                  </a:cubicBezTo>
                  <a:cubicBezTo>
                    <a:pt x="296027" y="81892"/>
                    <a:pt x="305635" y="81176"/>
                    <a:pt x="305227" y="74328"/>
                  </a:cubicBezTo>
                  <a:cubicBezTo>
                    <a:pt x="302365" y="26287"/>
                    <a:pt x="239911" y="11159"/>
                    <a:pt x="198208" y="5231"/>
                  </a:cubicBezTo>
                  <a:cubicBezTo>
                    <a:pt x="134222" y="-3969"/>
                    <a:pt x="67067" y="2164"/>
                    <a:pt x="2467" y="324"/>
                  </a:cubicBezTo>
                  <a:cubicBezTo>
                    <a:pt x="-701" y="222"/>
                    <a:pt x="-906" y="5026"/>
                    <a:pt x="2365" y="5128"/>
                  </a:cubicBezTo>
                  <a:lnTo>
                    <a:pt x="2365" y="51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1" name="任意多边形: 形状 740">
              <a:extLst>
                <a:ext uri="{FF2B5EF4-FFF2-40B4-BE49-F238E27FC236}">
                  <a16:creationId xmlns:a16="http://schemas.microsoft.com/office/drawing/2014/main" id="{0DDE2FF5-FA8B-4AB3-BEDD-5E65D6CFD389}"/>
                </a:ext>
              </a:extLst>
            </p:cNvPr>
            <p:cNvSpPr/>
            <p:nvPr/>
          </p:nvSpPr>
          <p:spPr>
            <a:xfrm>
              <a:off x="10005912" y="2515038"/>
              <a:ext cx="126762" cy="47536"/>
            </a:xfrm>
            <a:custGeom>
              <a:avLst/>
              <a:gdLst>
                <a:gd name="connsiteX0" fmla="*/ 2555 w 163543"/>
                <a:gd name="connsiteY0" fmla="*/ 7343 h 61328"/>
                <a:gd name="connsiteX1" fmla="*/ 85860 w 163543"/>
                <a:gd name="connsiteY1" fmla="*/ 15111 h 61328"/>
                <a:gd name="connsiteX2" fmla="*/ 152402 w 163543"/>
                <a:gd name="connsiteY2" fmla="*/ 66729 h 61328"/>
                <a:gd name="connsiteX3" fmla="*/ 160272 w 163543"/>
                <a:gd name="connsiteY3" fmla="*/ 70000 h 61328"/>
                <a:gd name="connsiteX4" fmla="*/ 118671 w 163543"/>
                <a:gd name="connsiteY4" fmla="*/ 14395 h 61328"/>
                <a:gd name="connsiteX5" fmla="*/ 1635 w 163543"/>
                <a:gd name="connsiteY5" fmla="*/ 3561 h 61328"/>
                <a:gd name="connsiteX6" fmla="*/ 2555 w 163543"/>
                <a:gd name="connsiteY6" fmla="*/ 7343 h 61328"/>
                <a:gd name="connsiteX7" fmla="*/ 2555 w 163543"/>
                <a:gd name="connsiteY7" fmla="*/ 734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543" h="61328">
                  <a:moveTo>
                    <a:pt x="2555" y="7343"/>
                  </a:moveTo>
                  <a:cubicBezTo>
                    <a:pt x="31073" y="3254"/>
                    <a:pt x="58773" y="5809"/>
                    <a:pt x="85860" y="15111"/>
                  </a:cubicBezTo>
                  <a:cubicBezTo>
                    <a:pt x="110392" y="23493"/>
                    <a:pt x="149744" y="39234"/>
                    <a:pt x="152402" y="66729"/>
                  </a:cubicBezTo>
                  <a:cubicBezTo>
                    <a:pt x="152708" y="70307"/>
                    <a:pt x="157104" y="72964"/>
                    <a:pt x="160272" y="70000"/>
                  </a:cubicBezTo>
                  <a:cubicBezTo>
                    <a:pt x="185110" y="46900"/>
                    <a:pt x="136967" y="22062"/>
                    <a:pt x="118671" y="14395"/>
                  </a:cubicBezTo>
                  <a:cubicBezTo>
                    <a:pt x="82078" y="-1141"/>
                    <a:pt x="40681" y="-2981"/>
                    <a:pt x="1635" y="3561"/>
                  </a:cubicBezTo>
                  <a:cubicBezTo>
                    <a:pt x="-1124" y="3970"/>
                    <a:pt x="-102" y="7752"/>
                    <a:pt x="2555" y="7343"/>
                  </a:cubicBezTo>
                  <a:lnTo>
                    <a:pt x="2555" y="7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2" name="任意多边形: 形状 741">
              <a:extLst>
                <a:ext uri="{FF2B5EF4-FFF2-40B4-BE49-F238E27FC236}">
                  <a16:creationId xmlns:a16="http://schemas.microsoft.com/office/drawing/2014/main" id="{D6798EB7-00EA-432F-AAB2-CD8425B44C57}"/>
                </a:ext>
              </a:extLst>
            </p:cNvPr>
            <p:cNvSpPr/>
            <p:nvPr/>
          </p:nvSpPr>
          <p:spPr>
            <a:xfrm>
              <a:off x="9885471" y="2301651"/>
              <a:ext cx="158453" cy="47536"/>
            </a:xfrm>
            <a:custGeom>
              <a:avLst/>
              <a:gdLst>
                <a:gd name="connsiteX0" fmla="*/ 2885 w 204428"/>
                <a:gd name="connsiteY0" fmla="*/ 39886 h 61328"/>
                <a:gd name="connsiteX1" fmla="*/ 113481 w 204428"/>
                <a:gd name="connsiteY1" fmla="*/ 12696 h 61328"/>
                <a:gd name="connsiteX2" fmla="*/ 199137 w 204428"/>
                <a:gd name="connsiteY2" fmla="*/ 60737 h 61328"/>
                <a:gd name="connsiteX3" fmla="*/ 211505 w 204428"/>
                <a:gd name="connsiteY3" fmla="*/ 54400 h 61328"/>
                <a:gd name="connsiteX4" fmla="*/ 1045 w 204428"/>
                <a:gd name="connsiteY4" fmla="*/ 36615 h 61328"/>
                <a:gd name="connsiteX5" fmla="*/ 2885 w 204428"/>
                <a:gd name="connsiteY5" fmla="*/ 39886 h 61328"/>
                <a:gd name="connsiteX6" fmla="*/ 2885 w 204428"/>
                <a:gd name="connsiteY6" fmla="*/ 39886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61328">
                  <a:moveTo>
                    <a:pt x="2885" y="39886"/>
                  </a:moveTo>
                  <a:cubicBezTo>
                    <a:pt x="37229" y="24860"/>
                    <a:pt x="74844" y="10652"/>
                    <a:pt x="113481" y="12696"/>
                  </a:cubicBezTo>
                  <a:cubicBezTo>
                    <a:pt x="153140" y="14843"/>
                    <a:pt x="174605" y="34264"/>
                    <a:pt x="199137" y="60737"/>
                  </a:cubicBezTo>
                  <a:cubicBezTo>
                    <a:pt x="203839" y="65848"/>
                    <a:pt x="213447" y="60840"/>
                    <a:pt x="211505" y="54400"/>
                  </a:cubicBezTo>
                  <a:cubicBezTo>
                    <a:pt x="185440" y="-34424"/>
                    <a:pt x="57978" y="5030"/>
                    <a:pt x="1045" y="36615"/>
                  </a:cubicBezTo>
                  <a:cubicBezTo>
                    <a:pt x="-1204" y="37739"/>
                    <a:pt x="534" y="40805"/>
                    <a:pt x="2885" y="39886"/>
                  </a:cubicBezTo>
                  <a:lnTo>
                    <a:pt x="2885" y="3988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3" name="任意多边形: 形状 742">
              <a:extLst>
                <a:ext uri="{FF2B5EF4-FFF2-40B4-BE49-F238E27FC236}">
                  <a16:creationId xmlns:a16="http://schemas.microsoft.com/office/drawing/2014/main" id="{74D2CDE5-6DB4-4582-A6D5-B41C9CF43EA2}"/>
                </a:ext>
              </a:extLst>
            </p:cNvPr>
            <p:cNvSpPr/>
            <p:nvPr/>
          </p:nvSpPr>
          <p:spPr>
            <a:xfrm>
              <a:off x="9867913" y="2276472"/>
              <a:ext cx="158453" cy="39613"/>
            </a:xfrm>
            <a:custGeom>
              <a:avLst/>
              <a:gdLst>
                <a:gd name="connsiteX0" fmla="*/ 4583 w 204428"/>
                <a:gd name="connsiteY0" fmla="*/ 35982 h 51107"/>
                <a:gd name="connsiteX1" fmla="*/ 115895 w 204428"/>
                <a:gd name="connsiteY1" fmla="*/ 11041 h 51107"/>
                <a:gd name="connsiteX2" fmla="*/ 199608 w 204428"/>
                <a:gd name="connsiteY2" fmla="*/ 52847 h 51107"/>
                <a:gd name="connsiteX3" fmla="*/ 208399 w 204428"/>
                <a:gd name="connsiteY3" fmla="*/ 44874 h 51107"/>
                <a:gd name="connsiteX4" fmla="*/ 1619 w 204428"/>
                <a:gd name="connsiteY4" fmla="*/ 30871 h 51107"/>
                <a:gd name="connsiteX5" fmla="*/ 4583 w 204428"/>
                <a:gd name="connsiteY5" fmla="*/ 35982 h 51107"/>
                <a:gd name="connsiteX6" fmla="*/ 4583 w 204428"/>
                <a:gd name="connsiteY6" fmla="*/ 3598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51107">
                  <a:moveTo>
                    <a:pt x="4583" y="35982"/>
                  </a:moveTo>
                  <a:cubicBezTo>
                    <a:pt x="38314" y="21058"/>
                    <a:pt x="77973" y="7668"/>
                    <a:pt x="115895" y="11041"/>
                  </a:cubicBezTo>
                  <a:cubicBezTo>
                    <a:pt x="151670" y="14210"/>
                    <a:pt x="170477" y="37719"/>
                    <a:pt x="199608" y="52847"/>
                  </a:cubicBezTo>
                  <a:cubicBezTo>
                    <a:pt x="204617" y="55403"/>
                    <a:pt x="212079" y="50087"/>
                    <a:pt x="208399" y="44874"/>
                  </a:cubicBezTo>
                  <a:cubicBezTo>
                    <a:pt x="159234" y="-22894"/>
                    <a:pt x="67139" y="-2246"/>
                    <a:pt x="1619" y="30871"/>
                  </a:cubicBezTo>
                  <a:cubicBezTo>
                    <a:pt x="-1958" y="32711"/>
                    <a:pt x="1006" y="37515"/>
                    <a:pt x="4583" y="35982"/>
                  </a:cubicBezTo>
                  <a:lnTo>
                    <a:pt x="4583" y="359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4" name="任意多边形: 形状 743">
              <a:extLst>
                <a:ext uri="{FF2B5EF4-FFF2-40B4-BE49-F238E27FC236}">
                  <a16:creationId xmlns:a16="http://schemas.microsoft.com/office/drawing/2014/main" id="{E8778F71-8431-4228-BF84-C02CC907AB3C}"/>
                </a:ext>
              </a:extLst>
            </p:cNvPr>
            <p:cNvSpPr/>
            <p:nvPr/>
          </p:nvSpPr>
          <p:spPr>
            <a:xfrm>
              <a:off x="9872078" y="3481594"/>
              <a:ext cx="190143" cy="158453"/>
            </a:xfrm>
            <a:custGeom>
              <a:avLst/>
              <a:gdLst>
                <a:gd name="connsiteX0" fmla="*/ 6774 w 245314"/>
                <a:gd name="connsiteY0" fmla="*/ 204316 h 204428"/>
                <a:gd name="connsiteX1" fmla="*/ 245752 w 245314"/>
                <a:gd name="connsiteY1" fmla="*/ 4180 h 204428"/>
                <a:gd name="connsiteX2" fmla="*/ 242788 w 245314"/>
                <a:gd name="connsiteY2" fmla="*/ 296 h 204428"/>
                <a:gd name="connsiteX3" fmla="*/ 1050 w 245314"/>
                <a:gd name="connsiteY3" fmla="*/ 198796 h 204428"/>
                <a:gd name="connsiteX4" fmla="*/ 6774 w 245314"/>
                <a:gd name="connsiteY4" fmla="*/ 204316 h 204428"/>
                <a:gd name="connsiteX5" fmla="*/ 6774 w 245314"/>
                <a:gd name="connsiteY5" fmla="*/ 204316 h 20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14" h="204428">
                  <a:moveTo>
                    <a:pt x="6774" y="204316"/>
                  </a:moveTo>
                  <a:cubicBezTo>
                    <a:pt x="79551" y="128984"/>
                    <a:pt x="162038" y="67860"/>
                    <a:pt x="245752" y="4180"/>
                  </a:cubicBezTo>
                  <a:cubicBezTo>
                    <a:pt x="248001" y="2442"/>
                    <a:pt x="245241" y="-1033"/>
                    <a:pt x="242788" y="296"/>
                  </a:cubicBezTo>
                  <a:cubicBezTo>
                    <a:pt x="150386" y="50279"/>
                    <a:pt x="70863" y="123464"/>
                    <a:pt x="1050" y="198796"/>
                  </a:cubicBezTo>
                  <a:cubicBezTo>
                    <a:pt x="-2323" y="202374"/>
                    <a:pt x="3197" y="207996"/>
                    <a:pt x="6774" y="204316"/>
                  </a:cubicBezTo>
                  <a:lnTo>
                    <a:pt x="6774" y="20431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5" name="任意多边形: 形状 744">
              <a:extLst>
                <a:ext uri="{FF2B5EF4-FFF2-40B4-BE49-F238E27FC236}">
                  <a16:creationId xmlns:a16="http://schemas.microsoft.com/office/drawing/2014/main" id="{F0886A12-4E1F-45F4-86A3-952DFDFA8201}"/>
                </a:ext>
              </a:extLst>
            </p:cNvPr>
            <p:cNvSpPr/>
            <p:nvPr/>
          </p:nvSpPr>
          <p:spPr>
            <a:xfrm>
              <a:off x="9924295" y="3530260"/>
              <a:ext cx="95071" cy="79226"/>
            </a:xfrm>
            <a:custGeom>
              <a:avLst/>
              <a:gdLst>
                <a:gd name="connsiteX0" fmla="*/ 7173 w 122657"/>
                <a:gd name="connsiteY0" fmla="*/ 105447 h 102214"/>
                <a:gd name="connsiteX1" fmla="*/ 131568 w 122657"/>
                <a:gd name="connsiteY1" fmla="*/ 5686 h 102214"/>
                <a:gd name="connsiteX2" fmla="*/ 127582 w 122657"/>
                <a:gd name="connsiteY2" fmla="*/ 575 h 102214"/>
                <a:gd name="connsiteX3" fmla="*/ 1449 w 122657"/>
                <a:gd name="connsiteY3" fmla="*/ 99825 h 102214"/>
                <a:gd name="connsiteX4" fmla="*/ 7173 w 122657"/>
                <a:gd name="connsiteY4" fmla="*/ 105447 h 102214"/>
                <a:gd name="connsiteX5" fmla="*/ 7173 w 122657"/>
                <a:gd name="connsiteY5" fmla="*/ 10544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02214">
                  <a:moveTo>
                    <a:pt x="7173" y="105447"/>
                  </a:moveTo>
                  <a:cubicBezTo>
                    <a:pt x="48877" y="72738"/>
                    <a:pt x="92522" y="41256"/>
                    <a:pt x="131568" y="5686"/>
                  </a:cubicBezTo>
                  <a:cubicBezTo>
                    <a:pt x="134226" y="3233"/>
                    <a:pt x="130751" y="-1674"/>
                    <a:pt x="127582" y="575"/>
                  </a:cubicBezTo>
                  <a:cubicBezTo>
                    <a:pt x="83425" y="31035"/>
                    <a:pt x="42948" y="66401"/>
                    <a:pt x="1449" y="99825"/>
                  </a:cubicBezTo>
                  <a:cubicBezTo>
                    <a:pt x="-2741" y="103096"/>
                    <a:pt x="3085" y="108616"/>
                    <a:pt x="7173" y="105447"/>
                  </a:cubicBezTo>
                  <a:lnTo>
                    <a:pt x="7173" y="1054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6" name="任意多边形: 形状 745">
              <a:extLst>
                <a:ext uri="{FF2B5EF4-FFF2-40B4-BE49-F238E27FC236}">
                  <a16:creationId xmlns:a16="http://schemas.microsoft.com/office/drawing/2014/main" id="{7D1F3557-A1B6-4211-9D22-35F6D04C2B88}"/>
                </a:ext>
              </a:extLst>
            </p:cNvPr>
            <p:cNvSpPr/>
            <p:nvPr/>
          </p:nvSpPr>
          <p:spPr>
            <a:xfrm>
              <a:off x="9230730" y="3659083"/>
              <a:ext cx="277292" cy="71304"/>
            </a:xfrm>
            <a:custGeom>
              <a:avLst/>
              <a:gdLst>
                <a:gd name="connsiteX0" fmla="*/ 451 w 357750"/>
                <a:gd name="connsiteY0" fmla="*/ 4661 h 91992"/>
                <a:gd name="connsiteX1" fmla="*/ 148867 w 357750"/>
                <a:gd name="connsiteY1" fmla="*/ 93485 h 91992"/>
                <a:gd name="connsiteX2" fmla="*/ 363313 w 357750"/>
                <a:gd name="connsiteY2" fmla="*/ 43196 h 91992"/>
                <a:gd name="connsiteX3" fmla="*/ 361268 w 357750"/>
                <a:gd name="connsiteY3" fmla="*/ 38187 h 91992"/>
                <a:gd name="connsiteX4" fmla="*/ 174216 w 357750"/>
                <a:gd name="connsiteY4" fmla="*/ 78358 h 91992"/>
                <a:gd name="connsiteX5" fmla="*/ 5767 w 357750"/>
                <a:gd name="connsiteY5" fmla="*/ 1083 h 91992"/>
                <a:gd name="connsiteX6" fmla="*/ 451 w 357750"/>
                <a:gd name="connsiteY6" fmla="*/ 4661 h 91992"/>
                <a:gd name="connsiteX7" fmla="*/ 451 w 357750"/>
                <a:gd name="connsiteY7" fmla="*/ 4661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750" h="91992">
                  <a:moveTo>
                    <a:pt x="451" y="4661"/>
                  </a:moveTo>
                  <a:cubicBezTo>
                    <a:pt x="28969" y="49738"/>
                    <a:pt x="93058" y="88681"/>
                    <a:pt x="148867" y="93485"/>
                  </a:cubicBezTo>
                  <a:cubicBezTo>
                    <a:pt x="218577" y="99516"/>
                    <a:pt x="301677" y="71509"/>
                    <a:pt x="363313" y="43196"/>
                  </a:cubicBezTo>
                  <a:cubicBezTo>
                    <a:pt x="366175" y="41867"/>
                    <a:pt x="364437" y="37267"/>
                    <a:pt x="361268" y="38187"/>
                  </a:cubicBezTo>
                  <a:cubicBezTo>
                    <a:pt x="301269" y="55155"/>
                    <a:pt x="237589" y="77949"/>
                    <a:pt x="174216" y="78358"/>
                  </a:cubicBezTo>
                  <a:cubicBezTo>
                    <a:pt x="116669" y="78767"/>
                    <a:pt x="42768" y="42787"/>
                    <a:pt x="5767" y="1083"/>
                  </a:cubicBezTo>
                  <a:cubicBezTo>
                    <a:pt x="3313" y="-1779"/>
                    <a:pt x="-1491" y="1595"/>
                    <a:pt x="451" y="4661"/>
                  </a:cubicBezTo>
                  <a:lnTo>
                    <a:pt x="451" y="4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7" name="任意多边形: 形状 746">
              <a:extLst>
                <a:ext uri="{FF2B5EF4-FFF2-40B4-BE49-F238E27FC236}">
                  <a16:creationId xmlns:a16="http://schemas.microsoft.com/office/drawing/2014/main" id="{587BCE83-4A02-4274-9BD9-7920CBABA25B}"/>
                </a:ext>
              </a:extLst>
            </p:cNvPr>
            <p:cNvSpPr/>
            <p:nvPr/>
          </p:nvSpPr>
          <p:spPr>
            <a:xfrm>
              <a:off x="9392126" y="3581998"/>
              <a:ext cx="237679" cy="102994"/>
            </a:xfrm>
            <a:custGeom>
              <a:avLst/>
              <a:gdLst>
                <a:gd name="connsiteX0" fmla="*/ 3195 w 306643"/>
                <a:gd name="connsiteY0" fmla="*/ 133245 h 132878"/>
                <a:gd name="connsiteX1" fmla="*/ 305647 w 306643"/>
                <a:gd name="connsiteY1" fmla="*/ 5068 h 132878"/>
                <a:gd name="connsiteX2" fmla="*/ 301150 w 306643"/>
                <a:gd name="connsiteY2" fmla="*/ 673 h 132878"/>
                <a:gd name="connsiteX3" fmla="*/ 1968 w 306643"/>
                <a:gd name="connsiteY3" fmla="*/ 128338 h 132878"/>
                <a:gd name="connsiteX4" fmla="*/ 3195 w 306643"/>
                <a:gd name="connsiteY4" fmla="*/ 133245 h 132878"/>
                <a:gd name="connsiteX5" fmla="*/ 3195 w 306643"/>
                <a:gd name="connsiteY5" fmla="*/ 133245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3" h="132878">
                  <a:moveTo>
                    <a:pt x="3195" y="133245"/>
                  </a:moveTo>
                  <a:cubicBezTo>
                    <a:pt x="114199" y="120672"/>
                    <a:pt x="224182" y="78764"/>
                    <a:pt x="305647" y="5068"/>
                  </a:cubicBezTo>
                  <a:cubicBezTo>
                    <a:pt x="308713" y="2308"/>
                    <a:pt x="304421" y="-1576"/>
                    <a:pt x="301150" y="673"/>
                  </a:cubicBezTo>
                  <a:cubicBezTo>
                    <a:pt x="210485" y="64659"/>
                    <a:pt x="114404" y="110451"/>
                    <a:pt x="1968" y="128338"/>
                  </a:cubicBezTo>
                  <a:cubicBezTo>
                    <a:pt x="-1405" y="128952"/>
                    <a:pt x="-76" y="133654"/>
                    <a:pt x="3195" y="133245"/>
                  </a:cubicBezTo>
                  <a:lnTo>
                    <a:pt x="3195" y="1332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8" name="任意多边形: 形状 747">
              <a:extLst>
                <a:ext uri="{FF2B5EF4-FFF2-40B4-BE49-F238E27FC236}">
                  <a16:creationId xmlns:a16="http://schemas.microsoft.com/office/drawing/2014/main" id="{4A42A5C6-43F6-420A-B2BA-28DE838786CD}"/>
                </a:ext>
              </a:extLst>
            </p:cNvPr>
            <p:cNvSpPr/>
            <p:nvPr/>
          </p:nvSpPr>
          <p:spPr>
            <a:xfrm>
              <a:off x="9525886" y="3585063"/>
              <a:ext cx="134685" cy="87149"/>
            </a:xfrm>
            <a:custGeom>
              <a:avLst/>
              <a:gdLst>
                <a:gd name="connsiteX0" fmla="*/ 5614 w 173764"/>
                <a:gd name="connsiteY0" fmla="*/ 121624 h 112435"/>
                <a:gd name="connsiteX1" fmla="*/ 173144 w 173764"/>
                <a:gd name="connsiteY1" fmla="*/ 4895 h 112435"/>
                <a:gd name="connsiteX2" fmla="*/ 169771 w 173764"/>
                <a:gd name="connsiteY2" fmla="*/ 500 h 112435"/>
                <a:gd name="connsiteX3" fmla="*/ 1935 w 173764"/>
                <a:gd name="connsiteY3" fmla="*/ 115185 h 112435"/>
                <a:gd name="connsiteX4" fmla="*/ 5614 w 173764"/>
                <a:gd name="connsiteY4" fmla="*/ 121624 h 112435"/>
                <a:gd name="connsiteX5" fmla="*/ 5614 w 173764"/>
                <a:gd name="connsiteY5" fmla="*/ 121624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5614" y="121624"/>
                  </a:moveTo>
                  <a:cubicBezTo>
                    <a:pt x="64899" y="91164"/>
                    <a:pt x="129805" y="54878"/>
                    <a:pt x="173144" y="4895"/>
                  </a:cubicBezTo>
                  <a:cubicBezTo>
                    <a:pt x="174984" y="2749"/>
                    <a:pt x="172633" y="-1442"/>
                    <a:pt x="169771" y="500"/>
                  </a:cubicBezTo>
                  <a:cubicBezTo>
                    <a:pt x="113144" y="38831"/>
                    <a:pt x="62854" y="82272"/>
                    <a:pt x="1935" y="115185"/>
                  </a:cubicBezTo>
                  <a:cubicBezTo>
                    <a:pt x="-2358" y="117536"/>
                    <a:pt x="1219" y="123873"/>
                    <a:pt x="5614" y="121624"/>
                  </a:cubicBezTo>
                  <a:lnTo>
                    <a:pt x="5614" y="12162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9" name="任意多边形: 形状 748">
              <a:extLst>
                <a:ext uri="{FF2B5EF4-FFF2-40B4-BE49-F238E27FC236}">
                  <a16:creationId xmlns:a16="http://schemas.microsoft.com/office/drawing/2014/main" id="{507C27D0-3A78-46B5-8636-F99E31A41992}"/>
                </a:ext>
              </a:extLst>
            </p:cNvPr>
            <p:cNvSpPr/>
            <p:nvPr/>
          </p:nvSpPr>
          <p:spPr>
            <a:xfrm>
              <a:off x="9722340" y="3231075"/>
              <a:ext cx="253524" cy="47536"/>
            </a:xfrm>
            <a:custGeom>
              <a:avLst/>
              <a:gdLst>
                <a:gd name="connsiteX0" fmla="*/ 1458 w 327086"/>
                <a:gd name="connsiteY0" fmla="*/ 5925 h 61328"/>
                <a:gd name="connsiteX1" fmla="*/ 331611 w 327086"/>
                <a:gd name="connsiteY1" fmla="*/ 45788 h 61328"/>
                <a:gd name="connsiteX2" fmla="*/ 329260 w 327086"/>
                <a:gd name="connsiteY2" fmla="*/ 39962 h 61328"/>
                <a:gd name="connsiteX3" fmla="*/ 4934 w 327086"/>
                <a:gd name="connsiteY3" fmla="*/ 507 h 61328"/>
                <a:gd name="connsiteX4" fmla="*/ 1458 w 327086"/>
                <a:gd name="connsiteY4" fmla="*/ 5925 h 61328"/>
                <a:gd name="connsiteX5" fmla="*/ 1458 w 327086"/>
                <a:gd name="connsiteY5" fmla="*/ 59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086" h="61328">
                  <a:moveTo>
                    <a:pt x="1458" y="5925"/>
                  </a:moveTo>
                  <a:cubicBezTo>
                    <a:pt x="95802" y="66435"/>
                    <a:pt x="224286" y="89229"/>
                    <a:pt x="331611" y="45788"/>
                  </a:cubicBezTo>
                  <a:cubicBezTo>
                    <a:pt x="335086" y="44357"/>
                    <a:pt x="332838" y="39144"/>
                    <a:pt x="329260" y="39962"/>
                  </a:cubicBezTo>
                  <a:cubicBezTo>
                    <a:pt x="216518" y="66742"/>
                    <a:pt x="105104" y="60916"/>
                    <a:pt x="4934" y="507"/>
                  </a:cubicBezTo>
                  <a:cubicBezTo>
                    <a:pt x="1356" y="-1639"/>
                    <a:pt x="-2017" y="3574"/>
                    <a:pt x="1458" y="5925"/>
                  </a:cubicBezTo>
                  <a:lnTo>
                    <a:pt x="1458" y="59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0" name="任意多边形: 形状 749">
              <a:extLst>
                <a:ext uri="{FF2B5EF4-FFF2-40B4-BE49-F238E27FC236}">
                  <a16:creationId xmlns:a16="http://schemas.microsoft.com/office/drawing/2014/main" id="{FABFD324-3100-4A1A-A62A-CD619422174C}"/>
                </a:ext>
              </a:extLst>
            </p:cNvPr>
            <p:cNvSpPr/>
            <p:nvPr/>
          </p:nvSpPr>
          <p:spPr>
            <a:xfrm>
              <a:off x="9759518" y="3282530"/>
              <a:ext cx="166375" cy="23768"/>
            </a:xfrm>
            <a:custGeom>
              <a:avLst/>
              <a:gdLst>
                <a:gd name="connsiteX0" fmla="*/ 1841 w 214650"/>
                <a:gd name="connsiteY0" fmla="*/ 7000 h 30664"/>
                <a:gd name="connsiteX1" fmla="*/ 218024 w 214650"/>
                <a:gd name="connsiteY1" fmla="*/ 9146 h 30664"/>
                <a:gd name="connsiteX2" fmla="*/ 216082 w 214650"/>
                <a:gd name="connsiteY2" fmla="*/ 4342 h 30664"/>
                <a:gd name="connsiteX3" fmla="*/ 5929 w 214650"/>
                <a:gd name="connsiteY3" fmla="*/ 560 h 30664"/>
                <a:gd name="connsiteX4" fmla="*/ 1841 w 214650"/>
                <a:gd name="connsiteY4" fmla="*/ 7000 h 30664"/>
                <a:gd name="connsiteX5" fmla="*/ 1841 w 214650"/>
                <a:gd name="connsiteY5" fmla="*/ 700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30664">
                  <a:moveTo>
                    <a:pt x="1841" y="7000"/>
                  </a:moveTo>
                  <a:cubicBezTo>
                    <a:pt x="68485" y="47579"/>
                    <a:pt x="148110" y="34904"/>
                    <a:pt x="218024" y="9146"/>
                  </a:cubicBezTo>
                  <a:cubicBezTo>
                    <a:pt x="220989" y="8022"/>
                    <a:pt x="218944" y="3729"/>
                    <a:pt x="216082" y="4342"/>
                  </a:cubicBezTo>
                  <a:cubicBezTo>
                    <a:pt x="145248" y="17630"/>
                    <a:pt x="72573" y="38789"/>
                    <a:pt x="5929" y="560"/>
                  </a:cubicBezTo>
                  <a:cubicBezTo>
                    <a:pt x="1534" y="-1893"/>
                    <a:pt x="-2452" y="4342"/>
                    <a:pt x="1841" y="7000"/>
                  </a:cubicBezTo>
                  <a:lnTo>
                    <a:pt x="1841" y="70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1" name="任意多边形: 形状 750">
              <a:extLst>
                <a:ext uri="{FF2B5EF4-FFF2-40B4-BE49-F238E27FC236}">
                  <a16:creationId xmlns:a16="http://schemas.microsoft.com/office/drawing/2014/main" id="{F92285D2-69D1-4437-8BE8-D97317B5AEDE}"/>
                </a:ext>
              </a:extLst>
            </p:cNvPr>
            <p:cNvSpPr/>
            <p:nvPr/>
          </p:nvSpPr>
          <p:spPr>
            <a:xfrm>
              <a:off x="8939059" y="3195316"/>
              <a:ext cx="134685" cy="142607"/>
            </a:xfrm>
            <a:custGeom>
              <a:avLst/>
              <a:gdLst>
                <a:gd name="connsiteX0" fmla="*/ 5408 w 173764"/>
                <a:gd name="connsiteY0" fmla="*/ 191582 h 183985"/>
                <a:gd name="connsiteX1" fmla="*/ 181421 w 173764"/>
                <a:gd name="connsiteY1" fmla="*/ 3916 h 183985"/>
                <a:gd name="connsiteX2" fmla="*/ 178661 w 173764"/>
                <a:gd name="connsiteY2" fmla="*/ 338 h 183985"/>
                <a:gd name="connsiteX3" fmla="*/ 400 w 173764"/>
                <a:gd name="connsiteY3" fmla="*/ 188720 h 183985"/>
                <a:gd name="connsiteX4" fmla="*/ 5408 w 173764"/>
                <a:gd name="connsiteY4" fmla="*/ 191582 h 183985"/>
                <a:gd name="connsiteX5" fmla="*/ 5408 w 173764"/>
                <a:gd name="connsiteY5" fmla="*/ 191582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83985">
                  <a:moveTo>
                    <a:pt x="5408" y="191582"/>
                  </a:moveTo>
                  <a:cubicBezTo>
                    <a:pt x="49565" y="117680"/>
                    <a:pt x="110587" y="55637"/>
                    <a:pt x="181421" y="3916"/>
                  </a:cubicBezTo>
                  <a:cubicBezTo>
                    <a:pt x="183465" y="2383"/>
                    <a:pt x="180808" y="-1093"/>
                    <a:pt x="178661" y="338"/>
                  </a:cubicBezTo>
                  <a:cubicBezTo>
                    <a:pt x="102307" y="48584"/>
                    <a:pt x="44352" y="112672"/>
                    <a:pt x="400" y="188720"/>
                  </a:cubicBezTo>
                  <a:cubicBezTo>
                    <a:pt x="-1440" y="191888"/>
                    <a:pt x="3568" y="194750"/>
                    <a:pt x="5408" y="191582"/>
                  </a:cubicBezTo>
                  <a:lnTo>
                    <a:pt x="5408" y="1915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2" name="任意多边形: 形状 751">
              <a:extLst>
                <a:ext uri="{FF2B5EF4-FFF2-40B4-BE49-F238E27FC236}">
                  <a16:creationId xmlns:a16="http://schemas.microsoft.com/office/drawing/2014/main" id="{36C82248-7E4A-4374-9FE2-C15FDB23CAED}"/>
                </a:ext>
              </a:extLst>
            </p:cNvPr>
            <p:cNvSpPr/>
            <p:nvPr/>
          </p:nvSpPr>
          <p:spPr>
            <a:xfrm>
              <a:off x="8908019" y="3224486"/>
              <a:ext cx="87149" cy="95071"/>
            </a:xfrm>
            <a:custGeom>
              <a:avLst/>
              <a:gdLst>
                <a:gd name="connsiteX0" fmla="*/ 7839 w 112435"/>
                <a:gd name="connsiteY0" fmla="*/ 126861 h 122657"/>
                <a:gd name="connsiteX1" fmla="*/ 113733 w 112435"/>
                <a:gd name="connsiteY1" fmla="*/ 5532 h 122657"/>
                <a:gd name="connsiteX2" fmla="*/ 108827 w 112435"/>
                <a:gd name="connsiteY2" fmla="*/ 728 h 122657"/>
                <a:gd name="connsiteX3" fmla="*/ 582 w 112435"/>
                <a:gd name="connsiteY3" fmla="*/ 122772 h 122657"/>
                <a:gd name="connsiteX4" fmla="*/ 7839 w 112435"/>
                <a:gd name="connsiteY4" fmla="*/ 126861 h 122657"/>
                <a:gd name="connsiteX5" fmla="*/ 7839 w 112435"/>
                <a:gd name="connsiteY5" fmla="*/ 126861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22657">
                  <a:moveTo>
                    <a:pt x="7839" y="126861"/>
                  </a:moveTo>
                  <a:cubicBezTo>
                    <a:pt x="35948" y="79944"/>
                    <a:pt x="72234" y="42023"/>
                    <a:pt x="113733" y="5532"/>
                  </a:cubicBezTo>
                  <a:cubicBezTo>
                    <a:pt x="117106" y="2568"/>
                    <a:pt x="112404" y="-1725"/>
                    <a:pt x="108827" y="728"/>
                  </a:cubicBezTo>
                  <a:cubicBezTo>
                    <a:pt x="63341" y="32721"/>
                    <a:pt x="27975" y="76162"/>
                    <a:pt x="582" y="122772"/>
                  </a:cubicBezTo>
                  <a:cubicBezTo>
                    <a:pt x="-2076" y="127269"/>
                    <a:pt x="5079" y="131358"/>
                    <a:pt x="7839" y="126861"/>
                  </a:cubicBezTo>
                  <a:lnTo>
                    <a:pt x="7839" y="1268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3" name="任意多边形: 形状 752">
              <a:extLst>
                <a:ext uri="{FF2B5EF4-FFF2-40B4-BE49-F238E27FC236}">
                  <a16:creationId xmlns:a16="http://schemas.microsoft.com/office/drawing/2014/main" id="{A83A48CF-BCC6-4961-BE66-13F49C11667E}"/>
                </a:ext>
              </a:extLst>
            </p:cNvPr>
            <p:cNvSpPr/>
            <p:nvPr/>
          </p:nvSpPr>
          <p:spPr>
            <a:xfrm>
              <a:off x="9411162" y="2582761"/>
              <a:ext cx="110917" cy="427822"/>
            </a:xfrm>
            <a:custGeom>
              <a:avLst/>
              <a:gdLst>
                <a:gd name="connsiteX0" fmla="*/ 53354 w 143100"/>
                <a:gd name="connsiteY0" fmla="*/ 553903 h 551957"/>
                <a:gd name="connsiteX1" fmla="*/ 24836 w 143100"/>
                <a:gd name="connsiteY1" fmla="*/ 263409 h 551957"/>
                <a:gd name="connsiteX2" fmla="*/ 67562 w 143100"/>
                <a:gd name="connsiteY2" fmla="*/ 124500 h 551957"/>
                <a:gd name="connsiteX3" fmla="*/ 144120 w 143100"/>
                <a:gd name="connsiteY3" fmla="*/ 14722 h 551957"/>
                <a:gd name="connsiteX4" fmla="*/ 130730 w 143100"/>
                <a:gd name="connsiteY4" fmla="*/ 1434 h 551957"/>
                <a:gd name="connsiteX5" fmla="*/ 5415 w 143100"/>
                <a:gd name="connsiteY5" fmla="*/ 238776 h 551957"/>
                <a:gd name="connsiteX6" fmla="*/ 48039 w 143100"/>
                <a:gd name="connsiteY6" fmla="*/ 555027 h 551957"/>
                <a:gd name="connsiteX7" fmla="*/ 53354 w 143100"/>
                <a:gd name="connsiteY7" fmla="*/ 553903 h 551957"/>
                <a:gd name="connsiteX8" fmla="*/ 53354 w 143100"/>
                <a:gd name="connsiteY8" fmla="*/ 553903 h 55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00" h="551957">
                  <a:moveTo>
                    <a:pt x="53354" y="553903"/>
                  </a:moveTo>
                  <a:cubicBezTo>
                    <a:pt x="24325" y="460172"/>
                    <a:pt x="10731" y="360616"/>
                    <a:pt x="24836" y="263409"/>
                  </a:cubicBezTo>
                  <a:cubicBezTo>
                    <a:pt x="31787" y="215471"/>
                    <a:pt x="45381" y="168248"/>
                    <a:pt x="67562" y="124500"/>
                  </a:cubicBezTo>
                  <a:cubicBezTo>
                    <a:pt x="88107" y="83819"/>
                    <a:pt x="118976" y="52337"/>
                    <a:pt x="144120" y="14722"/>
                  </a:cubicBezTo>
                  <a:cubicBezTo>
                    <a:pt x="149231" y="7158"/>
                    <a:pt x="139112" y="-3983"/>
                    <a:pt x="130730" y="1434"/>
                  </a:cubicBezTo>
                  <a:cubicBezTo>
                    <a:pt x="54887" y="50190"/>
                    <a:pt x="18192" y="157311"/>
                    <a:pt x="5415" y="238776"/>
                  </a:cubicBezTo>
                  <a:cubicBezTo>
                    <a:pt x="-11450" y="346306"/>
                    <a:pt x="13388" y="453017"/>
                    <a:pt x="48039" y="555027"/>
                  </a:cubicBezTo>
                  <a:cubicBezTo>
                    <a:pt x="49061" y="558196"/>
                    <a:pt x="54376" y="557072"/>
                    <a:pt x="53354" y="553903"/>
                  </a:cubicBezTo>
                  <a:lnTo>
                    <a:pt x="53354" y="5539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4" name="任意多边形: 形状 753">
              <a:extLst>
                <a:ext uri="{FF2B5EF4-FFF2-40B4-BE49-F238E27FC236}">
                  <a16:creationId xmlns:a16="http://schemas.microsoft.com/office/drawing/2014/main" id="{13FE247C-36A6-402B-AC7E-145D350B31CB}"/>
                </a:ext>
              </a:extLst>
            </p:cNvPr>
            <p:cNvSpPr/>
            <p:nvPr/>
          </p:nvSpPr>
          <p:spPr>
            <a:xfrm>
              <a:off x="9072624" y="3478968"/>
              <a:ext cx="221833" cy="87149"/>
            </a:xfrm>
            <a:custGeom>
              <a:avLst/>
              <a:gdLst>
                <a:gd name="connsiteX0" fmla="*/ 3377 w 286200"/>
                <a:gd name="connsiteY0" fmla="*/ 120309 h 112435"/>
                <a:gd name="connsiteX1" fmla="*/ 286613 w 286200"/>
                <a:gd name="connsiteY1" fmla="*/ 5012 h 112435"/>
                <a:gd name="connsiteX2" fmla="*/ 283036 w 286200"/>
                <a:gd name="connsiteY2" fmla="*/ 412 h 112435"/>
                <a:gd name="connsiteX3" fmla="*/ 3684 w 286200"/>
                <a:gd name="connsiteY3" fmla="*/ 113563 h 112435"/>
                <a:gd name="connsiteX4" fmla="*/ 3377 w 286200"/>
                <a:gd name="connsiteY4" fmla="*/ 120309 h 112435"/>
                <a:gd name="connsiteX5" fmla="*/ 3377 w 286200"/>
                <a:gd name="connsiteY5" fmla="*/ 12030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200" h="112435">
                  <a:moveTo>
                    <a:pt x="3377" y="120309"/>
                  </a:moveTo>
                  <a:cubicBezTo>
                    <a:pt x="104262" y="125420"/>
                    <a:pt x="211792" y="63887"/>
                    <a:pt x="286613" y="5012"/>
                  </a:cubicBezTo>
                  <a:cubicBezTo>
                    <a:pt x="289271" y="2865"/>
                    <a:pt x="286000" y="-1326"/>
                    <a:pt x="283036" y="412"/>
                  </a:cubicBezTo>
                  <a:cubicBezTo>
                    <a:pt x="198607" y="48248"/>
                    <a:pt x="105693" y="111723"/>
                    <a:pt x="3684" y="113563"/>
                  </a:cubicBezTo>
                  <a:cubicBezTo>
                    <a:pt x="-1018" y="113563"/>
                    <a:pt x="-1325" y="120003"/>
                    <a:pt x="3377" y="120309"/>
                  </a:cubicBezTo>
                  <a:lnTo>
                    <a:pt x="3377" y="120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5" name="任意多边形: 形状 754">
              <a:extLst>
                <a:ext uri="{FF2B5EF4-FFF2-40B4-BE49-F238E27FC236}">
                  <a16:creationId xmlns:a16="http://schemas.microsoft.com/office/drawing/2014/main" id="{D4736F95-691B-40C9-A68C-F0D144F5C699}"/>
                </a:ext>
              </a:extLst>
            </p:cNvPr>
            <p:cNvSpPr/>
            <p:nvPr/>
          </p:nvSpPr>
          <p:spPr>
            <a:xfrm>
              <a:off x="9564520" y="4009267"/>
              <a:ext cx="174298" cy="324828"/>
            </a:xfrm>
            <a:custGeom>
              <a:avLst/>
              <a:gdLst>
                <a:gd name="connsiteX0" fmla="*/ 540 w 224871"/>
                <a:gd name="connsiteY0" fmla="*/ 5577 h 419079"/>
                <a:gd name="connsiteX1" fmla="*/ 109092 w 224871"/>
                <a:gd name="connsiteY1" fmla="*/ 222885 h 419079"/>
                <a:gd name="connsiteX2" fmla="*/ 219790 w 224871"/>
                <a:gd name="connsiteY2" fmla="*/ 425066 h 419079"/>
                <a:gd name="connsiteX3" fmla="*/ 230421 w 224871"/>
                <a:gd name="connsiteY3" fmla="*/ 417706 h 419079"/>
                <a:gd name="connsiteX4" fmla="*/ 126060 w 224871"/>
                <a:gd name="connsiteY4" fmla="*/ 197434 h 419079"/>
                <a:gd name="connsiteX5" fmla="*/ 6673 w 224871"/>
                <a:gd name="connsiteY5" fmla="*/ 1182 h 419079"/>
                <a:gd name="connsiteX6" fmla="*/ 540 w 224871"/>
                <a:gd name="connsiteY6" fmla="*/ 5577 h 419079"/>
                <a:gd name="connsiteX7" fmla="*/ 540 w 224871"/>
                <a:gd name="connsiteY7" fmla="*/ 5577 h 4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871" h="419079">
                  <a:moveTo>
                    <a:pt x="540" y="5577"/>
                  </a:moveTo>
                  <a:cubicBezTo>
                    <a:pt x="46230" y="73550"/>
                    <a:pt x="75872" y="149087"/>
                    <a:pt x="109092" y="222885"/>
                  </a:cubicBezTo>
                  <a:cubicBezTo>
                    <a:pt x="139961" y="291165"/>
                    <a:pt x="168785" y="367519"/>
                    <a:pt x="219790" y="425066"/>
                  </a:cubicBezTo>
                  <a:cubicBezTo>
                    <a:pt x="225003" y="430994"/>
                    <a:pt x="232976" y="423737"/>
                    <a:pt x="230421" y="417706"/>
                  </a:cubicBezTo>
                  <a:cubicBezTo>
                    <a:pt x="199041" y="343396"/>
                    <a:pt x="160199" y="270824"/>
                    <a:pt x="126060" y="197434"/>
                  </a:cubicBezTo>
                  <a:cubicBezTo>
                    <a:pt x="93760" y="127928"/>
                    <a:pt x="54407" y="62306"/>
                    <a:pt x="6673" y="1182"/>
                  </a:cubicBezTo>
                  <a:cubicBezTo>
                    <a:pt x="4118" y="-2089"/>
                    <a:pt x="-1811" y="2102"/>
                    <a:pt x="540" y="5577"/>
                  </a:cubicBezTo>
                  <a:lnTo>
                    <a:pt x="540" y="55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6" name="任意多边形: 形状 755">
              <a:extLst>
                <a:ext uri="{FF2B5EF4-FFF2-40B4-BE49-F238E27FC236}">
                  <a16:creationId xmlns:a16="http://schemas.microsoft.com/office/drawing/2014/main" id="{BC24E7A5-1DBA-4A54-8991-FEC29ED7DDE5}"/>
                </a:ext>
              </a:extLst>
            </p:cNvPr>
            <p:cNvSpPr/>
            <p:nvPr/>
          </p:nvSpPr>
          <p:spPr>
            <a:xfrm>
              <a:off x="9139890" y="2593161"/>
              <a:ext cx="356518" cy="475358"/>
            </a:xfrm>
            <a:custGeom>
              <a:avLst/>
              <a:gdLst>
                <a:gd name="connsiteX0" fmla="*/ 364701 w 459964"/>
                <a:gd name="connsiteY0" fmla="*/ 193672 h 613286"/>
                <a:gd name="connsiteX1" fmla="*/ 304906 w 459964"/>
                <a:gd name="connsiteY1" fmla="*/ 335239 h 613286"/>
                <a:gd name="connsiteX2" fmla="*/ 214548 w 459964"/>
                <a:gd name="connsiteY2" fmla="*/ 406892 h 613286"/>
                <a:gd name="connsiteX3" fmla="*/ 109778 w 459964"/>
                <a:gd name="connsiteY3" fmla="*/ 444098 h 613286"/>
                <a:gd name="connsiteX4" fmla="*/ 0 w 459964"/>
                <a:gd name="connsiteY4" fmla="*/ 406176 h 613286"/>
                <a:gd name="connsiteX5" fmla="*/ 9915 w 459964"/>
                <a:gd name="connsiteY5" fmla="*/ 620826 h 613286"/>
                <a:gd name="connsiteX6" fmla="*/ 112640 w 459964"/>
                <a:gd name="connsiteY6" fmla="*/ 504813 h 613286"/>
                <a:gd name="connsiteX7" fmla="*/ 267189 w 459964"/>
                <a:gd name="connsiteY7" fmla="*/ 373468 h 613286"/>
                <a:gd name="connsiteX8" fmla="*/ 381464 w 459964"/>
                <a:gd name="connsiteY8" fmla="*/ 212071 h 613286"/>
                <a:gd name="connsiteX9" fmla="*/ 402725 w 459964"/>
                <a:gd name="connsiteY9" fmla="*/ 375103 h 613286"/>
                <a:gd name="connsiteX10" fmla="*/ 423270 w 459964"/>
                <a:gd name="connsiteY10" fmla="*/ 167710 h 613286"/>
                <a:gd name="connsiteX11" fmla="*/ 463031 w 459964"/>
                <a:gd name="connsiteY11" fmla="*/ 20112 h 613286"/>
                <a:gd name="connsiteX12" fmla="*/ 456899 w 459964"/>
                <a:gd name="connsiteY12" fmla="*/ 2736 h 613286"/>
                <a:gd name="connsiteX13" fmla="*/ 423679 w 459964"/>
                <a:gd name="connsiteY13" fmla="*/ 11833 h 613286"/>
                <a:gd name="connsiteX14" fmla="*/ 320647 w 459964"/>
                <a:gd name="connsiteY14" fmla="*/ 16228 h 613286"/>
                <a:gd name="connsiteX15" fmla="*/ 356422 w 459964"/>
                <a:gd name="connsiteY15" fmla="*/ 99533 h 613286"/>
                <a:gd name="connsiteX16" fmla="*/ 364701 w 459964"/>
                <a:gd name="connsiteY16" fmla="*/ 193672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9964" h="613286">
                  <a:moveTo>
                    <a:pt x="364701" y="193672"/>
                  </a:moveTo>
                  <a:cubicBezTo>
                    <a:pt x="359897" y="245086"/>
                    <a:pt x="339659" y="295478"/>
                    <a:pt x="304906" y="335239"/>
                  </a:cubicBezTo>
                  <a:cubicBezTo>
                    <a:pt x="279761" y="363962"/>
                    <a:pt x="247768" y="386653"/>
                    <a:pt x="214548" y="406892"/>
                  </a:cubicBezTo>
                  <a:cubicBezTo>
                    <a:pt x="182759" y="426210"/>
                    <a:pt x="147598" y="444098"/>
                    <a:pt x="109778" y="444098"/>
                  </a:cubicBezTo>
                  <a:cubicBezTo>
                    <a:pt x="70323" y="444098"/>
                    <a:pt x="34140" y="424881"/>
                    <a:pt x="0" y="406176"/>
                  </a:cubicBezTo>
                  <a:cubicBezTo>
                    <a:pt x="36184" y="471695"/>
                    <a:pt x="39966" y="552547"/>
                    <a:pt x="9915" y="620826"/>
                  </a:cubicBezTo>
                  <a:cubicBezTo>
                    <a:pt x="41806" y="580349"/>
                    <a:pt x="75025" y="540690"/>
                    <a:pt x="112640" y="504813"/>
                  </a:cubicBezTo>
                  <a:cubicBezTo>
                    <a:pt x="161499" y="458305"/>
                    <a:pt x="217206" y="418851"/>
                    <a:pt x="267189" y="373468"/>
                  </a:cubicBezTo>
                  <a:cubicBezTo>
                    <a:pt x="317069" y="328084"/>
                    <a:pt x="362044" y="274933"/>
                    <a:pt x="381464" y="212071"/>
                  </a:cubicBezTo>
                  <a:cubicBezTo>
                    <a:pt x="375229" y="266960"/>
                    <a:pt x="382589" y="323280"/>
                    <a:pt x="402725" y="375103"/>
                  </a:cubicBezTo>
                  <a:cubicBezTo>
                    <a:pt x="394139" y="305597"/>
                    <a:pt x="401192" y="234456"/>
                    <a:pt x="423270" y="167710"/>
                  </a:cubicBezTo>
                  <a:cubicBezTo>
                    <a:pt x="439420" y="118953"/>
                    <a:pt x="463645" y="71117"/>
                    <a:pt x="463031" y="20112"/>
                  </a:cubicBezTo>
                  <a:cubicBezTo>
                    <a:pt x="462929" y="13775"/>
                    <a:pt x="462111" y="6722"/>
                    <a:pt x="456899" y="2736"/>
                  </a:cubicBezTo>
                  <a:cubicBezTo>
                    <a:pt x="447188" y="-4726"/>
                    <a:pt x="433696" y="4678"/>
                    <a:pt x="423679" y="11833"/>
                  </a:cubicBezTo>
                  <a:cubicBezTo>
                    <a:pt x="391788" y="34524"/>
                    <a:pt x="354684" y="29925"/>
                    <a:pt x="320647" y="16228"/>
                  </a:cubicBezTo>
                  <a:cubicBezTo>
                    <a:pt x="326677" y="43622"/>
                    <a:pt x="348653" y="70708"/>
                    <a:pt x="356422" y="99533"/>
                  </a:cubicBezTo>
                  <a:cubicBezTo>
                    <a:pt x="364803" y="130299"/>
                    <a:pt x="367665" y="162190"/>
                    <a:pt x="364701" y="19367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7" name="任意多边形: 形状 756">
              <a:extLst>
                <a:ext uri="{FF2B5EF4-FFF2-40B4-BE49-F238E27FC236}">
                  <a16:creationId xmlns:a16="http://schemas.microsoft.com/office/drawing/2014/main" id="{316C58E1-0D0D-4C72-8407-8F88517C56A2}"/>
                </a:ext>
              </a:extLst>
            </p:cNvPr>
            <p:cNvSpPr/>
            <p:nvPr/>
          </p:nvSpPr>
          <p:spPr>
            <a:xfrm>
              <a:off x="10102028" y="3325217"/>
              <a:ext cx="293137" cy="594197"/>
            </a:xfrm>
            <a:custGeom>
              <a:avLst/>
              <a:gdLst>
                <a:gd name="connsiteX0" fmla="*/ 57222 w 378193"/>
                <a:gd name="connsiteY0" fmla="*/ 1706 h 766608"/>
                <a:gd name="connsiteX1" fmla="*/ 88602 w 378193"/>
                <a:gd name="connsiteY1" fmla="*/ 284636 h 766608"/>
                <a:gd name="connsiteX2" fmla="*/ 379401 w 378193"/>
                <a:gd name="connsiteY2" fmla="*/ 775061 h 766608"/>
                <a:gd name="connsiteX3" fmla="*/ 383490 w 378193"/>
                <a:gd name="connsiteY3" fmla="*/ 773016 h 766608"/>
                <a:gd name="connsiteX4" fmla="*/ 180799 w 378193"/>
                <a:gd name="connsiteY4" fmla="*/ 405657 h 766608"/>
                <a:gd name="connsiteX5" fmla="*/ 76234 w 378193"/>
                <a:gd name="connsiteY5" fmla="*/ 20411 h 766608"/>
                <a:gd name="connsiteX6" fmla="*/ 57222 w 378193"/>
                <a:gd name="connsiteY6" fmla="*/ 1706 h 766608"/>
                <a:gd name="connsiteX7" fmla="*/ 57222 w 378193"/>
                <a:gd name="connsiteY7" fmla="*/ 1706 h 76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193" h="766608">
                  <a:moveTo>
                    <a:pt x="57222" y="1706"/>
                  </a:moveTo>
                  <a:cubicBezTo>
                    <a:pt x="-64209" y="71927"/>
                    <a:pt x="37597" y="205215"/>
                    <a:pt x="88602" y="284636"/>
                  </a:cubicBezTo>
                  <a:cubicBezTo>
                    <a:pt x="191225" y="444499"/>
                    <a:pt x="282502" y="611926"/>
                    <a:pt x="379401" y="775061"/>
                  </a:cubicBezTo>
                  <a:cubicBezTo>
                    <a:pt x="380833" y="777514"/>
                    <a:pt x="384819" y="775469"/>
                    <a:pt x="383490" y="773016"/>
                  </a:cubicBezTo>
                  <a:cubicBezTo>
                    <a:pt x="316335" y="650359"/>
                    <a:pt x="249589" y="527497"/>
                    <a:pt x="180799" y="405657"/>
                  </a:cubicBezTo>
                  <a:cubicBezTo>
                    <a:pt x="123763" y="304772"/>
                    <a:pt x="-8809" y="131212"/>
                    <a:pt x="76234" y="20411"/>
                  </a:cubicBezTo>
                  <a:cubicBezTo>
                    <a:pt x="84513" y="9679"/>
                    <a:pt x="68874" y="-5040"/>
                    <a:pt x="57222" y="1706"/>
                  </a:cubicBezTo>
                  <a:lnTo>
                    <a:pt x="57222" y="17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8" name="任意多边形: 形状 757">
              <a:extLst>
                <a:ext uri="{FF2B5EF4-FFF2-40B4-BE49-F238E27FC236}">
                  <a16:creationId xmlns:a16="http://schemas.microsoft.com/office/drawing/2014/main" id="{16B0F99E-C266-42EF-9F2F-2112682007E4}"/>
                </a:ext>
              </a:extLst>
            </p:cNvPr>
            <p:cNvSpPr/>
            <p:nvPr/>
          </p:nvSpPr>
          <p:spPr>
            <a:xfrm>
              <a:off x="9558488" y="732429"/>
              <a:ext cx="1378537" cy="1410228"/>
            </a:xfrm>
            <a:custGeom>
              <a:avLst/>
              <a:gdLst>
                <a:gd name="connsiteX0" fmla="*/ 39600 w 1778531"/>
                <a:gd name="connsiteY0" fmla="*/ 1530666 h 1819416"/>
                <a:gd name="connsiteX1" fmla="*/ 296874 w 1778531"/>
                <a:gd name="connsiteY1" fmla="*/ 1213904 h 1819416"/>
                <a:gd name="connsiteX2" fmla="*/ 583381 w 1778531"/>
                <a:gd name="connsiteY2" fmla="*/ 870974 h 1819416"/>
                <a:gd name="connsiteX3" fmla="*/ 705425 w 1778531"/>
                <a:gd name="connsiteY3" fmla="*/ 604808 h 1819416"/>
                <a:gd name="connsiteX4" fmla="*/ 796804 w 1778531"/>
                <a:gd name="connsiteY4" fmla="*/ 245626 h 1819416"/>
                <a:gd name="connsiteX5" fmla="*/ 1161710 w 1778531"/>
                <a:gd name="connsiteY5" fmla="*/ 70329 h 1819416"/>
                <a:gd name="connsiteX6" fmla="*/ 1261982 w 1778531"/>
                <a:gd name="connsiteY6" fmla="*/ 42629 h 1819416"/>
                <a:gd name="connsiteX7" fmla="*/ 1346820 w 1778531"/>
                <a:gd name="connsiteY7" fmla="*/ 96700 h 1819416"/>
                <a:gd name="connsiteX8" fmla="*/ 1149035 w 1778531"/>
                <a:gd name="connsiteY8" fmla="*/ 213122 h 1819416"/>
                <a:gd name="connsiteX9" fmla="*/ 1031387 w 1778531"/>
                <a:gd name="connsiteY9" fmla="*/ 414178 h 1819416"/>
                <a:gd name="connsiteX10" fmla="*/ 1146787 w 1778531"/>
                <a:gd name="connsiteY10" fmla="*/ 667057 h 1819416"/>
                <a:gd name="connsiteX11" fmla="*/ 1383004 w 1778531"/>
                <a:gd name="connsiteY11" fmla="*/ 776528 h 1819416"/>
                <a:gd name="connsiteX12" fmla="*/ 1532953 w 1778531"/>
                <a:gd name="connsiteY12" fmla="*/ 685149 h 1819416"/>
                <a:gd name="connsiteX13" fmla="*/ 1770193 w 1778531"/>
                <a:gd name="connsiteY13" fmla="*/ 529169 h 1819416"/>
                <a:gd name="connsiteX14" fmla="*/ 1740755 w 1778531"/>
                <a:gd name="connsiteY14" fmla="*/ 516699 h 1819416"/>
                <a:gd name="connsiteX15" fmla="*/ 1526513 w 1778531"/>
                <a:gd name="connsiteY15" fmla="*/ 941196 h 1819416"/>
                <a:gd name="connsiteX16" fmla="*/ 1304095 w 1778531"/>
                <a:gd name="connsiteY16" fmla="*/ 1070497 h 1819416"/>
                <a:gd name="connsiteX17" fmla="*/ 1049479 w 1778531"/>
                <a:gd name="connsiteY17" fmla="*/ 1133359 h 1819416"/>
                <a:gd name="connsiteX18" fmla="*/ 692546 w 1778531"/>
                <a:gd name="connsiteY18" fmla="*/ 1400650 h 1819416"/>
                <a:gd name="connsiteX19" fmla="*/ 361167 w 1778531"/>
                <a:gd name="connsiteY19" fmla="*/ 1800001 h 1819416"/>
                <a:gd name="connsiteX20" fmla="*/ 395408 w 1778531"/>
                <a:gd name="connsiteY20" fmla="*/ 1819524 h 1819416"/>
                <a:gd name="connsiteX21" fmla="*/ 788321 w 1778531"/>
                <a:gd name="connsiteY21" fmla="*/ 1351382 h 1819416"/>
                <a:gd name="connsiteX22" fmla="*/ 1020859 w 1778531"/>
                <a:gd name="connsiteY22" fmla="*/ 1178640 h 1819416"/>
                <a:gd name="connsiteX23" fmla="*/ 1300517 w 1778531"/>
                <a:gd name="connsiteY23" fmla="*/ 1106885 h 1819416"/>
                <a:gd name="connsiteX24" fmla="*/ 1646104 w 1778531"/>
                <a:gd name="connsiteY24" fmla="*/ 881605 h 1819416"/>
                <a:gd name="connsiteX25" fmla="*/ 1780312 w 1778531"/>
                <a:gd name="connsiteY25" fmla="*/ 508011 h 1819416"/>
                <a:gd name="connsiteX26" fmla="*/ 1750874 w 1778531"/>
                <a:gd name="connsiteY26" fmla="*/ 495541 h 1819416"/>
                <a:gd name="connsiteX27" fmla="*/ 1401198 w 1778531"/>
                <a:gd name="connsiteY27" fmla="*/ 727056 h 1819416"/>
                <a:gd name="connsiteX28" fmla="*/ 1079632 w 1778531"/>
                <a:gd name="connsiteY28" fmla="*/ 493496 h 1819416"/>
                <a:gd name="connsiteX29" fmla="*/ 1118882 w 1778531"/>
                <a:gd name="connsiteY29" fmla="*/ 275269 h 1819416"/>
                <a:gd name="connsiteX30" fmla="*/ 1291011 w 1778531"/>
                <a:gd name="connsiteY30" fmla="*/ 167637 h 1819416"/>
                <a:gd name="connsiteX31" fmla="*/ 1388115 w 1778531"/>
                <a:gd name="connsiteY31" fmla="*/ 23923 h 1819416"/>
                <a:gd name="connsiteX32" fmla="*/ 1125322 w 1778531"/>
                <a:gd name="connsiteY32" fmla="*/ 41811 h 1819416"/>
                <a:gd name="connsiteX33" fmla="*/ 826140 w 1778531"/>
                <a:gd name="connsiteY33" fmla="*/ 175916 h 1819416"/>
                <a:gd name="connsiteX34" fmla="*/ 669241 w 1778531"/>
                <a:gd name="connsiteY34" fmla="*/ 406001 h 1819416"/>
                <a:gd name="connsiteX35" fmla="*/ 626515 w 1778531"/>
                <a:gd name="connsiteY35" fmla="*/ 752814 h 1819416"/>
                <a:gd name="connsiteX36" fmla="*/ 336226 w 1778531"/>
                <a:gd name="connsiteY36" fmla="*/ 1113325 h 1819416"/>
                <a:gd name="connsiteX37" fmla="*/ 3825 w 1778531"/>
                <a:gd name="connsiteY37" fmla="*/ 1503682 h 1819416"/>
                <a:gd name="connsiteX38" fmla="*/ 39600 w 1778531"/>
                <a:gd name="connsiteY38" fmla="*/ 1530666 h 1819416"/>
                <a:gd name="connsiteX39" fmla="*/ 39600 w 1778531"/>
                <a:gd name="connsiteY39" fmla="*/ 1530666 h 1819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778531" h="1819416">
                  <a:moveTo>
                    <a:pt x="39600" y="1530666"/>
                  </a:moveTo>
                  <a:cubicBezTo>
                    <a:pt x="130673" y="1429167"/>
                    <a:pt x="209582" y="1318367"/>
                    <a:pt x="296874" y="1213904"/>
                  </a:cubicBezTo>
                  <a:cubicBezTo>
                    <a:pt x="392342" y="1099628"/>
                    <a:pt x="488526" y="985761"/>
                    <a:pt x="583381" y="870974"/>
                  </a:cubicBezTo>
                  <a:cubicBezTo>
                    <a:pt x="650536" y="789714"/>
                    <a:pt x="701745" y="710089"/>
                    <a:pt x="705425" y="604808"/>
                  </a:cubicBezTo>
                  <a:cubicBezTo>
                    <a:pt x="710229" y="470703"/>
                    <a:pt x="684369" y="350294"/>
                    <a:pt x="796804" y="245626"/>
                  </a:cubicBezTo>
                  <a:cubicBezTo>
                    <a:pt x="893193" y="155882"/>
                    <a:pt x="1033635" y="103446"/>
                    <a:pt x="1161710" y="70329"/>
                  </a:cubicBezTo>
                  <a:cubicBezTo>
                    <a:pt x="1194010" y="61947"/>
                    <a:pt x="1229580" y="50295"/>
                    <a:pt x="1261982" y="42629"/>
                  </a:cubicBezTo>
                  <a:cubicBezTo>
                    <a:pt x="1371556" y="16666"/>
                    <a:pt x="1383618" y="74111"/>
                    <a:pt x="1346820" y="96700"/>
                  </a:cubicBezTo>
                  <a:cubicBezTo>
                    <a:pt x="1293567" y="129511"/>
                    <a:pt x="1202494" y="180311"/>
                    <a:pt x="1149035" y="213122"/>
                  </a:cubicBezTo>
                  <a:cubicBezTo>
                    <a:pt x="1068491" y="262492"/>
                    <a:pt x="1024129" y="320856"/>
                    <a:pt x="1031387" y="414178"/>
                  </a:cubicBezTo>
                  <a:cubicBezTo>
                    <a:pt x="1038235" y="502594"/>
                    <a:pt x="1092613" y="597040"/>
                    <a:pt x="1146787" y="667057"/>
                  </a:cubicBezTo>
                  <a:cubicBezTo>
                    <a:pt x="1199325" y="735131"/>
                    <a:pt x="1287434" y="806579"/>
                    <a:pt x="1383004" y="776528"/>
                  </a:cubicBezTo>
                  <a:cubicBezTo>
                    <a:pt x="1437280" y="759458"/>
                    <a:pt x="1487365" y="716733"/>
                    <a:pt x="1532953" y="685149"/>
                  </a:cubicBezTo>
                  <a:cubicBezTo>
                    <a:pt x="1610840" y="631282"/>
                    <a:pt x="1689954" y="579970"/>
                    <a:pt x="1770193" y="529169"/>
                  </a:cubicBezTo>
                  <a:cubicBezTo>
                    <a:pt x="1760380" y="524979"/>
                    <a:pt x="1750567" y="520890"/>
                    <a:pt x="1740755" y="516699"/>
                  </a:cubicBezTo>
                  <a:cubicBezTo>
                    <a:pt x="1769988" y="666034"/>
                    <a:pt x="1636598" y="846341"/>
                    <a:pt x="1526513" y="941196"/>
                  </a:cubicBezTo>
                  <a:cubicBezTo>
                    <a:pt x="1461709" y="997107"/>
                    <a:pt x="1386888" y="1042388"/>
                    <a:pt x="1304095" y="1070497"/>
                  </a:cubicBezTo>
                  <a:cubicBezTo>
                    <a:pt x="1221301" y="1098504"/>
                    <a:pt x="1133090" y="1108010"/>
                    <a:pt x="1049479" y="1133359"/>
                  </a:cubicBezTo>
                  <a:cubicBezTo>
                    <a:pt x="899121" y="1178946"/>
                    <a:pt x="793840" y="1291382"/>
                    <a:pt x="692546" y="1400650"/>
                  </a:cubicBezTo>
                  <a:cubicBezTo>
                    <a:pt x="574488" y="1527907"/>
                    <a:pt x="468083" y="1664363"/>
                    <a:pt x="361167" y="1800001"/>
                  </a:cubicBezTo>
                  <a:cubicBezTo>
                    <a:pt x="345834" y="1819422"/>
                    <a:pt x="380178" y="1839047"/>
                    <a:pt x="395408" y="1819524"/>
                  </a:cubicBezTo>
                  <a:cubicBezTo>
                    <a:pt x="520212" y="1659048"/>
                    <a:pt x="644301" y="1497140"/>
                    <a:pt x="788321" y="1351382"/>
                  </a:cubicBezTo>
                  <a:cubicBezTo>
                    <a:pt x="856498" y="1282388"/>
                    <a:pt x="926719" y="1214722"/>
                    <a:pt x="1020859" y="1178640"/>
                  </a:cubicBezTo>
                  <a:cubicBezTo>
                    <a:pt x="1110807" y="1144194"/>
                    <a:pt x="1208728" y="1135505"/>
                    <a:pt x="1300517" y="1106885"/>
                  </a:cubicBezTo>
                  <a:cubicBezTo>
                    <a:pt x="1436054" y="1064569"/>
                    <a:pt x="1556053" y="986068"/>
                    <a:pt x="1646104" y="881605"/>
                  </a:cubicBezTo>
                  <a:cubicBezTo>
                    <a:pt x="1731147" y="782866"/>
                    <a:pt x="1811998" y="639152"/>
                    <a:pt x="1780312" y="508011"/>
                  </a:cubicBezTo>
                  <a:cubicBezTo>
                    <a:pt x="1777654" y="497176"/>
                    <a:pt x="1761709" y="488079"/>
                    <a:pt x="1750874" y="495541"/>
                  </a:cubicBezTo>
                  <a:cubicBezTo>
                    <a:pt x="1637212" y="574041"/>
                    <a:pt x="1522834" y="659902"/>
                    <a:pt x="1401198" y="727056"/>
                  </a:cubicBezTo>
                  <a:cubicBezTo>
                    <a:pt x="1250636" y="810055"/>
                    <a:pt x="1124504" y="601844"/>
                    <a:pt x="1079632" y="493496"/>
                  </a:cubicBezTo>
                  <a:cubicBezTo>
                    <a:pt x="1046821" y="414382"/>
                    <a:pt x="1049581" y="336699"/>
                    <a:pt x="1118882" y="275269"/>
                  </a:cubicBezTo>
                  <a:cubicBezTo>
                    <a:pt x="1168967" y="230908"/>
                    <a:pt x="1234487" y="203616"/>
                    <a:pt x="1291011" y="167637"/>
                  </a:cubicBezTo>
                  <a:cubicBezTo>
                    <a:pt x="1333839" y="140448"/>
                    <a:pt x="1450977" y="84945"/>
                    <a:pt x="1388115" y="23923"/>
                  </a:cubicBezTo>
                  <a:cubicBezTo>
                    <a:pt x="1331181" y="-31477"/>
                    <a:pt x="1186139" y="24332"/>
                    <a:pt x="1125322" y="41811"/>
                  </a:cubicBezTo>
                  <a:cubicBezTo>
                    <a:pt x="1020450" y="71760"/>
                    <a:pt x="914555" y="113872"/>
                    <a:pt x="826140" y="175916"/>
                  </a:cubicBezTo>
                  <a:cubicBezTo>
                    <a:pt x="744471" y="233156"/>
                    <a:pt x="683142" y="308795"/>
                    <a:pt x="669241" y="406001"/>
                  </a:cubicBezTo>
                  <a:cubicBezTo>
                    <a:pt x="651967" y="526512"/>
                    <a:pt x="691319" y="639254"/>
                    <a:pt x="626515" y="752814"/>
                  </a:cubicBezTo>
                  <a:cubicBezTo>
                    <a:pt x="552308" y="882729"/>
                    <a:pt x="432512" y="997618"/>
                    <a:pt x="336226" y="1113325"/>
                  </a:cubicBezTo>
                  <a:cubicBezTo>
                    <a:pt x="227163" y="1244466"/>
                    <a:pt x="107981" y="1369270"/>
                    <a:pt x="3825" y="1503682"/>
                  </a:cubicBezTo>
                  <a:cubicBezTo>
                    <a:pt x="-11405" y="1523409"/>
                    <a:pt x="22632" y="1549576"/>
                    <a:pt x="39600" y="1530666"/>
                  </a:cubicBezTo>
                  <a:lnTo>
                    <a:pt x="39600" y="15306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9" name="任意多边形: 形状 758">
              <a:extLst>
                <a:ext uri="{FF2B5EF4-FFF2-40B4-BE49-F238E27FC236}">
                  <a16:creationId xmlns:a16="http://schemas.microsoft.com/office/drawing/2014/main" id="{F4F4164B-FE95-437C-907B-D8E9C3848B2A}"/>
                </a:ext>
              </a:extLst>
            </p:cNvPr>
            <p:cNvSpPr/>
            <p:nvPr/>
          </p:nvSpPr>
          <p:spPr>
            <a:xfrm>
              <a:off x="10229181" y="1402318"/>
              <a:ext cx="483280" cy="142607"/>
            </a:xfrm>
            <a:custGeom>
              <a:avLst/>
              <a:gdLst>
                <a:gd name="connsiteX0" fmla="*/ 499 w 623508"/>
                <a:gd name="connsiteY0" fmla="*/ 3236 h 183985"/>
                <a:gd name="connsiteX1" fmla="*/ 282100 w 623508"/>
                <a:gd name="connsiteY1" fmla="*/ 177921 h 183985"/>
                <a:gd name="connsiteX2" fmla="*/ 619203 w 623508"/>
                <a:gd name="connsiteY2" fmla="*/ 143577 h 183985"/>
                <a:gd name="connsiteX3" fmla="*/ 612457 w 623508"/>
                <a:gd name="connsiteY3" fmla="*/ 126916 h 183985"/>
                <a:gd name="connsiteX4" fmla="*/ 283020 w 623508"/>
                <a:gd name="connsiteY4" fmla="*/ 153083 h 183985"/>
                <a:gd name="connsiteX5" fmla="*/ 3361 w 623508"/>
                <a:gd name="connsiteY5" fmla="*/ 579 h 183985"/>
                <a:gd name="connsiteX6" fmla="*/ 499 w 623508"/>
                <a:gd name="connsiteY6" fmla="*/ 3236 h 183985"/>
                <a:gd name="connsiteX7" fmla="*/ 499 w 623508"/>
                <a:gd name="connsiteY7" fmla="*/ 3236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508" h="183985">
                  <a:moveTo>
                    <a:pt x="499" y="3236"/>
                  </a:moveTo>
                  <a:cubicBezTo>
                    <a:pt x="75320" y="86030"/>
                    <a:pt x="169460" y="150732"/>
                    <a:pt x="282100" y="177921"/>
                  </a:cubicBezTo>
                  <a:cubicBezTo>
                    <a:pt x="390141" y="203986"/>
                    <a:pt x="522099" y="200101"/>
                    <a:pt x="619203" y="143577"/>
                  </a:cubicBezTo>
                  <a:cubicBezTo>
                    <a:pt x="627789" y="138568"/>
                    <a:pt x="623087" y="123236"/>
                    <a:pt x="612457" y="126916"/>
                  </a:cubicBezTo>
                  <a:cubicBezTo>
                    <a:pt x="503292" y="163815"/>
                    <a:pt x="397602" y="181192"/>
                    <a:pt x="283020" y="153083"/>
                  </a:cubicBezTo>
                  <a:cubicBezTo>
                    <a:pt x="177739" y="127223"/>
                    <a:pt x="80431" y="72640"/>
                    <a:pt x="3361" y="579"/>
                  </a:cubicBezTo>
                  <a:cubicBezTo>
                    <a:pt x="1624" y="-1159"/>
                    <a:pt x="-1136" y="1397"/>
                    <a:pt x="499" y="3236"/>
                  </a:cubicBezTo>
                  <a:lnTo>
                    <a:pt x="499" y="32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0" name="任意多边形: 形状 759">
              <a:extLst>
                <a:ext uri="{FF2B5EF4-FFF2-40B4-BE49-F238E27FC236}">
                  <a16:creationId xmlns:a16="http://schemas.microsoft.com/office/drawing/2014/main" id="{3F11D92B-8DDE-47C6-A79E-B6326CC7278C}"/>
                </a:ext>
              </a:extLst>
            </p:cNvPr>
            <p:cNvSpPr/>
            <p:nvPr/>
          </p:nvSpPr>
          <p:spPr>
            <a:xfrm>
              <a:off x="10088488" y="1003346"/>
              <a:ext cx="95071" cy="340673"/>
            </a:xfrm>
            <a:custGeom>
              <a:avLst/>
              <a:gdLst>
                <a:gd name="connsiteX0" fmla="*/ 125184 w 122657"/>
                <a:gd name="connsiteY0" fmla="*/ 441006 h 439522"/>
                <a:gd name="connsiteX1" fmla="*/ 35338 w 122657"/>
                <a:gd name="connsiteY1" fmla="*/ 230546 h 439522"/>
                <a:gd name="connsiteX2" fmla="*/ 34520 w 122657"/>
                <a:gd name="connsiteY2" fmla="*/ 4141 h 439522"/>
                <a:gd name="connsiteX3" fmla="*/ 25832 w 122657"/>
                <a:gd name="connsiteY3" fmla="*/ 2813 h 439522"/>
                <a:gd name="connsiteX4" fmla="*/ 121607 w 122657"/>
                <a:gd name="connsiteY4" fmla="*/ 443357 h 439522"/>
                <a:gd name="connsiteX5" fmla="*/ 125184 w 122657"/>
                <a:gd name="connsiteY5" fmla="*/ 441006 h 439522"/>
                <a:gd name="connsiteX6" fmla="*/ 125184 w 122657"/>
                <a:gd name="connsiteY6" fmla="*/ 441006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57" h="439522">
                  <a:moveTo>
                    <a:pt x="125184" y="441006"/>
                  </a:moveTo>
                  <a:cubicBezTo>
                    <a:pt x="80210" y="377940"/>
                    <a:pt x="50568" y="305163"/>
                    <a:pt x="35338" y="230546"/>
                  </a:cubicBezTo>
                  <a:cubicBezTo>
                    <a:pt x="19699" y="153579"/>
                    <a:pt x="28081" y="81211"/>
                    <a:pt x="34520" y="4141"/>
                  </a:cubicBezTo>
                  <a:cubicBezTo>
                    <a:pt x="34929" y="-969"/>
                    <a:pt x="27672" y="-1276"/>
                    <a:pt x="25832" y="2813"/>
                  </a:cubicBezTo>
                  <a:cubicBezTo>
                    <a:pt x="-37439" y="147855"/>
                    <a:pt x="23583" y="326730"/>
                    <a:pt x="121607" y="443357"/>
                  </a:cubicBezTo>
                  <a:cubicBezTo>
                    <a:pt x="123242" y="445197"/>
                    <a:pt x="126616" y="442948"/>
                    <a:pt x="125184" y="441006"/>
                  </a:cubicBezTo>
                  <a:lnTo>
                    <a:pt x="125184" y="4410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1" name="任意多边形: 形状 760">
              <a:extLst>
                <a:ext uri="{FF2B5EF4-FFF2-40B4-BE49-F238E27FC236}">
                  <a16:creationId xmlns:a16="http://schemas.microsoft.com/office/drawing/2014/main" id="{4A751CC6-4720-40C7-BF16-292B10802D3E}"/>
                </a:ext>
              </a:extLst>
            </p:cNvPr>
            <p:cNvSpPr/>
            <p:nvPr/>
          </p:nvSpPr>
          <p:spPr>
            <a:xfrm>
              <a:off x="9605768" y="1751386"/>
              <a:ext cx="348596" cy="348596"/>
            </a:xfrm>
            <a:custGeom>
              <a:avLst/>
              <a:gdLst>
                <a:gd name="connsiteX0" fmla="*/ 17750 w 449743"/>
                <a:gd name="connsiteY0" fmla="*/ 252645 h 449743"/>
                <a:gd name="connsiteX1" fmla="*/ 173116 w 449743"/>
                <a:gd name="connsiteY1" fmla="*/ 74178 h 449743"/>
                <a:gd name="connsiteX2" fmla="*/ 274002 w 449743"/>
                <a:gd name="connsiteY2" fmla="*/ 18165 h 449743"/>
                <a:gd name="connsiteX3" fmla="*/ 379896 w 449743"/>
                <a:gd name="connsiteY3" fmla="*/ 73565 h 449743"/>
                <a:gd name="connsiteX4" fmla="*/ 424871 w 449743"/>
                <a:gd name="connsiteY4" fmla="*/ 191725 h 449743"/>
                <a:gd name="connsiteX5" fmla="*/ 368755 w 449743"/>
                <a:gd name="connsiteY5" fmla="*/ 268590 h 449743"/>
                <a:gd name="connsiteX6" fmla="*/ 229028 w 449743"/>
                <a:gd name="connsiteY6" fmla="*/ 441026 h 449743"/>
                <a:gd name="connsiteX7" fmla="*/ 247018 w 449743"/>
                <a:gd name="connsiteY7" fmla="*/ 454518 h 449743"/>
                <a:gd name="connsiteX8" fmla="*/ 431923 w 449743"/>
                <a:gd name="connsiteY8" fmla="*/ 223411 h 449743"/>
                <a:gd name="connsiteX9" fmla="*/ 453082 w 449743"/>
                <a:gd name="connsiteY9" fmla="*/ 133258 h 449743"/>
                <a:gd name="connsiteX10" fmla="*/ 381021 w 449743"/>
                <a:gd name="connsiteY10" fmla="*/ 46478 h 449743"/>
                <a:gd name="connsiteX11" fmla="*/ 200203 w 449743"/>
                <a:gd name="connsiteY11" fmla="*/ 22458 h 449743"/>
                <a:gd name="connsiteX12" fmla="*/ 98295 w 449743"/>
                <a:gd name="connsiteY12" fmla="*/ 126614 h 449743"/>
                <a:gd name="connsiteX13" fmla="*/ 1805 w 449743"/>
                <a:gd name="connsiteY13" fmla="*/ 243547 h 449743"/>
                <a:gd name="connsiteX14" fmla="*/ 17750 w 449743"/>
                <a:gd name="connsiteY14" fmla="*/ 252645 h 449743"/>
                <a:gd name="connsiteX15" fmla="*/ 17750 w 449743"/>
                <a:gd name="connsiteY15" fmla="*/ 252645 h 44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9743" h="449743">
                  <a:moveTo>
                    <a:pt x="17750" y="252645"/>
                  </a:moveTo>
                  <a:cubicBezTo>
                    <a:pt x="66813" y="191111"/>
                    <a:pt x="117921" y="131009"/>
                    <a:pt x="173116" y="74178"/>
                  </a:cubicBezTo>
                  <a:cubicBezTo>
                    <a:pt x="201021" y="45456"/>
                    <a:pt x="229437" y="16222"/>
                    <a:pt x="274002" y="18165"/>
                  </a:cubicBezTo>
                  <a:cubicBezTo>
                    <a:pt x="316728" y="20107"/>
                    <a:pt x="351481" y="45558"/>
                    <a:pt x="379896" y="73565"/>
                  </a:cubicBezTo>
                  <a:cubicBezTo>
                    <a:pt x="413320" y="106376"/>
                    <a:pt x="450629" y="143480"/>
                    <a:pt x="424871" y="191725"/>
                  </a:cubicBezTo>
                  <a:cubicBezTo>
                    <a:pt x="410152" y="219220"/>
                    <a:pt x="387767" y="243854"/>
                    <a:pt x="368755" y="268590"/>
                  </a:cubicBezTo>
                  <a:cubicBezTo>
                    <a:pt x="323576" y="327159"/>
                    <a:pt x="275842" y="383684"/>
                    <a:pt x="229028" y="441026"/>
                  </a:cubicBezTo>
                  <a:cubicBezTo>
                    <a:pt x="221055" y="450736"/>
                    <a:pt x="238534" y="464126"/>
                    <a:pt x="247018" y="454518"/>
                  </a:cubicBezTo>
                  <a:cubicBezTo>
                    <a:pt x="312128" y="381332"/>
                    <a:pt x="377034" y="303854"/>
                    <a:pt x="431923" y="223411"/>
                  </a:cubicBezTo>
                  <a:cubicBezTo>
                    <a:pt x="450833" y="195711"/>
                    <a:pt x="464734" y="166171"/>
                    <a:pt x="453082" y="133258"/>
                  </a:cubicBezTo>
                  <a:cubicBezTo>
                    <a:pt x="441020" y="99323"/>
                    <a:pt x="408516" y="69578"/>
                    <a:pt x="381021" y="46478"/>
                  </a:cubicBezTo>
                  <a:cubicBezTo>
                    <a:pt x="330731" y="4059"/>
                    <a:pt x="258977" y="-20472"/>
                    <a:pt x="200203" y="22458"/>
                  </a:cubicBezTo>
                  <a:cubicBezTo>
                    <a:pt x="161464" y="50771"/>
                    <a:pt x="129573" y="91452"/>
                    <a:pt x="98295" y="126614"/>
                  </a:cubicBezTo>
                  <a:cubicBezTo>
                    <a:pt x="64565" y="164536"/>
                    <a:pt x="32367" y="203377"/>
                    <a:pt x="1805" y="243547"/>
                  </a:cubicBezTo>
                  <a:cubicBezTo>
                    <a:pt x="-5350" y="252849"/>
                    <a:pt x="10595" y="261639"/>
                    <a:pt x="17750" y="252645"/>
                  </a:cubicBezTo>
                  <a:lnTo>
                    <a:pt x="17750" y="2526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2" name="任意多边形: 形状 761">
              <a:extLst>
                <a:ext uri="{FF2B5EF4-FFF2-40B4-BE49-F238E27FC236}">
                  <a16:creationId xmlns:a16="http://schemas.microsoft.com/office/drawing/2014/main" id="{22CD1B01-2436-46D2-A201-6CDF032FDB2C}"/>
                </a:ext>
              </a:extLst>
            </p:cNvPr>
            <p:cNvSpPr/>
            <p:nvPr/>
          </p:nvSpPr>
          <p:spPr>
            <a:xfrm>
              <a:off x="7790935" y="2999699"/>
              <a:ext cx="1220085" cy="1180472"/>
            </a:xfrm>
            <a:custGeom>
              <a:avLst/>
              <a:gdLst>
                <a:gd name="connsiteX0" fmla="*/ 1135869 w 1574102"/>
                <a:gd name="connsiteY0" fmla="*/ 2597 h 1522995"/>
                <a:gd name="connsiteX1" fmla="*/ 400129 w 1574102"/>
                <a:gd name="connsiteY1" fmla="*/ 627434 h 1522995"/>
                <a:gd name="connsiteX2" fmla="*/ 92873 w 1574102"/>
                <a:gd name="connsiteY2" fmla="*/ 826752 h 1522995"/>
                <a:gd name="connsiteX3" fmla="*/ 1289 w 1574102"/>
                <a:gd name="connsiteY3" fmla="*/ 1116325 h 1522995"/>
                <a:gd name="connsiteX4" fmla="*/ 490589 w 1574102"/>
                <a:gd name="connsiteY4" fmla="*/ 1531827 h 1522995"/>
                <a:gd name="connsiteX5" fmla="*/ 848544 w 1574102"/>
                <a:gd name="connsiteY5" fmla="*/ 1364604 h 1522995"/>
                <a:gd name="connsiteX6" fmla="*/ 989600 w 1574102"/>
                <a:gd name="connsiteY6" fmla="*/ 1077484 h 1522995"/>
                <a:gd name="connsiteX7" fmla="*/ 1035494 w 1574102"/>
                <a:gd name="connsiteY7" fmla="*/ 862527 h 1522995"/>
                <a:gd name="connsiteX8" fmla="*/ 1186669 w 1574102"/>
                <a:gd name="connsiteY8" fmla="*/ 635100 h 1522995"/>
                <a:gd name="connsiteX9" fmla="*/ 1573960 w 1574102"/>
                <a:gd name="connsiteY9" fmla="*/ 203039 h 1522995"/>
                <a:gd name="connsiteX10" fmla="*/ 1542171 w 1574102"/>
                <a:gd name="connsiteY10" fmla="*/ 171966 h 1522995"/>
                <a:gd name="connsiteX11" fmla="*/ 1267623 w 1574102"/>
                <a:gd name="connsiteY11" fmla="*/ 476769 h 1522995"/>
                <a:gd name="connsiteX12" fmla="*/ 1035290 w 1574102"/>
                <a:gd name="connsiteY12" fmla="*/ 773804 h 1522995"/>
                <a:gd name="connsiteX13" fmla="*/ 948612 w 1574102"/>
                <a:gd name="connsiteY13" fmla="*/ 1053974 h 1522995"/>
                <a:gd name="connsiteX14" fmla="*/ 752360 w 1574102"/>
                <a:gd name="connsiteY14" fmla="*/ 1388522 h 1522995"/>
                <a:gd name="connsiteX15" fmla="*/ 326228 w 1574102"/>
                <a:gd name="connsiteY15" fmla="*/ 1479493 h 1522995"/>
                <a:gd name="connsiteX16" fmla="*/ 37677 w 1574102"/>
                <a:gd name="connsiteY16" fmla="*/ 1134417 h 1522995"/>
                <a:gd name="connsiteX17" fmla="*/ 167489 w 1574102"/>
                <a:gd name="connsiteY17" fmla="*/ 799665 h 1522995"/>
                <a:gd name="connsiteX18" fmla="*/ 514201 w 1574102"/>
                <a:gd name="connsiteY18" fmla="*/ 622629 h 1522995"/>
                <a:gd name="connsiteX19" fmla="*/ 852939 w 1574102"/>
                <a:gd name="connsiteY19" fmla="*/ 358098 h 1522995"/>
                <a:gd name="connsiteX20" fmla="*/ 1151099 w 1574102"/>
                <a:gd name="connsiteY20" fmla="*/ 14147 h 1522995"/>
                <a:gd name="connsiteX21" fmla="*/ 1135869 w 1574102"/>
                <a:gd name="connsiteY21" fmla="*/ 2597 h 1522995"/>
                <a:gd name="connsiteX22" fmla="*/ 1135869 w 1574102"/>
                <a:gd name="connsiteY22" fmla="*/ 2597 h 15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4102" h="1522995">
                  <a:moveTo>
                    <a:pt x="1135869" y="2597"/>
                  </a:moveTo>
                  <a:cubicBezTo>
                    <a:pt x="907726" y="231966"/>
                    <a:pt x="719652" y="506923"/>
                    <a:pt x="400129" y="627434"/>
                  </a:cubicBezTo>
                  <a:cubicBezTo>
                    <a:pt x="279005" y="673123"/>
                    <a:pt x="171067" y="724844"/>
                    <a:pt x="92873" y="826752"/>
                  </a:cubicBezTo>
                  <a:cubicBezTo>
                    <a:pt x="29295" y="909647"/>
                    <a:pt x="-7502" y="1013395"/>
                    <a:pt x="1289" y="1116325"/>
                  </a:cubicBezTo>
                  <a:cubicBezTo>
                    <a:pt x="20812" y="1346717"/>
                    <a:pt x="243026" y="1551963"/>
                    <a:pt x="490589" y="1531827"/>
                  </a:cubicBezTo>
                  <a:cubicBezTo>
                    <a:pt x="626125" y="1520788"/>
                    <a:pt x="751849" y="1452713"/>
                    <a:pt x="848544" y="1364604"/>
                  </a:cubicBezTo>
                  <a:cubicBezTo>
                    <a:pt x="936346" y="1284570"/>
                    <a:pt x="970895" y="1189102"/>
                    <a:pt x="989600" y="1077484"/>
                  </a:cubicBezTo>
                  <a:cubicBezTo>
                    <a:pt x="1001661" y="1005320"/>
                    <a:pt x="1008101" y="931419"/>
                    <a:pt x="1035494" y="862527"/>
                  </a:cubicBezTo>
                  <a:cubicBezTo>
                    <a:pt x="1068816" y="778608"/>
                    <a:pt x="1129634" y="705730"/>
                    <a:pt x="1186669" y="635100"/>
                  </a:cubicBezTo>
                  <a:cubicBezTo>
                    <a:pt x="1308202" y="484538"/>
                    <a:pt x="1440672" y="344095"/>
                    <a:pt x="1573960" y="203039"/>
                  </a:cubicBezTo>
                  <a:cubicBezTo>
                    <a:pt x="1593381" y="182494"/>
                    <a:pt x="1562614" y="151523"/>
                    <a:pt x="1542171" y="171966"/>
                  </a:cubicBezTo>
                  <a:cubicBezTo>
                    <a:pt x="1445272" y="269070"/>
                    <a:pt x="1355732" y="372613"/>
                    <a:pt x="1267623" y="476769"/>
                  </a:cubicBezTo>
                  <a:cubicBezTo>
                    <a:pt x="1187181" y="571829"/>
                    <a:pt x="1099992" y="668319"/>
                    <a:pt x="1035290" y="773804"/>
                  </a:cubicBezTo>
                  <a:cubicBezTo>
                    <a:pt x="981832" y="860994"/>
                    <a:pt x="965069" y="955951"/>
                    <a:pt x="948612" y="1053974"/>
                  </a:cubicBezTo>
                  <a:cubicBezTo>
                    <a:pt x="925103" y="1194315"/>
                    <a:pt x="874813" y="1299595"/>
                    <a:pt x="752360" y="1388522"/>
                  </a:cubicBezTo>
                  <a:cubicBezTo>
                    <a:pt x="632667" y="1475404"/>
                    <a:pt x="474541" y="1524978"/>
                    <a:pt x="326228" y="1479493"/>
                  </a:cubicBezTo>
                  <a:cubicBezTo>
                    <a:pt x="177711" y="1434008"/>
                    <a:pt x="59858" y="1277108"/>
                    <a:pt x="37677" y="1134417"/>
                  </a:cubicBezTo>
                  <a:cubicBezTo>
                    <a:pt x="18461" y="1011044"/>
                    <a:pt x="77541" y="886854"/>
                    <a:pt x="167489" y="799665"/>
                  </a:cubicBezTo>
                  <a:cubicBezTo>
                    <a:pt x="263571" y="706547"/>
                    <a:pt x="393894" y="676905"/>
                    <a:pt x="514201" y="622629"/>
                  </a:cubicBezTo>
                  <a:cubicBezTo>
                    <a:pt x="648817" y="561914"/>
                    <a:pt x="754405" y="461539"/>
                    <a:pt x="852939" y="358098"/>
                  </a:cubicBezTo>
                  <a:cubicBezTo>
                    <a:pt x="958016" y="247707"/>
                    <a:pt x="1059924" y="135169"/>
                    <a:pt x="1151099" y="14147"/>
                  </a:cubicBezTo>
                  <a:cubicBezTo>
                    <a:pt x="1157436" y="5561"/>
                    <a:pt x="1143433" y="-4967"/>
                    <a:pt x="1135869" y="2597"/>
                  </a:cubicBezTo>
                  <a:lnTo>
                    <a:pt x="1135869" y="25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3" name="任意多边形: 形状 762">
              <a:extLst>
                <a:ext uri="{FF2B5EF4-FFF2-40B4-BE49-F238E27FC236}">
                  <a16:creationId xmlns:a16="http://schemas.microsoft.com/office/drawing/2014/main" id="{D88B4527-05D1-4A14-BECD-3012930198DA}"/>
                </a:ext>
              </a:extLst>
            </p:cNvPr>
            <p:cNvSpPr/>
            <p:nvPr/>
          </p:nvSpPr>
          <p:spPr>
            <a:xfrm>
              <a:off x="8064712" y="3490406"/>
              <a:ext cx="475358" cy="435744"/>
            </a:xfrm>
            <a:custGeom>
              <a:avLst/>
              <a:gdLst>
                <a:gd name="connsiteX0" fmla="*/ 6335 w 613286"/>
                <a:gd name="connsiteY0" fmla="*/ 46779 h 562179"/>
                <a:gd name="connsiteX1" fmla="*/ 249605 w 613286"/>
                <a:gd name="connsiteY1" fmla="*/ 33389 h 562179"/>
                <a:gd name="connsiteX2" fmla="*/ 471002 w 613286"/>
                <a:gd name="connsiteY2" fmla="*/ 164121 h 562179"/>
                <a:gd name="connsiteX3" fmla="*/ 576998 w 613286"/>
                <a:gd name="connsiteY3" fmla="*/ 558260 h 562179"/>
                <a:gd name="connsiteX4" fmla="*/ 596317 w 613286"/>
                <a:gd name="connsiteY4" fmla="*/ 561122 h 562179"/>
                <a:gd name="connsiteX5" fmla="*/ 595397 w 613286"/>
                <a:gd name="connsiteY5" fmla="*/ 337068 h 562179"/>
                <a:gd name="connsiteX6" fmla="*/ 474068 w 613286"/>
                <a:gd name="connsiteY6" fmla="*/ 143474 h 562179"/>
                <a:gd name="connsiteX7" fmla="*/ 2655 w 613286"/>
                <a:gd name="connsiteY7" fmla="*/ 37273 h 562179"/>
                <a:gd name="connsiteX8" fmla="*/ 6335 w 613286"/>
                <a:gd name="connsiteY8" fmla="*/ 46779 h 562179"/>
                <a:gd name="connsiteX9" fmla="*/ 6335 w 613286"/>
                <a:gd name="connsiteY9" fmla="*/ 46779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286" h="562179">
                  <a:moveTo>
                    <a:pt x="6335" y="46779"/>
                  </a:moveTo>
                  <a:cubicBezTo>
                    <a:pt x="89231" y="23883"/>
                    <a:pt x="164052" y="14071"/>
                    <a:pt x="249605" y="33389"/>
                  </a:cubicBezTo>
                  <a:cubicBezTo>
                    <a:pt x="336692" y="53117"/>
                    <a:pt x="411922" y="101362"/>
                    <a:pt x="471002" y="164121"/>
                  </a:cubicBezTo>
                  <a:cubicBezTo>
                    <a:pt x="576998" y="276864"/>
                    <a:pt x="593966" y="413729"/>
                    <a:pt x="576998" y="558260"/>
                  </a:cubicBezTo>
                  <a:cubicBezTo>
                    <a:pt x="575669" y="569401"/>
                    <a:pt x="592535" y="570424"/>
                    <a:pt x="596317" y="561122"/>
                  </a:cubicBezTo>
                  <a:cubicBezTo>
                    <a:pt x="624323" y="492945"/>
                    <a:pt x="613591" y="406370"/>
                    <a:pt x="595397" y="337068"/>
                  </a:cubicBezTo>
                  <a:cubicBezTo>
                    <a:pt x="575260" y="260305"/>
                    <a:pt x="533864" y="198465"/>
                    <a:pt x="474068" y="143474"/>
                  </a:cubicBezTo>
                  <a:cubicBezTo>
                    <a:pt x="358157" y="36966"/>
                    <a:pt x="157817" y="-53493"/>
                    <a:pt x="2655" y="37273"/>
                  </a:cubicBezTo>
                  <a:cubicBezTo>
                    <a:pt x="-2353" y="40237"/>
                    <a:pt x="202" y="48517"/>
                    <a:pt x="6335" y="46779"/>
                  </a:cubicBezTo>
                  <a:lnTo>
                    <a:pt x="6335" y="4677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4" name="任意多边形: 形状 763">
              <a:extLst>
                <a:ext uri="{FF2B5EF4-FFF2-40B4-BE49-F238E27FC236}">
                  <a16:creationId xmlns:a16="http://schemas.microsoft.com/office/drawing/2014/main" id="{798A28B1-48EC-4C88-BF67-92AB3568FFF4}"/>
                </a:ext>
              </a:extLst>
            </p:cNvPr>
            <p:cNvSpPr/>
            <p:nvPr/>
          </p:nvSpPr>
          <p:spPr>
            <a:xfrm>
              <a:off x="7901603" y="3564373"/>
              <a:ext cx="538739" cy="530816"/>
            </a:xfrm>
            <a:custGeom>
              <a:avLst/>
              <a:gdLst>
                <a:gd name="connsiteX0" fmla="*/ 144710 w 695058"/>
                <a:gd name="connsiteY0" fmla="*/ 89442 h 684836"/>
                <a:gd name="connsiteX1" fmla="*/ 124471 w 695058"/>
                <a:gd name="connsiteY1" fmla="*/ 121639 h 684836"/>
                <a:gd name="connsiteX2" fmla="*/ 117214 w 695058"/>
                <a:gd name="connsiteY2" fmla="*/ 148931 h 684836"/>
                <a:gd name="connsiteX3" fmla="*/ 61814 w 695058"/>
                <a:gd name="connsiteY3" fmla="*/ 183786 h 684836"/>
                <a:gd name="connsiteX4" fmla="*/ 23279 w 695058"/>
                <a:gd name="connsiteY4" fmla="*/ 261469 h 684836"/>
                <a:gd name="connsiteX5" fmla="*/ 37078 w 695058"/>
                <a:gd name="connsiteY5" fmla="*/ 293462 h 684836"/>
                <a:gd name="connsiteX6" fmla="*/ 28287 w 695058"/>
                <a:gd name="connsiteY6" fmla="*/ 336085 h 684836"/>
                <a:gd name="connsiteX7" fmla="*/ 1916 w 695058"/>
                <a:gd name="connsiteY7" fmla="*/ 378709 h 684836"/>
                <a:gd name="connsiteX8" fmla="*/ 40758 w 695058"/>
                <a:gd name="connsiteY8" fmla="*/ 448623 h 684836"/>
                <a:gd name="connsiteX9" fmla="*/ 74284 w 695058"/>
                <a:gd name="connsiteY9" fmla="*/ 494415 h 684836"/>
                <a:gd name="connsiteX10" fmla="*/ 68356 w 695058"/>
                <a:gd name="connsiteY10" fmla="*/ 528453 h 684836"/>
                <a:gd name="connsiteX11" fmla="*/ 83177 w 695058"/>
                <a:gd name="connsiteY11" fmla="*/ 578947 h 684836"/>
                <a:gd name="connsiteX12" fmla="*/ 119974 w 695058"/>
                <a:gd name="connsiteY12" fmla="*/ 595710 h 684836"/>
                <a:gd name="connsiteX13" fmla="*/ 156669 w 695058"/>
                <a:gd name="connsiteY13" fmla="*/ 601025 h 684836"/>
                <a:gd name="connsiteX14" fmla="*/ 201848 w 695058"/>
                <a:gd name="connsiteY14" fmla="*/ 650292 h 684836"/>
                <a:gd name="connsiteX15" fmla="*/ 264812 w 695058"/>
                <a:gd name="connsiteY15" fmla="*/ 671349 h 684836"/>
                <a:gd name="connsiteX16" fmla="*/ 323074 w 695058"/>
                <a:gd name="connsiteY16" fmla="*/ 657550 h 684836"/>
                <a:gd name="connsiteX17" fmla="*/ 353329 w 695058"/>
                <a:gd name="connsiteY17" fmla="*/ 670735 h 684836"/>
                <a:gd name="connsiteX18" fmla="*/ 398713 w 695058"/>
                <a:gd name="connsiteY18" fmla="*/ 688010 h 684836"/>
                <a:gd name="connsiteX19" fmla="*/ 467094 w 695058"/>
                <a:gd name="connsiteY19" fmla="*/ 641911 h 684836"/>
                <a:gd name="connsiteX20" fmla="*/ 505220 w 695058"/>
                <a:gd name="connsiteY20" fmla="*/ 613700 h 684836"/>
                <a:gd name="connsiteX21" fmla="*/ 541302 w 695058"/>
                <a:gd name="connsiteY21" fmla="*/ 617788 h 684836"/>
                <a:gd name="connsiteX22" fmla="*/ 581370 w 695058"/>
                <a:gd name="connsiteY22" fmla="*/ 610327 h 684836"/>
                <a:gd name="connsiteX23" fmla="*/ 625629 w 695058"/>
                <a:gd name="connsiteY23" fmla="*/ 503104 h 684836"/>
                <a:gd name="connsiteX24" fmla="*/ 690637 w 695058"/>
                <a:gd name="connsiteY24" fmla="*/ 445659 h 684836"/>
                <a:gd name="connsiteX25" fmla="*/ 671523 w 695058"/>
                <a:gd name="connsiteY25" fmla="*/ 409373 h 684836"/>
                <a:gd name="connsiteX26" fmla="*/ 694623 w 695058"/>
                <a:gd name="connsiteY26" fmla="*/ 326579 h 684836"/>
                <a:gd name="connsiteX27" fmla="*/ 669274 w 695058"/>
                <a:gd name="connsiteY27" fmla="*/ 246341 h 684836"/>
                <a:gd name="connsiteX28" fmla="*/ 629819 w 695058"/>
                <a:gd name="connsiteY28" fmla="*/ 204842 h 684836"/>
                <a:gd name="connsiteX29" fmla="*/ 634419 w 695058"/>
                <a:gd name="connsiteY29" fmla="*/ 172542 h 684836"/>
                <a:gd name="connsiteX30" fmla="*/ 626038 w 695058"/>
                <a:gd name="connsiteY30" fmla="*/ 116427 h 684836"/>
                <a:gd name="connsiteX31" fmla="*/ 599053 w 695058"/>
                <a:gd name="connsiteY31" fmla="*/ 100992 h 684836"/>
                <a:gd name="connsiteX32" fmla="*/ 574010 w 695058"/>
                <a:gd name="connsiteY32" fmla="*/ 100890 h 684836"/>
                <a:gd name="connsiteX33" fmla="*/ 501336 w 695058"/>
                <a:gd name="connsiteY33" fmla="*/ 67057 h 684836"/>
                <a:gd name="connsiteX34" fmla="*/ 473227 w 695058"/>
                <a:gd name="connsiteY34" fmla="*/ 29135 h 684836"/>
                <a:gd name="connsiteX35" fmla="*/ 420178 w 695058"/>
                <a:gd name="connsiteY35" fmla="*/ 37619 h 684836"/>
                <a:gd name="connsiteX36" fmla="*/ 341575 w 695058"/>
                <a:gd name="connsiteY36" fmla="*/ 28011 h 684836"/>
                <a:gd name="connsiteX37" fmla="*/ 325016 w 695058"/>
                <a:gd name="connsiteY37" fmla="*/ 9408 h 684836"/>
                <a:gd name="connsiteX38" fmla="*/ 282086 w 695058"/>
                <a:gd name="connsiteY38" fmla="*/ 2662 h 684836"/>
                <a:gd name="connsiteX39" fmla="*/ 245595 w 695058"/>
                <a:gd name="connsiteY39" fmla="*/ 34655 h 684836"/>
                <a:gd name="connsiteX40" fmla="*/ 205834 w 695058"/>
                <a:gd name="connsiteY40" fmla="*/ 79323 h 684836"/>
                <a:gd name="connsiteX41" fmla="*/ 157691 w 695058"/>
                <a:gd name="connsiteY41" fmla="*/ 80651 h 684836"/>
                <a:gd name="connsiteX42" fmla="*/ 117521 w 695058"/>
                <a:gd name="connsiteY42" fmla="*/ 155268 h 684836"/>
                <a:gd name="connsiteX43" fmla="*/ 134897 w 695058"/>
                <a:gd name="connsiteY43" fmla="*/ 151384 h 684836"/>
                <a:gd name="connsiteX44" fmla="*/ 134897 w 695058"/>
                <a:gd name="connsiteY44" fmla="*/ 118062 h 684836"/>
                <a:gd name="connsiteX45" fmla="*/ 178747 w 695058"/>
                <a:gd name="connsiteY45" fmla="*/ 108862 h 684836"/>
                <a:gd name="connsiteX46" fmla="*/ 191524 w 695058"/>
                <a:gd name="connsiteY46" fmla="*/ 111827 h 684836"/>
                <a:gd name="connsiteX47" fmla="*/ 227095 w 695058"/>
                <a:gd name="connsiteY47" fmla="*/ 100685 h 684836"/>
                <a:gd name="connsiteX48" fmla="*/ 328082 w 695058"/>
                <a:gd name="connsiteY48" fmla="*/ 45592 h 684836"/>
                <a:gd name="connsiteX49" fmla="*/ 391762 w 695058"/>
                <a:gd name="connsiteY49" fmla="*/ 70328 h 684836"/>
                <a:gd name="connsiteX50" fmla="*/ 476702 w 695058"/>
                <a:gd name="connsiteY50" fmla="*/ 63377 h 684836"/>
                <a:gd name="connsiteX51" fmla="*/ 503074 w 695058"/>
                <a:gd name="connsiteY51" fmla="*/ 104161 h 684836"/>
                <a:gd name="connsiteX52" fmla="*/ 577486 w 695058"/>
                <a:gd name="connsiteY52" fmla="*/ 120311 h 684836"/>
                <a:gd name="connsiteX53" fmla="*/ 614794 w 695058"/>
                <a:gd name="connsiteY53" fmla="*/ 229476 h 684836"/>
                <a:gd name="connsiteX54" fmla="*/ 640143 w 695058"/>
                <a:gd name="connsiteY54" fmla="*/ 253905 h 684836"/>
                <a:gd name="connsiteX55" fmla="*/ 659053 w 695058"/>
                <a:gd name="connsiteY55" fmla="*/ 262900 h 684836"/>
                <a:gd name="connsiteX56" fmla="*/ 669172 w 695058"/>
                <a:gd name="connsiteY56" fmla="*/ 334450 h 684836"/>
                <a:gd name="connsiteX57" fmla="*/ 649445 w 695058"/>
                <a:gd name="connsiteY57" fmla="*/ 412031 h 684836"/>
                <a:gd name="connsiteX58" fmla="*/ 640961 w 695058"/>
                <a:gd name="connsiteY58" fmla="*/ 478266 h 684836"/>
                <a:gd name="connsiteX59" fmla="*/ 605288 w 695058"/>
                <a:gd name="connsiteY59" fmla="*/ 494824 h 684836"/>
                <a:gd name="connsiteX60" fmla="*/ 579632 w 695058"/>
                <a:gd name="connsiteY60" fmla="*/ 578334 h 684836"/>
                <a:gd name="connsiteX61" fmla="*/ 513908 w 695058"/>
                <a:gd name="connsiteY61" fmla="*/ 591519 h 684836"/>
                <a:gd name="connsiteX62" fmla="*/ 480178 w 695058"/>
                <a:gd name="connsiteY62" fmla="*/ 596323 h 684836"/>
                <a:gd name="connsiteX63" fmla="*/ 394522 w 695058"/>
                <a:gd name="connsiteY63" fmla="*/ 666136 h 684836"/>
                <a:gd name="connsiteX64" fmla="*/ 319803 w 695058"/>
                <a:gd name="connsiteY64" fmla="*/ 636289 h 684836"/>
                <a:gd name="connsiteX65" fmla="*/ 284539 w 695058"/>
                <a:gd name="connsiteY65" fmla="*/ 640276 h 684836"/>
                <a:gd name="connsiteX66" fmla="*/ 248968 w 695058"/>
                <a:gd name="connsiteY66" fmla="*/ 656016 h 684836"/>
                <a:gd name="connsiteX67" fmla="*/ 212376 w 695058"/>
                <a:gd name="connsiteY67" fmla="*/ 618913 h 684836"/>
                <a:gd name="connsiteX68" fmla="*/ 149718 w 695058"/>
                <a:gd name="connsiteY68" fmla="*/ 581196 h 684836"/>
                <a:gd name="connsiteX69" fmla="*/ 89003 w 695058"/>
                <a:gd name="connsiteY69" fmla="*/ 540310 h 684836"/>
                <a:gd name="connsiteX70" fmla="*/ 93603 w 695058"/>
                <a:gd name="connsiteY70" fmla="*/ 482047 h 684836"/>
                <a:gd name="connsiteX71" fmla="*/ 25425 w 695058"/>
                <a:gd name="connsiteY71" fmla="*/ 399969 h 684836"/>
                <a:gd name="connsiteX72" fmla="*/ 62018 w 695058"/>
                <a:gd name="connsiteY72" fmla="*/ 307874 h 684836"/>
                <a:gd name="connsiteX73" fmla="*/ 45153 w 695058"/>
                <a:gd name="connsiteY73" fmla="*/ 262286 h 684836"/>
                <a:gd name="connsiteX74" fmla="*/ 57725 w 695058"/>
                <a:gd name="connsiteY74" fmla="*/ 205864 h 684836"/>
                <a:gd name="connsiteX75" fmla="*/ 100962 w 695058"/>
                <a:gd name="connsiteY75" fmla="*/ 188181 h 684836"/>
                <a:gd name="connsiteX76" fmla="*/ 131422 w 695058"/>
                <a:gd name="connsiteY76" fmla="*/ 162627 h 684836"/>
                <a:gd name="connsiteX77" fmla="*/ 152989 w 695058"/>
                <a:gd name="connsiteY77" fmla="*/ 97721 h 684836"/>
                <a:gd name="connsiteX78" fmla="*/ 144710 w 695058"/>
                <a:gd name="connsiteY78" fmla="*/ 89442 h 684836"/>
                <a:gd name="connsiteX79" fmla="*/ 144710 w 695058"/>
                <a:gd name="connsiteY79" fmla="*/ 89442 h 68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95058" h="684836">
                  <a:moveTo>
                    <a:pt x="144710" y="89442"/>
                  </a:moveTo>
                  <a:cubicBezTo>
                    <a:pt x="133262" y="98539"/>
                    <a:pt x="128764" y="108045"/>
                    <a:pt x="124471" y="121639"/>
                  </a:cubicBezTo>
                  <a:cubicBezTo>
                    <a:pt x="121916" y="130021"/>
                    <a:pt x="121814" y="141265"/>
                    <a:pt x="117214" y="148931"/>
                  </a:cubicBezTo>
                  <a:cubicBezTo>
                    <a:pt x="104233" y="169987"/>
                    <a:pt x="82563" y="174178"/>
                    <a:pt x="61814" y="183786"/>
                  </a:cubicBezTo>
                  <a:cubicBezTo>
                    <a:pt x="30945" y="197993"/>
                    <a:pt x="13773" y="229373"/>
                    <a:pt x="23279" y="261469"/>
                  </a:cubicBezTo>
                  <a:cubicBezTo>
                    <a:pt x="26652" y="272712"/>
                    <a:pt x="34011" y="282014"/>
                    <a:pt x="37078" y="293462"/>
                  </a:cubicBezTo>
                  <a:cubicBezTo>
                    <a:pt x="42086" y="311861"/>
                    <a:pt x="38509" y="320344"/>
                    <a:pt x="28287" y="336085"/>
                  </a:cubicBezTo>
                  <a:cubicBezTo>
                    <a:pt x="19293" y="350089"/>
                    <a:pt x="6516" y="362457"/>
                    <a:pt x="1916" y="378709"/>
                  </a:cubicBezTo>
                  <a:cubicBezTo>
                    <a:pt x="-6976" y="410600"/>
                    <a:pt x="16635" y="430531"/>
                    <a:pt x="40758" y="448623"/>
                  </a:cubicBezTo>
                  <a:cubicBezTo>
                    <a:pt x="56601" y="460480"/>
                    <a:pt x="72853" y="473155"/>
                    <a:pt x="74284" y="494415"/>
                  </a:cubicBezTo>
                  <a:cubicBezTo>
                    <a:pt x="74999" y="505250"/>
                    <a:pt x="69071" y="517414"/>
                    <a:pt x="68356" y="528453"/>
                  </a:cubicBezTo>
                  <a:cubicBezTo>
                    <a:pt x="67231" y="546340"/>
                    <a:pt x="69582" y="565250"/>
                    <a:pt x="83177" y="578947"/>
                  </a:cubicBezTo>
                  <a:cubicBezTo>
                    <a:pt x="93091" y="588964"/>
                    <a:pt x="106175" y="593053"/>
                    <a:pt x="119974" y="595710"/>
                  </a:cubicBezTo>
                  <a:cubicBezTo>
                    <a:pt x="132035" y="598061"/>
                    <a:pt x="144812" y="597959"/>
                    <a:pt x="156669" y="601025"/>
                  </a:cubicBezTo>
                  <a:cubicBezTo>
                    <a:pt x="184982" y="608180"/>
                    <a:pt x="191626" y="627601"/>
                    <a:pt x="201848" y="650292"/>
                  </a:cubicBezTo>
                  <a:cubicBezTo>
                    <a:pt x="214011" y="677686"/>
                    <a:pt x="236907" y="680650"/>
                    <a:pt x="264812" y="671349"/>
                  </a:cubicBezTo>
                  <a:cubicBezTo>
                    <a:pt x="284744" y="664705"/>
                    <a:pt x="301098" y="652950"/>
                    <a:pt x="323074" y="657550"/>
                  </a:cubicBezTo>
                  <a:cubicBezTo>
                    <a:pt x="333602" y="659696"/>
                    <a:pt x="343823" y="666033"/>
                    <a:pt x="353329" y="670735"/>
                  </a:cubicBezTo>
                  <a:cubicBezTo>
                    <a:pt x="367537" y="677788"/>
                    <a:pt x="382358" y="686170"/>
                    <a:pt x="398713" y="688010"/>
                  </a:cubicBezTo>
                  <a:cubicBezTo>
                    <a:pt x="434488" y="692098"/>
                    <a:pt x="450126" y="666749"/>
                    <a:pt x="467094" y="641911"/>
                  </a:cubicBezTo>
                  <a:cubicBezTo>
                    <a:pt x="478235" y="625557"/>
                    <a:pt x="483653" y="615846"/>
                    <a:pt x="505220" y="613700"/>
                  </a:cubicBezTo>
                  <a:cubicBezTo>
                    <a:pt x="519019" y="612269"/>
                    <a:pt x="528218" y="616357"/>
                    <a:pt x="541302" y="617788"/>
                  </a:cubicBezTo>
                  <a:cubicBezTo>
                    <a:pt x="555612" y="619321"/>
                    <a:pt x="569002" y="617788"/>
                    <a:pt x="581370" y="610327"/>
                  </a:cubicBezTo>
                  <a:cubicBezTo>
                    <a:pt x="625220" y="583649"/>
                    <a:pt x="589240" y="527124"/>
                    <a:pt x="625629" y="503104"/>
                  </a:cubicBezTo>
                  <a:cubicBezTo>
                    <a:pt x="653329" y="484807"/>
                    <a:pt x="692272" y="488896"/>
                    <a:pt x="690637" y="445659"/>
                  </a:cubicBezTo>
                  <a:cubicBezTo>
                    <a:pt x="690024" y="428692"/>
                    <a:pt x="678065" y="422661"/>
                    <a:pt x="671523" y="409373"/>
                  </a:cubicBezTo>
                  <a:cubicBezTo>
                    <a:pt x="657009" y="379731"/>
                    <a:pt x="684300" y="352849"/>
                    <a:pt x="694623" y="326579"/>
                  </a:cubicBezTo>
                  <a:cubicBezTo>
                    <a:pt x="707298" y="294177"/>
                    <a:pt x="701574" y="264331"/>
                    <a:pt x="669274" y="246341"/>
                  </a:cubicBezTo>
                  <a:cubicBezTo>
                    <a:pt x="651387" y="236426"/>
                    <a:pt x="635032" y="227023"/>
                    <a:pt x="629819" y="204842"/>
                  </a:cubicBezTo>
                  <a:cubicBezTo>
                    <a:pt x="627571" y="195131"/>
                    <a:pt x="633090" y="182048"/>
                    <a:pt x="634419" y="172542"/>
                  </a:cubicBezTo>
                  <a:cubicBezTo>
                    <a:pt x="637077" y="153939"/>
                    <a:pt x="638917" y="132372"/>
                    <a:pt x="626038" y="116427"/>
                  </a:cubicBezTo>
                  <a:cubicBezTo>
                    <a:pt x="619291" y="108045"/>
                    <a:pt x="609785" y="103138"/>
                    <a:pt x="599053" y="100992"/>
                  </a:cubicBezTo>
                  <a:cubicBezTo>
                    <a:pt x="590671" y="99357"/>
                    <a:pt x="582392" y="100583"/>
                    <a:pt x="574010" y="100890"/>
                  </a:cubicBezTo>
                  <a:cubicBezTo>
                    <a:pt x="541302" y="102423"/>
                    <a:pt x="517384" y="95881"/>
                    <a:pt x="501336" y="67057"/>
                  </a:cubicBezTo>
                  <a:cubicBezTo>
                    <a:pt x="492954" y="52031"/>
                    <a:pt x="491626" y="36290"/>
                    <a:pt x="473227" y="29135"/>
                  </a:cubicBezTo>
                  <a:cubicBezTo>
                    <a:pt x="454624" y="21878"/>
                    <a:pt x="436839" y="30566"/>
                    <a:pt x="420178" y="37619"/>
                  </a:cubicBezTo>
                  <a:cubicBezTo>
                    <a:pt x="389309" y="50498"/>
                    <a:pt x="365391" y="52338"/>
                    <a:pt x="341575" y="28011"/>
                  </a:cubicBezTo>
                  <a:cubicBezTo>
                    <a:pt x="335646" y="21980"/>
                    <a:pt x="331967" y="14621"/>
                    <a:pt x="325016" y="9408"/>
                  </a:cubicBezTo>
                  <a:cubicBezTo>
                    <a:pt x="312341" y="-200"/>
                    <a:pt x="297418" y="-2449"/>
                    <a:pt x="282086" y="2662"/>
                  </a:cubicBezTo>
                  <a:cubicBezTo>
                    <a:pt x="265732" y="8181"/>
                    <a:pt x="254181" y="20856"/>
                    <a:pt x="245595" y="34655"/>
                  </a:cubicBezTo>
                  <a:cubicBezTo>
                    <a:pt x="231899" y="56733"/>
                    <a:pt x="232614" y="67159"/>
                    <a:pt x="205834" y="79323"/>
                  </a:cubicBezTo>
                  <a:cubicBezTo>
                    <a:pt x="177316" y="92304"/>
                    <a:pt x="182427" y="81980"/>
                    <a:pt x="157691" y="80651"/>
                  </a:cubicBezTo>
                  <a:cubicBezTo>
                    <a:pt x="113432" y="78198"/>
                    <a:pt x="111592" y="125523"/>
                    <a:pt x="117521" y="155268"/>
                  </a:cubicBezTo>
                  <a:cubicBezTo>
                    <a:pt x="119667" y="166103"/>
                    <a:pt x="136124" y="161912"/>
                    <a:pt x="134897" y="151384"/>
                  </a:cubicBezTo>
                  <a:cubicBezTo>
                    <a:pt x="134897" y="140242"/>
                    <a:pt x="134897" y="129203"/>
                    <a:pt x="134897" y="118062"/>
                  </a:cubicBezTo>
                  <a:cubicBezTo>
                    <a:pt x="149616" y="103547"/>
                    <a:pt x="164233" y="100481"/>
                    <a:pt x="178747" y="108862"/>
                  </a:cubicBezTo>
                  <a:cubicBezTo>
                    <a:pt x="183040" y="108965"/>
                    <a:pt x="187231" y="111520"/>
                    <a:pt x="191524" y="111827"/>
                  </a:cubicBezTo>
                  <a:cubicBezTo>
                    <a:pt x="204914" y="112645"/>
                    <a:pt x="216566" y="108249"/>
                    <a:pt x="227095" y="100685"/>
                  </a:cubicBezTo>
                  <a:cubicBezTo>
                    <a:pt x="263381" y="74621"/>
                    <a:pt x="264198" y="-7866"/>
                    <a:pt x="328082" y="45592"/>
                  </a:cubicBezTo>
                  <a:cubicBezTo>
                    <a:pt x="347401" y="61742"/>
                    <a:pt x="363755" y="73496"/>
                    <a:pt x="391762" y="70328"/>
                  </a:cubicBezTo>
                  <a:cubicBezTo>
                    <a:pt x="417418" y="67363"/>
                    <a:pt x="450944" y="33530"/>
                    <a:pt x="476702" y="63377"/>
                  </a:cubicBezTo>
                  <a:cubicBezTo>
                    <a:pt x="488048" y="76563"/>
                    <a:pt x="487128" y="91384"/>
                    <a:pt x="503074" y="104161"/>
                  </a:cubicBezTo>
                  <a:cubicBezTo>
                    <a:pt x="528934" y="124910"/>
                    <a:pt x="547843" y="116733"/>
                    <a:pt x="577486" y="120311"/>
                  </a:cubicBezTo>
                  <a:cubicBezTo>
                    <a:pt x="646787" y="128897"/>
                    <a:pt x="596089" y="191656"/>
                    <a:pt x="614794" y="229476"/>
                  </a:cubicBezTo>
                  <a:cubicBezTo>
                    <a:pt x="620416" y="240924"/>
                    <a:pt x="629104" y="247363"/>
                    <a:pt x="640143" y="253905"/>
                  </a:cubicBezTo>
                  <a:cubicBezTo>
                    <a:pt x="645663" y="257176"/>
                    <a:pt x="653840" y="259118"/>
                    <a:pt x="659053" y="262900"/>
                  </a:cubicBezTo>
                  <a:cubicBezTo>
                    <a:pt x="690535" y="286103"/>
                    <a:pt x="682255" y="307772"/>
                    <a:pt x="669172" y="334450"/>
                  </a:cubicBezTo>
                  <a:cubicBezTo>
                    <a:pt x="657520" y="358368"/>
                    <a:pt x="638201" y="384739"/>
                    <a:pt x="649445" y="412031"/>
                  </a:cubicBezTo>
                  <a:cubicBezTo>
                    <a:pt x="660893" y="439833"/>
                    <a:pt x="701165" y="444126"/>
                    <a:pt x="640961" y="478266"/>
                  </a:cubicBezTo>
                  <a:cubicBezTo>
                    <a:pt x="628797" y="485114"/>
                    <a:pt x="616020" y="484501"/>
                    <a:pt x="605288" y="494824"/>
                  </a:cubicBezTo>
                  <a:cubicBezTo>
                    <a:pt x="581983" y="517107"/>
                    <a:pt x="595680" y="552984"/>
                    <a:pt x="579632" y="578334"/>
                  </a:cubicBezTo>
                  <a:cubicBezTo>
                    <a:pt x="561745" y="606443"/>
                    <a:pt x="541915" y="594177"/>
                    <a:pt x="513908" y="591519"/>
                  </a:cubicBezTo>
                  <a:cubicBezTo>
                    <a:pt x="502051" y="590395"/>
                    <a:pt x="490910" y="590906"/>
                    <a:pt x="480178" y="596323"/>
                  </a:cubicBezTo>
                  <a:cubicBezTo>
                    <a:pt x="445425" y="613802"/>
                    <a:pt x="443483" y="676664"/>
                    <a:pt x="394522" y="666136"/>
                  </a:cubicBezTo>
                  <a:cubicBezTo>
                    <a:pt x="368048" y="660412"/>
                    <a:pt x="347299" y="640173"/>
                    <a:pt x="319803" y="636289"/>
                  </a:cubicBezTo>
                  <a:cubicBezTo>
                    <a:pt x="307231" y="634449"/>
                    <a:pt x="296396" y="636085"/>
                    <a:pt x="284539" y="640276"/>
                  </a:cubicBezTo>
                  <a:cubicBezTo>
                    <a:pt x="277486" y="642831"/>
                    <a:pt x="254999" y="656937"/>
                    <a:pt x="248968" y="656016"/>
                  </a:cubicBezTo>
                  <a:cubicBezTo>
                    <a:pt x="231081" y="653461"/>
                    <a:pt x="221575" y="630054"/>
                    <a:pt x="212376" y="618913"/>
                  </a:cubicBezTo>
                  <a:cubicBezTo>
                    <a:pt x="194488" y="597141"/>
                    <a:pt x="178952" y="586408"/>
                    <a:pt x="149718" y="581196"/>
                  </a:cubicBezTo>
                  <a:cubicBezTo>
                    <a:pt x="118338" y="575574"/>
                    <a:pt x="94727" y="576494"/>
                    <a:pt x="89003" y="540310"/>
                  </a:cubicBezTo>
                  <a:cubicBezTo>
                    <a:pt x="85936" y="520685"/>
                    <a:pt x="97793" y="501673"/>
                    <a:pt x="93603" y="482047"/>
                  </a:cubicBezTo>
                  <a:cubicBezTo>
                    <a:pt x="85425" y="443717"/>
                    <a:pt x="35443" y="435744"/>
                    <a:pt x="25425" y="399969"/>
                  </a:cubicBezTo>
                  <a:cubicBezTo>
                    <a:pt x="15306" y="363581"/>
                    <a:pt x="60689" y="343956"/>
                    <a:pt x="62018" y="307874"/>
                  </a:cubicBezTo>
                  <a:cubicBezTo>
                    <a:pt x="62632" y="290395"/>
                    <a:pt x="50570" y="278130"/>
                    <a:pt x="45153" y="262286"/>
                  </a:cubicBezTo>
                  <a:cubicBezTo>
                    <a:pt x="38100" y="241639"/>
                    <a:pt x="39224" y="222014"/>
                    <a:pt x="57725" y="205864"/>
                  </a:cubicBezTo>
                  <a:cubicBezTo>
                    <a:pt x="74999" y="190736"/>
                    <a:pt x="85323" y="196460"/>
                    <a:pt x="100962" y="188181"/>
                  </a:cubicBezTo>
                  <a:cubicBezTo>
                    <a:pt x="114556" y="181026"/>
                    <a:pt x="124471" y="176324"/>
                    <a:pt x="131422" y="162627"/>
                  </a:cubicBezTo>
                  <a:cubicBezTo>
                    <a:pt x="142257" y="141571"/>
                    <a:pt x="134386" y="116324"/>
                    <a:pt x="152989" y="97721"/>
                  </a:cubicBezTo>
                  <a:cubicBezTo>
                    <a:pt x="157793" y="92202"/>
                    <a:pt x="150332" y="84944"/>
                    <a:pt x="144710" y="89442"/>
                  </a:cubicBezTo>
                  <a:lnTo>
                    <a:pt x="144710" y="8944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5" name="任意多边形: 形状 764">
              <a:extLst>
                <a:ext uri="{FF2B5EF4-FFF2-40B4-BE49-F238E27FC236}">
                  <a16:creationId xmlns:a16="http://schemas.microsoft.com/office/drawing/2014/main" id="{7AA41851-7B76-4941-AB87-24F0B18FE76D}"/>
                </a:ext>
              </a:extLst>
            </p:cNvPr>
            <p:cNvSpPr/>
            <p:nvPr/>
          </p:nvSpPr>
          <p:spPr>
            <a:xfrm>
              <a:off x="8609195" y="3024062"/>
              <a:ext cx="324828" cy="269369"/>
            </a:xfrm>
            <a:custGeom>
              <a:avLst/>
              <a:gdLst>
                <a:gd name="connsiteX0" fmla="*/ 121990 w 419079"/>
                <a:gd name="connsiteY0" fmla="*/ 1625 h 347529"/>
                <a:gd name="connsiteX1" fmla="*/ 52280 w 419079"/>
                <a:gd name="connsiteY1" fmla="*/ 80126 h 347529"/>
                <a:gd name="connsiteX2" fmla="*/ 968 w 419079"/>
                <a:gd name="connsiteY2" fmla="*/ 166395 h 347529"/>
                <a:gd name="connsiteX3" fmla="*/ 99298 w 419079"/>
                <a:gd name="connsiteY3" fmla="*/ 305713 h 347529"/>
                <a:gd name="connsiteX4" fmla="*/ 254256 w 419079"/>
                <a:gd name="connsiteY4" fmla="*/ 336991 h 347529"/>
                <a:gd name="connsiteX5" fmla="*/ 344920 w 419079"/>
                <a:gd name="connsiteY5" fmla="*/ 240295 h 347529"/>
                <a:gd name="connsiteX6" fmla="*/ 424851 w 419079"/>
                <a:gd name="connsiteY6" fmla="*/ 145441 h 347529"/>
                <a:gd name="connsiteX7" fmla="*/ 411359 w 419079"/>
                <a:gd name="connsiteY7" fmla="*/ 135219 h 347529"/>
                <a:gd name="connsiteX8" fmla="*/ 297697 w 419079"/>
                <a:gd name="connsiteY8" fmla="*/ 268404 h 347529"/>
                <a:gd name="connsiteX9" fmla="*/ 210406 w 419079"/>
                <a:gd name="connsiteY9" fmla="*/ 332186 h 347529"/>
                <a:gd name="connsiteX10" fmla="*/ 119946 w 419079"/>
                <a:gd name="connsiteY10" fmla="*/ 298149 h 347529"/>
                <a:gd name="connsiteX11" fmla="*/ 32757 w 419079"/>
                <a:gd name="connsiteY11" fmla="*/ 139206 h 347529"/>
                <a:gd name="connsiteX12" fmla="*/ 132314 w 419079"/>
                <a:gd name="connsiteY12" fmla="*/ 9189 h 347529"/>
                <a:gd name="connsiteX13" fmla="*/ 121990 w 419079"/>
                <a:gd name="connsiteY13" fmla="*/ 1625 h 347529"/>
                <a:gd name="connsiteX14" fmla="*/ 121990 w 419079"/>
                <a:gd name="connsiteY14" fmla="*/ 1625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9079" h="347529">
                  <a:moveTo>
                    <a:pt x="121990" y="1625"/>
                  </a:moveTo>
                  <a:cubicBezTo>
                    <a:pt x="95823" y="25339"/>
                    <a:pt x="73234" y="52323"/>
                    <a:pt x="52280" y="80126"/>
                  </a:cubicBezTo>
                  <a:cubicBezTo>
                    <a:pt x="33779" y="104759"/>
                    <a:pt x="6488" y="135730"/>
                    <a:pt x="968" y="166395"/>
                  </a:cubicBezTo>
                  <a:cubicBezTo>
                    <a:pt x="-8844" y="220364"/>
                    <a:pt x="58208" y="278115"/>
                    <a:pt x="99298" y="305713"/>
                  </a:cubicBezTo>
                  <a:cubicBezTo>
                    <a:pt x="141206" y="333924"/>
                    <a:pt x="204886" y="366939"/>
                    <a:pt x="254256" y="336991"/>
                  </a:cubicBezTo>
                  <a:cubicBezTo>
                    <a:pt x="290951" y="314810"/>
                    <a:pt x="318037" y="271982"/>
                    <a:pt x="344920" y="240295"/>
                  </a:cubicBezTo>
                  <a:cubicBezTo>
                    <a:pt x="371700" y="208814"/>
                    <a:pt x="399298" y="177843"/>
                    <a:pt x="424851" y="145441"/>
                  </a:cubicBezTo>
                  <a:cubicBezTo>
                    <a:pt x="430678" y="137979"/>
                    <a:pt x="417799" y="128166"/>
                    <a:pt x="411359" y="135219"/>
                  </a:cubicBezTo>
                  <a:cubicBezTo>
                    <a:pt x="371904" y="178354"/>
                    <a:pt x="335312" y="223941"/>
                    <a:pt x="297697" y="268404"/>
                  </a:cubicBezTo>
                  <a:cubicBezTo>
                    <a:pt x="274801" y="295389"/>
                    <a:pt x="250882" y="328813"/>
                    <a:pt x="210406" y="332186"/>
                  </a:cubicBezTo>
                  <a:cubicBezTo>
                    <a:pt x="180559" y="334640"/>
                    <a:pt x="143762" y="312561"/>
                    <a:pt x="119946" y="298149"/>
                  </a:cubicBezTo>
                  <a:cubicBezTo>
                    <a:pt x="66385" y="265645"/>
                    <a:pt x="-2303" y="204112"/>
                    <a:pt x="32757" y="139206"/>
                  </a:cubicBezTo>
                  <a:cubicBezTo>
                    <a:pt x="58413" y="91880"/>
                    <a:pt x="98072" y="50790"/>
                    <a:pt x="132314" y="9189"/>
                  </a:cubicBezTo>
                  <a:cubicBezTo>
                    <a:pt x="137016" y="3669"/>
                    <a:pt x="127305" y="-3179"/>
                    <a:pt x="121990" y="1625"/>
                  </a:cubicBezTo>
                  <a:lnTo>
                    <a:pt x="121990" y="16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6" name="任意多边形: 形状 765">
              <a:extLst>
                <a:ext uri="{FF2B5EF4-FFF2-40B4-BE49-F238E27FC236}">
                  <a16:creationId xmlns:a16="http://schemas.microsoft.com/office/drawing/2014/main" id="{154DBA9B-9EA6-4130-A325-B99ABD6C26D3}"/>
                </a:ext>
              </a:extLst>
            </p:cNvPr>
            <p:cNvSpPr/>
            <p:nvPr/>
          </p:nvSpPr>
          <p:spPr>
            <a:xfrm>
              <a:off x="10216395" y="1371861"/>
              <a:ext cx="166375" cy="110917"/>
            </a:xfrm>
            <a:custGeom>
              <a:avLst/>
              <a:gdLst>
                <a:gd name="connsiteX0" fmla="*/ 539 w 214650"/>
                <a:gd name="connsiteY0" fmla="*/ 2565 h 143100"/>
                <a:gd name="connsiteX1" fmla="*/ 222345 w 214650"/>
                <a:gd name="connsiteY1" fmla="*/ 148220 h 143100"/>
                <a:gd name="connsiteX2" fmla="*/ 224082 w 214650"/>
                <a:gd name="connsiteY2" fmla="*/ 145563 h 143100"/>
                <a:gd name="connsiteX3" fmla="*/ 2992 w 214650"/>
                <a:gd name="connsiteY3" fmla="*/ 418 h 143100"/>
                <a:gd name="connsiteX4" fmla="*/ 539 w 214650"/>
                <a:gd name="connsiteY4" fmla="*/ 2565 h 143100"/>
                <a:gd name="connsiteX5" fmla="*/ 539 w 214650"/>
                <a:gd name="connsiteY5" fmla="*/ 2565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143100">
                  <a:moveTo>
                    <a:pt x="539" y="2565"/>
                  </a:moveTo>
                  <a:cubicBezTo>
                    <a:pt x="67796" y="59600"/>
                    <a:pt x="142311" y="108561"/>
                    <a:pt x="222345" y="148220"/>
                  </a:cubicBezTo>
                  <a:cubicBezTo>
                    <a:pt x="224184" y="149140"/>
                    <a:pt x="225922" y="146483"/>
                    <a:pt x="224082" y="145563"/>
                  </a:cubicBezTo>
                  <a:cubicBezTo>
                    <a:pt x="144355" y="106108"/>
                    <a:pt x="70045" y="57352"/>
                    <a:pt x="2992" y="418"/>
                  </a:cubicBezTo>
                  <a:cubicBezTo>
                    <a:pt x="1357" y="-911"/>
                    <a:pt x="-1096" y="1236"/>
                    <a:pt x="539" y="2565"/>
                  </a:cubicBezTo>
                  <a:lnTo>
                    <a:pt x="53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7" name="任意多边形: 形状 766">
              <a:extLst>
                <a:ext uri="{FF2B5EF4-FFF2-40B4-BE49-F238E27FC236}">
                  <a16:creationId xmlns:a16="http://schemas.microsoft.com/office/drawing/2014/main" id="{1E40FEA7-EC35-4517-A2CE-8257B2502CE0}"/>
                </a:ext>
              </a:extLst>
            </p:cNvPr>
            <p:cNvSpPr/>
            <p:nvPr/>
          </p:nvSpPr>
          <p:spPr>
            <a:xfrm>
              <a:off x="10237523" y="1378392"/>
              <a:ext cx="134685" cy="87149"/>
            </a:xfrm>
            <a:custGeom>
              <a:avLst/>
              <a:gdLst>
                <a:gd name="connsiteX0" fmla="*/ 675 w 173764"/>
                <a:gd name="connsiteY0" fmla="*/ 2929 h 112435"/>
                <a:gd name="connsiteX1" fmla="*/ 175870 w 173764"/>
                <a:gd name="connsiteY1" fmla="*/ 115365 h 112435"/>
                <a:gd name="connsiteX2" fmla="*/ 177608 w 173764"/>
                <a:gd name="connsiteY2" fmla="*/ 112708 h 112435"/>
                <a:gd name="connsiteX3" fmla="*/ 2412 w 173764"/>
                <a:gd name="connsiteY3" fmla="*/ 272 h 112435"/>
                <a:gd name="connsiteX4" fmla="*/ 675 w 173764"/>
                <a:gd name="connsiteY4" fmla="*/ 2929 h 112435"/>
                <a:gd name="connsiteX5" fmla="*/ 675 w 173764"/>
                <a:gd name="connsiteY5" fmla="*/ 29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675" y="2929"/>
                  </a:moveTo>
                  <a:cubicBezTo>
                    <a:pt x="56791" y="43508"/>
                    <a:pt x="115257" y="81021"/>
                    <a:pt x="175870" y="115365"/>
                  </a:cubicBezTo>
                  <a:cubicBezTo>
                    <a:pt x="177710" y="116387"/>
                    <a:pt x="179346" y="113730"/>
                    <a:pt x="177608" y="112708"/>
                  </a:cubicBezTo>
                  <a:cubicBezTo>
                    <a:pt x="116995" y="78363"/>
                    <a:pt x="58528" y="40851"/>
                    <a:pt x="2412" y="272"/>
                  </a:cubicBezTo>
                  <a:cubicBezTo>
                    <a:pt x="675" y="-853"/>
                    <a:pt x="-961" y="1805"/>
                    <a:pt x="675" y="2929"/>
                  </a:cubicBezTo>
                  <a:lnTo>
                    <a:pt x="675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8" name="任意多边形: 形状 767">
              <a:extLst>
                <a:ext uri="{FF2B5EF4-FFF2-40B4-BE49-F238E27FC236}">
                  <a16:creationId xmlns:a16="http://schemas.microsoft.com/office/drawing/2014/main" id="{BAA99075-0C5F-4340-9EBA-BE56C3539F00}"/>
                </a:ext>
              </a:extLst>
            </p:cNvPr>
            <p:cNvSpPr/>
            <p:nvPr/>
          </p:nvSpPr>
          <p:spPr>
            <a:xfrm>
              <a:off x="10278953" y="1399657"/>
              <a:ext cx="95071" cy="47536"/>
            </a:xfrm>
            <a:custGeom>
              <a:avLst/>
              <a:gdLst>
                <a:gd name="connsiteX0" fmla="*/ 784 w 122657"/>
                <a:gd name="connsiteY0" fmla="*/ 2887 h 61328"/>
                <a:gd name="connsiteX1" fmla="*/ 129063 w 122657"/>
                <a:gd name="connsiteY1" fmla="*/ 71269 h 61328"/>
                <a:gd name="connsiteX2" fmla="*/ 130801 w 122657"/>
                <a:gd name="connsiteY2" fmla="*/ 68611 h 61328"/>
                <a:gd name="connsiteX3" fmla="*/ 2522 w 122657"/>
                <a:gd name="connsiteY3" fmla="*/ 230 h 61328"/>
                <a:gd name="connsiteX4" fmla="*/ 784 w 122657"/>
                <a:gd name="connsiteY4" fmla="*/ 2887 h 61328"/>
                <a:gd name="connsiteX5" fmla="*/ 784 w 122657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61328">
                  <a:moveTo>
                    <a:pt x="784" y="2887"/>
                  </a:moveTo>
                  <a:cubicBezTo>
                    <a:pt x="43509" y="25681"/>
                    <a:pt x="86337" y="48475"/>
                    <a:pt x="129063" y="71269"/>
                  </a:cubicBezTo>
                  <a:cubicBezTo>
                    <a:pt x="130903" y="72291"/>
                    <a:pt x="132640" y="69634"/>
                    <a:pt x="130801" y="68611"/>
                  </a:cubicBezTo>
                  <a:cubicBezTo>
                    <a:pt x="88075" y="45818"/>
                    <a:pt x="45247" y="23024"/>
                    <a:pt x="2522" y="230"/>
                  </a:cubicBezTo>
                  <a:cubicBezTo>
                    <a:pt x="681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9" name="任意多边形: 形状 768">
              <a:extLst>
                <a:ext uri="{FF2B5EF4-FFF2-40B4-BE49-F238E27FC236}">
                  <a16:creationId xmlns:a16="http://schemas.microsoft.com/office/drawing/2014/main" id="{4CA8799D-998C-46E4-AB2F-B00052C02B48}"/>
                </a:ext>
              </a:extLst>
            </p:cNvPr>
            <p:cNvSpPr/>
            <p:nvPr/>
          </p:nvSpPr>
          <p:spPr>
            <a:xfrm>
              <a:off x="10322685" y="1409640"/>
              <a:ext cx="102994" cy="47536"/>
            </a:xfrm>
            <a:custGeom>
              <a:avLst/>
              <a:gdLst>
                <a:gd name="connsiteX0" fmla="*/ 784 w 132878"/>
                <a:gd name="connsiteY0" fmla="*/ 2887 h 61328"/>
                <a:gd name="connsiteX1" fmla="*/ 132027 w 132878"/>
                <a:gd name="connsiteY1" fmla="*/ 67998 h 61328"/>
                <a:gd name="connsiteX2" fmla="*/ 132947 w 132878"/>
                <a:gd name="connsiteY2" fmla="*/ 65034 h 61328"/>
                <a:gd name="connsiteX3" fmla="*/ 2521 w 132878"/>
                <a:gd name="connsiteY3" fmla="*/ 230 h 61328"/>
                <a:gd name="connsiteX4" fmla="*/ 784 w 132878"/>
                <a:gd name="connsiteY4" fmla="*/ 2887 h 61328"/>
                <a:gd name="connsiteX5" fmla="*/ 784 w 132878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84" y="2887"/>
                  </a:moveTo>
                  <a:cubicBezTo>
                    <a:pt x="42692" y="27726"/>
                    <a:pt x="86542" y="49497"/>
                    <a:pt x="132027" y="67998"/>
                  </a:cubicBezTo>
                  <a:cubicBezTo>
                    <a:pt x="133969" y="68816"/>
                    <a:pt x="134889" y="65852"/>
                    <a:pt x="132947" y="65034"/>
                  </a:cubicBezTo>
                  <a:cubicBezTo>
                    <a:pt x="87768" y="46635"/>
                    <a:pt x="44225" y="24966"/>
                    <a:pt x="2521" y="230"/>
                  </a:cubicBezTo>
                  <a:cubicBezTo>
                    <a:pt x="682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0" name="任意多边形: 形状 769">
              <a:extLst>
                <a:ext uri="{FF2B5EF4-FFF2-40B4-BE49-F238E27FC236}">
                  <a16:creationId xmlns:a16="http://schemas.microsoft.com/office/drawing/2014/main" id="{A709CA6F-B963-45FD-B7CD-45546F0EBED5}"/>
                </a:ext>
              </a:extLst>
            </p:cNvPr>
            <p:cNvSpPr/>
            <p:nvPr/>
          </p:nvSpPr>
          <p:spPr>
            <a:xfrm>
              <a:off x="10252595" y="1487057"/>
              <a:ext cx="87149" cy="87149"/>
            </a:xfrm>
            <a:custGeom>
              <a:avLst/>
              <a:gdLst>
                <a:gd name="connsiteX0" fmla="*/ 445 w 112435"/>
                <a:gd name="connsiteY0" fmla="*/ 2565 h 112435"/>
                <a:gd name="connsiteX1" fmla="*/ 111450 w 112435"/>
                <a:gd name="connsiteY1" fmla="*/ 119294 h 112435"/>
                <a:gd name="connsiteX2" fmla="*/ 113801 w 112435"/>
                <a:gd name="connsiteY2" fmla="*/ 117147 h 112435"/>
                <a:gd name="connsiteX3" fmla="*/ 2796 w 112435"/>
                <a:gd name="connsiteY3" fmla="*/ 418 h 112435"/>
                <a:gd name="connsiteX4" fmla="*/ 445 w 112435"/>
                <a:gd name="connsiteY4" fmla="*/ 2565 h 112435"/>
                <a:gd name="connsiteX5" fmla="*/ 445 w 112435"/>
                <a:gd name="connsiteY5" fmla="*/ 2565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12435">
                  <a:moveTo>
                    <a:pt x="445" y="2565"/>
                  </a:moveTo>
                  <a:cubicBezTo>
                    <a:pt x="40105" y="39157"/>
                    <a:pt x="77106" y="78203"/>
                    <a:pt x="111450" y="119294"/>
                  </a:cubicBezTo>
                  <a:cubicBezTo>
                    <a:pt x="112779" y="120827"/>
                    <a:pt x="115130" y="118680"/>
                    <a:pt x="113801" y="117147"/>
                  </a:cubicBezTo>
                  <a:cubicBezTo>
                    <a:pt x="79457" y="76057"/>
                    <a:pt x="42455" y="37011"/>
                    <a:pt x="2796" y="418"/>
                  </a:cubicBezTo>
                  <a:cubicBezTo>
                    <a:pt x="1365" y="-911"/>
                    <a:pt x="-986" y="1236"/>
                    <a:pt x="445" y="2565"/>
                  </a:cubicBezTo>
                  <a:lnTo>
                    <a:pt x="445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1" name="任意多边形: 形状 770">
              <a:extLst>
                <a:ext uri="{FF2B5EF4-FFF2-40B4-BE49-F238E27FC236}">
                  <a16:creationId xmlns:a16="http://schemas.microsoft.com/office/drawing/2014/main" id="{20EF7852-7A03-4C40-A92A-09B52C53339D}"/>
                </a:ext>
              </a:extLst>
            </p:cNvPr>
            <p:cNvSpPr/>
            <p:nvPr/>
          </p:nvSpPr>
          <p:spPr>
            <a:xfrm>
              <a:off x="10244006" y="1489550"/>
              <a:ext cx="79226" cy="79226"/>
            </a:xfrm>
            <a:custGeom>
              <a:avLst/>
              <a:gdLst>
                <a:gd name="connsiteX0" fmla="*/ 487 w 102214"/>
                <a:gd name="connsiteY0" fmla="*/ 2618 h 102214"/>
                <a:gd name="connsiteX1" fmla="*/ 105461 w 102214"/>
                <a:gd name="connsiteY1" fmla="*/ 107286 h 102214"/>
                <a:gd name="connsiteX2" fmla="*/ 107812 w 102214"/>
                <a:gd name="connsiteY2" fmla="*/ 105140 h 102214"/>
                <a:gd name="connsiteX3" fmla="*/ 2838 w 102214"/>
                <a:gd name="connsiteY3" fmla="*/ 472 h 102214"/>
                <a:gd name="connsiteX4" fmla="*/ 487 w 102214"/>
                <a:gd name="connsiteY4" fmla="*/ 2618 h 102214"/>
                <a:gd name="connsiteX5" fmla="*/ 487 w 102214"/>
                <a:gd name="connsiteY5" fmla="*/ 261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87" y="2618"/>
                  </a:moveTo>
                  <a:cubicBezTo>
                    <a:pt x="36466" y="36554"/>
                    <a:pt x="71526" y="71511"/>
                    <a:pt x="105461" y="107286"/>
                  </a:cubicBezTo>
                  <a:cubicBezTo>
                    <a:pt x="106892" y="108819"/>
                    <a:pt x="109243" y="106571"/>
                    <a:pt x="107812" y="105140"/>
                  </a:cubicBezTo>
                  <a:cubicBezTo>
                    <a:pt x="73876" y="69364"/>
                    <a:pt x="38817" y="34407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2" name="任意多边形: 形状 771">
              <a:extLst>
                <a:ext uri="{FF2B5EF4-FFF2-40B4-BE49-F238E27FC236}">
                  <a16:creationId xmlns:a16="http://schemas.microsoft.com/office/drawing/2014/main" id="{24ACFB2D-7905-402A-9A44-F7B32D706098}"/>
                </a:ext>
              </a:extLst>
            </p:cNvPr>
            <p:cNvSpPr/>
            <p:nvPr/>
          </p:nvSpPr>
          <p:spPr>
            <a:xfrm>
              <a:off x="10240670" y="1503377"/>
              <a:ext cx="79226" cy="79226"/>
            </a:xfrm>
            <a:custGeom>
              <a:avLst/>
              <a:gdLst>
                <a:gd name="connsiteX0" fmla="*/ 499 w 102214"/>
                <a:gd name="connsiteY0" fmla="*/ 2565 h 102214"/>
                <a:gd name="connsiteX1" fmla="*/ 103837 w 102214"/>
                <a:gd name="connsiteY1" fmla="*/ 103552 h 102214"/>
                <a:gd name="connsiteX2" fmla="*/ 106189 w 102214"/>
                <a:gd name="connsiteY2" fmla="*/ 101406 h 102214"/>
                <a:gd name="connsiteX3" fmla="*/ 2850 w 102214"/>
                <a:gd name="connsiteY3" fmla="*/ 418 h 102214"/>
                <a:gd name="connsiteX4" fmla="*/ 499 w 102214"/>
                <a:gd name="connsiteY4" fmla="*/ 2565 h 102214"/>
                <a:gd name="connsiteX5" fmla="*/ 499 w 102214"/>
                <a:gd name="connsiteY5" fmla="*/ 25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99" y="2565"/>
                  </a:moveTo>
                  <a:cubicBezTo>
                    <a:pt x="36785" y="34558"/>
                    <a:pt x="71231" y="68289"/>
                    <a:pt x="103837" y="103552"/>
                  </a:cubicBezTo>
                  <a:cubicBezTo>
                    <a:pt x="105269" y="105086"/>
                    <a:pt x="107619" y="102939"/>
                    <a:pt x="106189" y="101406"/>
                  </a:cubicBezTo>
                  <a:cubicBezTo>
                    <a:pt x="73582" y="66142"/>
                    <a:pt x="39034" y="32411"/>
                    <a:pt x="2850" y="418"/>
                  </a:cubicBezTo>
                  <a:cubicBezTo>
                    <a:pt x="1316" y="-911"/>
                    <a:pt x="-1035" y="1236"/>
                    <a:pt x="499" y="2565"/>
                  </a:cubicBezTo>
                  <a:lnTo>
                    <a:pt x="49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3" name="任意多边形: 形状 772">
              <a:extLst>
                <a:ext uri="{FF2B5EF4-FFF2-40B4-BE49-F238E27FC236}">
                  <a16:creationId xmlns:a16="http://schemas.microsoft.com/office/drawing/2014/main" id="{622F8BF9-B58B-4270-A756-5B06ED151779}"/>
                </a:ext>
              </a:extLst>
            </p:cNvPr>
            <p:cNvSpPr/>
            <p:nvPr/>
          </p:nvSpPr>
          <p:spPr>
            <a:xfrm>
              <a:off x="10242263" y="1524726"/>
              <a:ext cx="63381" cy="55458"/>
            </a:xfrm>
            <a:custGeom>
              <a:avLst/>
              <a:gdLst>
                <a:gd name="connsiteX0" fmla="*/ 487 w 81771"/>
                <a:gd name="connsiteY0" fmla="*/ 2618 h 71550"/>
                <a:gd name="connsiteX1" fmla="*/ 79294 w 81771"/>
                <a:gd name="connsiteY1" fmla="*/ 74475 h 71550"/>
                <a:gd name="connsiteX2" fmla="*/ 81645 w 81771"/>
                <a:gd name="connsiteY2" fmla="*/ 72329 h 71550"/>
                <a:gd name="connsiteX3" fmla="*/ 2838 w 81771"/>
                <a:gd name="connsiteY3" fmla="*/ 472 h 71550"/>
                <a:gd name="connsiteX4" fmla="*/ 487 w 81771"/>
                <a:gd name="connsiteY4" fmla="*/ 2618 h 71550"/>
                <a:gd name="connsiteX5" fmla="*/ 487 w 81771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71550">
                  <a:moveTo>
                    <a:pt x="487" y="2618"/>
                  </a:moveTo>
                  <a:cubicBezTo>
                    <a:pt x="26756" y="26537"/>
                    <a:pt x="53025" y="50557"/>
                    <a:pt x="79294" y="74475"/>
                  </a:cubicBezTo>
                  <a:cubicBezTo>
                    <a:pt x="80827" y="75906"/>
                    <a:pt x="83178" y="73760"/>
                    <a:pt x="81645" y="72329"/>
                  </a:cubicBezTo>
                  <a:cubicBezTo>
                    <a:pt x="55376" y="48411"/>
                    <a:pt x="29107" y="24390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67172578-AE90-47D9-933C-384C0D918D11}"/>
                </a:ext>
              </a:extLst>
            </p:cNvPr>
            <p:cNvSpPr/>
            <p:nvPr/>
          </p:nvSpPr>
          <p:spPr>
            <a:xfrm>
              <a:off x="10191471" y="1586820"/>
              <a:ext cx="79226" cy="31691"/>
            </a:xfrm>
            <a:custGeom>
              <a:avLst/>
              <a:gdLst>
                <a:gd name="connsiteX0" fmla="*/ 804 w 102214"/>
                <a:gd name="connsiteY0" fmla="*/ 2848 h 40885"/>
                <a:gd name="connsiteX1" fmla="*/ 108333 w 102214"/>
                <a:gd name="connsiteY1" fmla="*/ 47005 h 40885"/>
                <a:gd name="connsiteX2" fmla="*/ 109253 w 102214"/>
                <a:gd name="connsiteY2" fmla="*/ 44041 h 40885"/>
                <a:gd name="connsiteX3" fmla="*/ 2541 w 102214"/>
                <a:gd name="connsiteY3" fmla="*/ 191 h 40885"/>
                <a:gd name="connsiteX4" fmla="*/ 804 w 102214"/>
                <a:gd name="connsiteY4" fmla="*/ 2848 h 40885"/>
                <a:gd name="connsiteX5" fmla="*/ 804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04" y="2848"/>
                  </a:moveTo>
                  <a:cubicBezTo>
                    <a:pt x="35148" y="20634"/>
                    <a:pt x="71127" y="35455"/>
                    <a:pt x="108333" y="47005"/>
                  </a:cubicBezTo>
                  <a:cubicBezTo>
                    <a:pt x="110377" y="47618"/>
                    <a:pt x="111298" y="44654"/>
                    <a:pt x="109253" y="44041"/>
                  </a:cubicBezTo>
                  <a:cubicBezTo>
                    <a:pt x="72354" y="32491"/>
                    <a:pt x="36579" y="17772"/>
                    <a:pt x="2541" y="191"/>
                  </a:cubicBezTo>
                  <a:cubicBezTo>
                    <a:pt x="599" y="-729"/>
                    <a:pt x="-1036" y="1928"/>
                    <a:pt x="804" y="2848"/>
                  </a:cubicBezTo>
                  <a:lnTo>
                    <a:pt x="804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A4C48CDD-F21F-4E9B-93DE-631F92C50F1A}"/>
                </a:ext>
              </a:extLst>
            </p:cNvPr>
            <p:cNvSpPr/>
            <p:nvPr/>
          </p:nvSpPr>
          <p:spPr>
            <a:xfrm>
              <a:off x="10175200" y="1601719"/>
              <a:ext cx="102994" cy="31691"/>
            </a:xfrm>
            <a:custGeom>
              <a:avLst/>
              <a:gdLst>
                <a:gd name="connsiteX0" fmla="*/ 1148 w 132878"/>
                <a:gd name="connsiteY0" fmla="*/ 3047 h 40885"/>
                <a:gd name="connsiteX1" fmla="*/ 132187 w 132878"/>
                <a:gd name="connsiteY1" fmla="*/ 43115 h 40885"/>
                <a:gd name="connsiteX2" fmla="*/ 133107 w 132878"/>
                <a:gd name="connsiteY2" fmla="*/ 40151 h 40885"/>
                <a:gd name="connsiteX3" fmla="*/ 2068 w 132878"/>
                <a:gd name="connsiteY3" fmla="*/ 83 h 40885"/>
                <a:gd name="connsiteX4" fmla="*/ 1148 w 132878"/>
                <a:gd name="connsiteY4" fmla="*/ 3047 h 40885"/>
                <a:gd name="connsiteX5" fmla="*/ 1148 w 132878"/>
                <a:gd name="connsiteY5" fmla="*/ 304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40885">
                  <a:moveTo>
                    <a:pt x="1148" y="3047"/>
                  </a:moveTo>
                  <a:cubicBezTo>
                    <a:pt x="44794" y="16437"/>
                    <a:pt x="88542" y="29725"/>
                    <a:pt x="132187" y="43115"/>
                  </a:cubicBezTo>
                  <a:cubicBezTo>
                    <a:pt x="134232" y="43729"/>
                    <a:pt x="135152" y="40764"/>
                    <a:pt x="133107" y="40151"/>
                  </a:cubicBezTo>
                  <a:cubicBezTo>
                    <a:pt x="89462" y="26761"/>
                    <a:pt x="45714" y="1347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6" name="任意多边形: 形状 775">
              <a:extLst>
                <a:ext uri="{FF2B5EF4-FFF2-40B4-BE49-F238E27FC236}">
                  <a16:creationId xmlns:a16="http://schemas.microsoft.com/office/drawing/2014/main" id="{4901DFCB-B2DF-40A9-A3F8-9840F1EA5F8B}"/>
                </a:ext>
              </a:extLst>
            </p:cNvPr>
            <p:cNvSpPr/>
            <p:nvPr/>
          </p:nvSpPr>
          <p:spPr>
            <a:xfrm>
              <a:off x="10187718" y="1621507"/>
              <a:ext cx="39613" cy="15845"/>
            </a:xfrm>
            <a:custGeom>
              <a:avLst/>
              <a:gdLst>
                <a:gd name="connsiteX0" fmla="*/ 1149 w 51107"/>
                <a:gd name="connsiteY0" fmla="*/ 3072 h 20442"/>
                <a:gd name="connsiteX1" fmla="*/ 55935 w 51107"/>
                <a:gd name="connsiteY1" fmla="*/ 21164 h 20442"/>
                <a:gd name="connsiteX2" fmla="*/ 56855 w 51107"/>
                <a:gd name="connsiteY2" fmla="*/ 18200 h 20442"/>
                <a:gd name="connsiteX3" fmla="*/ 2068 w 51107"/>
                <a:gd name="connsiteY3" fmla="*/ 108 h 20442"/>
                <a:gd name="connsiteX4" fmla="*/ 1149 w 51107"/>
                <a:gd name="connsiteY4" fmla="*/ 3072 h 20442"/>
                <a:gd name="connsiteX5" fmla="*/ 1149 w 51107"/>
                <a:gd name="connsiteY5" fmla="*/ 307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9" y="3072"/>
                  </a:moveTo>
                  <a:cubicBezTo>
                    <a:pt x="19445" y="9102"/>
                    <a:pt x="37639" y="15133"/>
                    <a:pt x="55935" y="21164"/>
                  </a:cubicBezTo>
                  <a:cubicBezTo>
                    <a:pt x="57980" y="21777"/>
                    <a:pt x="58900" y="18813"/>
                    <a:pt x="56855" y="18200"/>
                  </a:cubicBezTo>
                  <a:cubicBezTo>
                    <a:pt x="38559" y="12169"/>
                    <a:pt x="20365" y="6138"/>
                    <a:pt x="2068" y="108"/>
                  </a:cubicBezTo>
                  <a:cubicBezTo>
                    <a:pt x="24" y="-608"/>
                    <a:pt x="-896" y="2459"/>
                    <a:pt x="1149" y="3072"/>
                  </a:cubicBezTo>
                  <a:lnTo>
                    <a:pt x="1149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7" name="任意多边形: 形状 776">
              <a:extLst>
                <a:ext uri="{FF2B5EF4-FFF2-40B4-BE49-F238E27FC236}">
                  <a16:creationId xmlns:a16="http://schemas.microsoft.com/office/drawing/2014/main" id="{967A42F8-11F9-431A-9EC4-A1F195891FE2}"/>
                </a:ext>
              </a:extLst>
            </p:cNvPr>
            <p:cNvSpPr/>
            <p:nvPr/>
          </p:nvSpPr>
          <p:spPr>
            <a:xfrm>
              <a:off x="10162603" y="1630874"/>
              <a:ext cx="55458" cy="15845"/>
            </a:xfrm>
            <a:custGeom>
              <a:avLst/>
              <a:gdLst>
                <a:gd name="connsiteX0" fmla="*/ 1149 w 71550"/>
                <a:gd name="connsiteY0" fmla="*/ 3047 h 20442"/>
                <a:gd name="connsiteX1" fmla="*/ 72290 w 71550"/>
                <a:gd name="connsiteY1" fmla="*/ 21855 h 20442"/>
                <a:gd name="connsiteX2" fmla="*/ 73210 w 71550"/>
                <a:gd name="connsiteY2" fmla="*/ 18891 h 20442"/>
                <a:gd name="connsiteX3" fmla="*/ 2068 w 71550"/>
                <a:gd name="connsiteY3" fmla="*/ 83 h 20442"/>
                <a:gd name="connsiteX4" fmla="*/ 1149 w 71550"/>
                <a:gd name="connsiteY4" fmla="*/ 3047 h 20442"/>
                <a:gd name="connsiteX5" fmla="*/ 1149 w 71550"/>
                <a:gd name="connsiteY5" fmla="*/ 304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47"/>
                  </a:moveTo>
                  <a:cubicBezTo>
                    <a:pt x="24862" y="9282"/>
                    <a:pt x="48576" y="15620"/>
                    <a:pt x="72290" y="21855"/>
                  </a:cubicBezTo>
                  <a:cubicBezTo>
                    <a:pt x="74334" y="22366"/>
                    <a:pt x="75254" y="19402"/>
                    <a:pt x="73210" y="18891"/>
                  </a:cubicBezTo>
                  <a:cubicBezTo>
                    <a:pt x="49496" y="12655"/>
                    <a:pt x="25782" y="6318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8" name="任意多边形: 形状 777">
              <a:extLst>
                <a:ext uri="{FF2B5EF4-FFF2-40B4-BE49-F238E27FC236}">
                  <a16:creationId xmlns:a16="http://schemas.microsoft.com/office/drawing/2014/main" id="{FA56333F-CE8A-46CA-BF4A-25B56636C209}"/>
                </a:ext>
              </a:extLst>
            </p:cNvPr>
            <p:cNvSpPr/>
            <p:nvPr/>
          </p:nvSpPr>
          <p:spPr>
            <a:xfrm>
              <a:off x="10178139" y="1645039"/>
              <a:ext cx="15845" cy="7922"/>
            </a:xfrm>
            <a:custGeom>
              <a:avLst/>
              <a:gdLst>
                <a:gd name="connsiteX0" fmla="*/ 1548 w 20442"/>
                <a:gd name="connsiteY0" fmla="*/ 3171 h 0"/>
                <a:gd name="connsiteX1" fmla="*/ 25977 w 20442"/>
                <a:gd name="connsiteY1" fmla="*/ 9508 h 0"/>
                <a:gd name="connsiteX2" fmla="*/ 27715 w 20442"/>
                <a:gd name="connsiteY2" fmla="*/ 6851 h 0"/>
                <a:gd name="connsiteX3" fmla="*/ 1752 w 20442"/>
                <a:gd name="connsiteY3" fmla="*/ 2 h 0"/>
                <a:gd name="connsiteX4" fmla="*/ 1548 w 20442"/>
                <a:gd name="connsiteY4" fmla="*/ 3171 h 0"/>
                <a:gd name="connsiteX5" fmla="*/ 1548 w 20442"/>
                <a:gd name="connsiteY5" fmla="*/ 31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>
                  <a:moveTo>
                    <a:pt x="1548" y="3171"/>
                  </a:moveTo>
                  <a:cubicBezTo>
                    <a:pt x="10236" y="3682"/>
                    <a:pt x="18209" y="5726"/>
                    <a:pt x="25977" y="9508"/>
                  </a:cubicBezTo>
                  <a:cubicBezTo>
                    <a:pt x="27817" y="10428"/>
                    <a:pt x="29555" y="7771"/>
                    <a:pt x="27715" y="6851"/>
                  </a:cubicBezTo>
                  <a:cubicBezTo>
                    <a:pt x="19538" y="2762"/>
                    <a:pt x="10952" y="514"/>
                    <a:pt x="1752" y="2"/>
                  </a:cubicBezTo>
                  <a:cubicBezTo>
                    <a:pt x="-496" y="-100"/>
                    <a:pt x="-598" y="3069"/>
                    <a:pt x="1548" y="3171"/>
                  </a:cubicBezTo>
                  <a:lnTo>
                    <a:pt x="1548" y="317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9" name="任意多边形: 形状 778">
              <a:extLst>
                <a:ext uri="{FF2B5EF4-FFF2-40B4-BE49-F238E27FC236}">
                  <a16:creationId xmlns:a16="http://schemas.microsoft.com/office/drawing/2014/main" id="{76110134-706E-4B3F-A27F-AE469E120645}"/>
                </a:ext>
              </a:extLst>
            </p:cNvPr>
            <p:cNvSpPr/>
            <p:nvPr/>
          </p:nvSpPr>
          <p:spPr>
            <a:xfrm>
              <a:off x="10145468" y="1644638"/>
              <a:ext cx="39613" cy="7922"/>
            </a:xfrm>
            <a:custGeom>
              <a:avLst/>
              <a:gdLst>
                <a:gd name="connsiteX0" fmla="*/ 1075 w 51107"/>
                <a:gd name="connsiteY0" fmla="*/ 3075 h 10221"/>
                <a:gd name="connsiteX1" fmla="*/ 51263 w 51107"/>
                <a:gd name="connsiteY1" fmla="*/ 13398 h 10221"/>
                <a:gd name="connsiteX2" fmla="*/ 51365 w 51107"/>
                <a:gd name="connsiteY2" fmla="*/ 10332 h 10221"/>
                <a:gd name="connsiteX3" fmla="*/ 1996 w 51107"/>
                <a:gd name="connsiteY3" fmla="*/ 111 h 10221"/>
                <a:gd name="connsiteX4" fmla="*/ 1075 w 51107"/>
                <a:gd name="connsiteY4" fmla="*/ 3075 h 10221"/>
                <a:gd name="connsiteX5" fmla="*/ 1075 w 51107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075"/>
                  </a:moveTo>
                  <a:cubicBezTo>
                    <a:pt x="17225" y="8799"/>
                    <a:pt x="33988" y="12274"/>
                    <a:pt x="51263" y="13398"/>
                  </a:cubicBezTo>
                  <a:cubicBezTo>
                    <a:pt x="53409" y="13501"/>
                    <a:pt x="53409" y="10434"/>
                    <a:pt x="51365" y="10332"/>
                  </a:cubicBezTo>
                  <a:cubicBezTo>
                    <a:pt x="34397" y="9208"/>
                    <a:pt x="17941" y="5835"/>
                    <a:pt x="1996" y="111"/>
                  </a:cubicBezTo>
                  <a:cubicBezTo>
                    <a:pt x="54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0" name="任意多边形: 形状 779">
              <a:extLst>
                <a:ext uri="{FF2B5EF4-FFF2-40B4-BE49-F238E27FC236}">
                  <a16:creationId xmlns:a16="http://schemas.microsoft.com/office/drawing/2014/main" id="{8050842C-B790-4894-AA16-17703BF68B5E}"/>
                </a:ext>
              </a:extLst>
            </p:cNvPr>
            <p:cNvSpPr/>
            <p:nvPr/>
          </p:nvSpPr>
          <p:spPr>
            <a:xfrm>
              <a:off x="10311710" y="1516201"/>
              <a:ext cx="7922" cy="87149"/>
            </a:xfrm>
            <a:custGeom>
              <a:avLst/>
              <a:gdLst>
                <a:gd name="connsiteX0" fmla="*/ 19953 w 10221"/>
                <a:gd name="connsiteY0" fmla="*/ 120329 h 112435"/>
                <a:gd name="connsiteX1" fmla="*/ 3189 w 10221"/>
                <a:gd name="connsiteY1" fmla="*/ 1147 h 112435"/>
                <a:gd name="connsiteX2" fmla="*/ 21 w 10221"/>
                <a:gd name="connsiteY2" fmla="*/ 1863 h 112435"/>
                <a:gd name="connsiteX3" fmla="*/ 16784 w 10221"/>
                <a:gd name="connsiteY3" fmla="*/ 121045 h 112435"/>
                <a:gd name="connsiteX4" fmla="*/ 19953 w 10221"/>
                <a:gd name="connsiteY4" fmla="*/ 120329 h 112435"/>
                <a:gd name="connsiteX5" fmla="*/ 19953 w 10221"/>
                <a:gd name="connsiteY5" fmla="*/ 1203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12435">
                  <a:moveTo>
                    <a:pt x="19953" y="120329"/>
                  </a:moveTo>
                  <a:cubicBezTo>
                    <a:pt x="14331" y="80568"/>
                    <a:pt x="8811" y="40909"/>
                    <a:pt x="3189" y="1147"/>
                  </a:cubicBezTo>
                  <a:cubicBezTo>
                    <a:pt x="2883" y="-795"/>
                    <a:pt x="-286" y="-79"/>
                    <a:pt x="21" y="1863"/>
                  </a:cubicBezTo>
                  <a:cubicBezTo>
                    <a:pt x="5643" y="41624"/>
                    <a:pt x="11162" y="81283"/>
                    <a:pt x="16784" y="121045"/>
                  </a:cubicBezTo>
                  <a:cubicBezTo>
                    <a:pt x="17091" y="122987"/>
                    <a:pt x="20259" y="122271"/>
                    <a:pt x="19953" y="120329"/>
                  </a:cubicBezTo>
                  <a:lnTo>
                    <a:pt x="19953" y="1203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1" name="任意多边形: 形状 780">
              <a:extLst>
                <a:ext uri="{FF2B5EF4-FFF2-40B4-BE49-F238E27FC236}">
                  <a16:creationId xmlns:a16="http://schemas.microsoft.com/office/drawing/2014/main" id="{2BB49AD1-43CC-49F8-8059-28072D434524}"/>
                </a:ext>
              </a:extLst>
            </p:cNvPr>
            <p:cNvSpPr/>
            <p:nvPr/>
          </p:nvSpPr>
          <p:spPr>
            <a:xfrm>
              <a:off x="10323978" y="1527135"/>
              <a:ext cx="15845" cy="79226"/>
            </a:xfrm>
            <a:custGeom>
              <a:avLst/>
              <a:gdLst>
                <a:gd name="connsiteX0" fmla="*/ 24056 w 20442"/>
                <a:gd name="connsiteY0" fmla="*/ 104690 h 102214"/>
                <a:gd name="connsiteX1" fmla="*/ 3205 w 20442"/>
                <a:gd name="connsiteY1" fmla="*/ 1147 h 102214"/>
                <a:gd name="connsiteX2" fmla="*/ 36 w 20442"/>
                <a:gd name="connsiteY2" fmla="*/ 1863 h 102214"/>
                <a:gd name="connsiteX3" fmla="*/ 20888 w 20442"/>
                <a:gd name="connsiteY3" fmla="*/ 105406 h 102214"/>
                <a:gd name="connsiteX4" fmla="*/ 24056 w 20442"/>
                <a:gd name="connsiteY4" fmla="*/ 104690 h 102214"/>
                <a:gd name="connsiteX5" fmla="*/ 24056 w 20442"/>
                <a:gd name="connsiteY5" fmla="*/ 104690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4">
                  <a:moveTo>
                    <a:pt x="24056" y="104690"/>
                  </a:moveTo>
                  <a:cubicBezTo>
                    <a:pt x="17106" y="70142"/>
                    <a:pt x="10155" y="35696"/>
                    <a:pt x="3205" y="1147"/>
                  </a:cubicBezTo>
                  <a:cubicBezTo>
                    <a:pt x="2796" y="-795"/>
                    <a:pt x="-373" y="-79"/>
                    <a:pt x="36" y="1863"/>
                  </a:cubicBezTo>
                  <a:cubicBezTo>
                    <a:pt x="6987" y="36411"/>
                    <a:pt x="13937" y="70857"/>
                    <a:pt x="20888" y="105406"/>
                  </a:cubicBezTo>
                  <a:cubicBezTo>
                    <a:pt x="21297" y="107450"/>
                    <a:pt x="24465" y="106735"/>
                    <a:pt x="24056" y="104690"/>
                  </a:cubicBezTo>
                  <a:lnTo>
                    <a:pt x="24056" y="1046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2" name="任意多边形: 形状 781">
              <a:extLst>
                <a:ext uri="{FF2B5EF4-FFF2-40B4-BE49-F238E27FC236}">
                  <a16:creationId xmlns:a16="http://schemas.microsoft.com/office/drawing/2014/main" id="{71B7E3AB-77AC-47B9-9804-410C75771AD1}"/>
                </a:ext>
              </a:extLst>
            </p:cNvPr>
            <p:cNvSpPr/>
            <p:nvPr/>
          </p:nvSpPr>
          <p:spPr>
            <a:xfrm>
              <a:off x="10339447" y="1534740"/>
              <a:ext cx="15845" cy="63381"/>
            </a:xfrm>
            <a:custGeom>
              <a:avLst/>
              <a:gdLst>
                <a:gd name="connsiteX0" fmla="*/ 26585 w 20442"/>
                <a:gd name="connsiteY0" fmla="*/ 85270 h 81771"/>
                <a:gd name="connsiteX1" fmla="*/ 3178 w 20442"/>
                <a:gd name="connsiteY1" fmla="*/ 1147 h 81771"/>
                <a:gd name="connsiteX2" fmla="*/ 9 w 20442"/>
                <a:gd name="connsiteY2" fmla="*/ 1863 h 81771"/>
                <a:gd name="connsiteX3" fmla="*/ 23723 w 20442"/>
                <a:gd name="connsiteY3" fmla="*/ 86803 h 81771"/>
                <a:gd name="connsiteX4" fmla="*/ 26585 w 20442"/>
                <a:gd name="connsiteY4" fmla="*/ 85270 h 81771"/>
                <a:gd name="connsiteX5" fmla="*/ 26585 w 20442"/>
                <a:gd name="connsiteY5" fmla="*/ 85270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81771">
                  <a:moveTo>
                    <a:pt x="26585" y="85270"/>
                  </a:moveTo>
                  <a:cubicBezTo>
                    <a:pt x="14524" y="58387"/>
                    <a:pt x="6653" y="30176"/>
                    <a:pt x="3178" y="1147"/>
                  </a:cubicBezTo>
                  <a:cubicBezTo>
                    <a:pt x="2974" y="-795"/>
                    <a:pt x="-195" y="-79"/>
                    <a:pt x="9" y="1863"/>
                  </a:cubicBezTo>
                  <a:cubicBezTo>
                    <a:pt x="3587" y="31198"/>
                    <a:pt x="11560" y="59614"/>
                    <a:pt x="23723" y="86803"/>
                  </a:cubicBezTo>
                  <a:cubicBezTo>
                    <a:pt x="24541" y="88541"/>
                    <a:pt x="27403" y="87109"/>
                    <a:pt x="26585" y="85270"/>
                  </a:cubicBezTo>
                  <a:lnTo>
                    <a:pt x="26585" y="8527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3" name="任意多边形: 形状 782">
              <a:extLst>
                <a:ext uri="{FF2B5EF4-FFF2-40B4-BE49-F238E27FC236}">
                  <a16:creationId xmlns:a16="http://schemas.microsoft.com/office/drawing/2014/main" id="{DAA0CDA0-988E-4ABC-90F3-66C395EF3595}"/>
                </a:ext>
              </a:extLst>
            </p:cNvPr>
            <p:cNvSpPr/>
            <p:nvPr/>
          </p:nvSpPr>
          <p:spPr>
            <a:xfrm>
              <a:off x="10356049" y="1551615"/>
              <a:ext cx="15845" cy="47536"/>
            </a:xfrm>
            <a:custGeom>
              <a:avLst/>
              <a:gdLst>
                <a:gd name="connsiteX0" fmla="*/ 23054 w 20442"/>
                <a:gd name="connsiteY0" fmla="*/ 61351 h 61328"/>
                <a:gd name="connsiteX1" fmla="*/ 3224 w 20442"/>
                <a:gd name="connsiteY1" fmla="*/ 1147 h 61328"/>
                <a:gd name="connsiteX2" fmla="*/ 56 w 20442"/>
                <a:gd name="connsiteY2" fmla="*/ 1863 h 61328"/>
                <a:gd name="connsiteX3" fmla="*/ 19885 w 20442"/>
                <a:gd name="connsiteY3" fmla="*/ 62067 h 61328"/>
                <a:gd name="connsiteX4" fmla="*/ 23054 w 20442"/>
                <a:gd name="connsiteY4" fmla="*/ 61351 h 61328"/>
                <a:gd name="connsiteX5" fmla="*/ 23054 w 20442"/>
                <a:gd name="connsiteY5" fmla="*/ 61351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3054" y="61351"/>
                  </a:moveTo>
                  <a:cubicBezTo>
                    <a:pt x="15285" y="41624"/>
                    <a:pt x="8744" y="21488"/>
                    <a:pt x="3224" y="1147"/>
                  </a:cubicBezTo>
                  <a:cubicBezTo>
                    <a:pt x="2713" y="-795"/>
                    <a:pt x="-455" y="-79"/>
                    <a:pt x="56" y="1863"/>
                  </a:cubicBezTo>
                  <a:cubicBezTo>
                    <a:pt x="5575" y="22306"/>
                    <a:pt x="12117" y="42340"/>
                    <a:pt x="19885" y="62067"/>
                  </a:cubicBezTo>
                  <a:cubicBezTo>
                    <a:pt x="20601" y="64009"/>
                    <a:pt x="23769" y="63294"/>
                    <a:pt x="23054" y="61351"/>
                  </a:cubicBezTo>
                  <a:lnTo>
                    <a:pt x="23054" y="613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4" name="任意多边形: 形状 783">
              <a:extLst>
                <a:ext uri="{FF2B5EF4-FFF2-40B4-BE49-F238E27FC236}">
                  <a16:creationId xmlns:a16="http://schemas.microsoft.com/office/drawing/2014/main" id="{9781457A-4D6D-4A0A-BEEE-9F0A2647EF46}"/>
                </a:ext>
              </a:extLst>
            </p:cNvPr>
            <p:cNvSpPr/>
            <p:nvPr/>
          </p:nvSpPr>
          <p:spPr>
            <a:xfrm>
              <a:off x="10363241" y="1542663"/>
              <a:ext cx="15845" cy="47536"/>
            </a:xfrm>
            <a:custGeom>
              <a:avLst/>
              <a:gdLst>
                <a:gd name="connsiteX0" fmla="*/ 22668 w 20442"/>
                <a:gd name="connsiteY0" fmla="*/ 59512 h 61328"/>
                <a:gd name="connsiteX1" fmla="*/ 3247 w 20442"/>
                <a:gd name="connsiteY1" fmla="*/ 1147 h 61328"/>
                <a:gd name="connsiteX2" fmla="*/ 78 w 20442"/>
                <a:gd name="connsiteY2" fmla="*/ 1863 h 61328"/>
                <a:gd name="connsiteX3" fmla="*/ 19499 w 20442"/>
                <a:gd name="connsiteY3" fmla="*/ 60227 h 61328"/>
                <a:gd name="connsiteX4" fmla="*/ 22668 w 20442"/>
                <a:gd name="connsiteY4" fmla="*/ 59512 h 61328"/>
                <a:gd name="connsiteX5" fmla="*/ 22668 w 20442"/>
                <a:gd name="connsiteY5" fmla="*/ 5951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2668" y="59512"/>
                  </a:moveTo>
                  <a:cubicBezTo>
                    <a:pt x="16228" y="40091"/>
                    <a:pt x="9687" y="20568"/>
                    <a:pt x="3247" y="1147"/>
                  </a:cubicBezTo>
                  <a:cubicBezTo>
                    <a:pt x="2634" y="-795"/>
                    <a:pt x="-535" y="-79"/>
                    <a:pt x="78" y="1863"/>
                  </a:cubicBezTo>
                  <a:cubicBezTo>
                    <a:pt x="6518" y="21283"/>
                    <a:pt x="13059" y="40806"/>
                    <a:pt x="19499" y="60227"/>
                  </a:cubicBezTo>
                  <a:cubicBezTo>
                    <a:pt x="20112" y="62169"/>
                    <a:pt x="23383" y="61454"/>
                    <a:pt x="22668" y="59512"/>
                  </a:cubicBezTo>
                  <a:lnTo>
                    <a:pt x="22668" y="595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5" name="任意多边形: 形状 784">
              <a:extLst>
                <a:ext uri="{FF2B5EF4-FFF2-40B4-BE49-F238E27FC236}">
                  <a16:creationId xmlns:a16="http://schemas.microsoft.com/office/drawing/2014/main" id="{CF5F80CC-42E0-4AAD-8E85-E873645A0C38}"/>
                </a:ext>
              </a:extLst>
            </p:cNvPr>
            <p:cNvSpPr/>
            <p:nvPr/>
          </p:nvSpPr>
          <p:spPr>
            <a:xfrm>
              <a:off x="10373025" y="1544464"/>
              <a:ext cx="15845" cy="39613"/>
            </a:xfrm>
            <a:custGeom>
              <a:avLst/>
              <a:gdLst>
                <a:gd name="connsiteX0" fmla="*/ 26093 w 20442"/>
                <a:gd name="connsiteY0" fmla="*/ 57700 h 51107"/>
                <a:gd name="connsiteX1" fmla="*/ 3299 w 20442"/>
                <a:gd name="connsiteY1" fmla="*/ 1073 h 51107"/>
                <a:gd name="connsiteX2" fmla="*/ 130 w 20442"/>
                <a:gd name="connsiteY2" fmla="*/ 1789 h 51107"/>
                <a:gd name="connsiteX3" fmla="*/ 22924 w 20442"/>
                <a:gd name="connsiteY3" fmla="*/ 58415 h 51107"/>
                <a:gd name="connsiteX4" fmla="*/ 26093 w 20442"/>
                <a:gd name="connsiteY4" fmla="*/ 57700 h 51107"/>
                <a:gd name="connsiteX5" fmla="*/ 26093 w 20442"/>
                <a:gd name="connsiteY5" fmla="*/ 57700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6093" y="57700"/>
                  </a:moveTo>
                  <a:cubicBezTo>
                    <a:pt x="18529" y="38790"/>
                    <a:pt x="10965" y="19983"/>
                    <a:pt x="3299" y="1073"/>
                  </a:cubicBezTo>
                  <a:cubicBezTo>
                    <a:pt x="2584" y="-767"/>
                    <a:pt x="-687" y="-51"/>
                    <a:pt x="130" y="1789"/>
                  </a:cubicBezTo>
                  <a:cubicBezTo>
                    <a:pt x="7694" y="20698"/>
                    <a:pt x="15258" y="39506"/>
                    <a:pt x="22924" y="58415"/>
                  </a:cubicBezTo>
                  <a:cubicBezTo>
                    <a:pt x="23640" y="60255"/>
                    <a:pt x="26910" y="59540"/>
                    <a:pt x="26093" y="57700"/>
                  </a:cubicBezTo>
                  <a:lnTo>
                    <a:pt x="26093" y="577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6" name="任意多边形: 形状 785">
              <a:extLst>
                <a:ext uri="{FF2B5EF4-FFF2-40B4-BE49-F238E27FC236}">
                  <a16:creationId xmlns:a16="http://schemas.microsoft.com/office/drawing/2014/main" id="{B9E8A285-6D05-4A7D-BE14-F560182DB826}"/>
                </a:ext>
              </a:extLst>
            </p:cNvPr>
            <p:cNvSpPr/>
            <p:nvPr/>
          </p:nvSpPr>
          <p:spPr>
            <a:xfrm>
              <a:off x="10388938" y="1553366"/>
              <a:ext cx="7922" cy="23768"/>
            </a:xfrm>
            <a:custGeom>
              <a:avLst/>
              <a:gdLst>
                <a:gd name="connsiteX0" fmla="*/ 18953 w 10221"/>
                <a:gd name="connsiteY0" fmla="*/ 36708 h 30664"/>
                <a:gd name="connsiteX1" fmla="*/ 3007 w 10221"/>
                <a:gd name="connsiteY1" fmla="*/ 831 h 30664"/>
                <a:gd name="connsiteX2" fmla="*/ 145 w 10221"/>
                <a:gd name="connsiteY2" fmla="*/ 2364 h 30664"/>
                <a:gd name="connsiteX3" fmla="*/ 16091 w 10221"/>
                <a:gd name="connsiteY3" fmla="*/ 38241 h 30664"/>
                <a:gd name="connsiteX4" fmla="*/ 18953 w 10221"/>
                <a:gd name="connsiteY4" fmla="*/ 36708 h 30664"/>
                <a:gd name="connsiteX5" fmla="*/ 18953 w 10221"/>
                <a:gd name="connsiteY5" fmla="*/ 3670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30664">
                  <a:moveTo>
                    <a:pt x="18953" y="36708"/>
                  </a:moveTo>
                  <a:cubicBezTo>
                    <a:pt x="13638" y="24749"/>
                    <a:pt x="8322" y="12790"/>
                    <a:pt x="3007" y="831"/>
                  </a:cubicBezTo>
                  <a:cubicBezTo>
                    <a:pt x="2190" y="-1009"/>
                    <a:pt x="-672" y="524"/>
                    <a:pt x="145" y="2364"/>
                  </a:cubicBezTo>
                  <a:cubicBezTo>
                    <a:pt x="5460" y="14323"/>
                    <a:pt x="10776" y="26282"/>
                    <a:pt x="16091" y="38241"/>
                  </a:cubicBezTo>
                  <a:cubicBezTo>
                    <a:pt x="16908" y="39979"/>
                    <a:pt x="19770" y="38548"/>
                    <a:pt x="18953" y="36708"/>
                  </a:cubicBezTo>
                  <a:lnTo>
                    <a:pt x="18953" y="367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7" name="任意多边形: 形状 786">
              <a:extLst>
                <a:ext uri="{FF2B5EF4-FFF2-40B4-BE49-F238E27FC236}">
                  <a16:creationId xmlns:a16="http://schemas.microsoft.com/office/drawing/2014/main" id="{DE08AD75-1D8F-4577-ACAA-69E282B1440E}"/>
                </a:ext>
              </a:extLst>
            </p:cNvPr>
            <p:cNvSpPr/>
            <p:nvPr/>
          </p:nvSpPr>
          <p:spPr>
            <a:xfrm>
              <a:off x="10410131" y="1564703"/>
              <a:ext cx="7922" cy="15845"/>
            </a:xfrm>
            <a:custGeom>
              <a:avLst/>
              <a:gdLst>
                <a:gd name="connsiteX0" fmla="*/ 12565 w 10221"/>
                <a:gd name="connsiteY0" fmla="*/ 20651 h 20442"/>
                <a:gd name="connsiteX1" fmla="*/ 3161 w 10221"/>
                <a:gd name="connsiteY1" fmla="*/ 719 h 20442"/>
                <a:gd name="connsiteX2" fmla="*/ 299 w 10221"/>
                <a:gd name="connsiteY2" fmla="*/ 2252 h 20442"/>
                <a:gd name="connsiteX3" fmla="*/ 9396 w 10221"/>
                <a:gd name="connsiteY3" fmla="*/ 21366 h 20442"/>
                <a:gd name="connsiteX4" fmla="*/ 12565 w 10221"/>
                <a:gd name="connsiteY4" fmla="*/ 20651 h 20442"/>
                <a:gd name="connsiteX5" fmla="*/ 12565 w 10221"/>
                <a:gd name="connsiteY5" fmla="*/ 2065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2565" y="20651"/>
                  </a:moveTo>
                  <a:cubicBezTo>
                    <a:pt x="10725" y="13394"/>
                    <a:pt x="7659" y="6852"/>
                    <a:pt x="3161" y="719"/>
                  </a:cubicBezTo>
                  <a:cubicBezTo>
                    <a:pt x="1935" y="-916"/>
                    <a:pt x="-927" y="515"/>
                    <a:pt x="299" y="2252"/>
                  </a:cubicBezTo>
                  <a:cubicBezTo>
                    <a:pt x="4694" y="8181"/>
                    <a:pt x="7556" y="14314"/>
                    <a:pt x="9396" y="21366"/>
                  </a:cubicBezTo>
                  <a:cubicBezTo>
                    <a:pt x="9907" y="23308"/>
                    <a:pt x="13076" y="22593"/>
                    <a:pt x="12565" y="20651"/>
                  </a:cubicBezTo>
                  <a:lnTo>
                    <a:pt x="12565" y="206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8" name="任意多边形: 形状 787">
              <a:extLst>
                <a:ext uri="{FF2B5EF4-FFF2-40B4-BE49-F238E27FC236}">
                  <a16:creationId xmlns:a16="http://schemas.microsoft.com/office/drawing/2014/main" id="{B075AA25-EFC4-4FAB-81AA-3F7706EC2FB5}"/>
                </a:ext>
              </a:extLst>
            </p:cNvPr>
            <p:cNvSpPr/>
            <p:nvPr/>
          </p:nvSpPr>
          <p:spPr>
            <a:xfrm>
              <a:off x="10322621" y="1023551"/>
              <a:ext cx="39613" cy="39613"/>
            </a:xfrm>
            <a:custGeom>
              <a:avLst/>
              <a:gdLst>
                <a:gd name="connsiteX0" fmla="*/ 2707 w 51107"/>
                <a:gd name="connsiteY0" fmla="*/ 56063 h 51107"/>
                <a:gd name="connsiteX1" fmla="*/ 56267 w 51107"/>
                <a:gd name="connsiteY1" fmla="*/ 2707 h 51107"/>
                <a:gd name="connsiteX2" fmla="*/ 54019 w 51107"/>
                <a:gd name="connsiteY2" fmla="*/ 458 h 51107"/>
                <a:gd name="connsiteX3" fmla="*/ 458 w 51107"/>
                <a:gd name="connsiteY3" fmla="*/ 53814 h 51107"/>
                <a:gd name="connsiteX4" fmla="*/ 2707 w 51107"/>
                <a:gd name="connsiteY4" fmla="*/ 56063 h 51107"/>
                <a:gd name="connsiteX5" fmla="*/ 2707 w 51107"/>
                <a:gd name="connsiteY5" fmla="*/ 5606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07" y="56063"/>
                  </a:moveTo>
                  <a:cubicBezTo>
                    <a:pt x="20083" y="37869"/>
                    <a:pt x="37971" y="20083"/>
                    <a:pt x="56267" y="2707"/>
                  </a:cubicBezTo>
                  <a:cubicBezTo>
                    <a:pt x="57801" y="1276"/>
                    <a:pt x="55450" y="-973"/>
                    <a:pt x="54019" y="458"/>
                  </a:cubicBezTo>
                  <a:cubicBezTo>
                    <a:pt x="35722" y="17835"/>
                    <a:pt x="17835" y="35620"/>
                    <a:pt x="458" y="53814"/>
                  </a:cubicBezTo>
                  <a:cubicBezTo>
                    <a:pt x="-973" y="55347"/>
                    <a:pt x="1276" y="57596"/>
                    <a:pt x="2707" y="56063"/>
                  </a:cubicBezTo>
                  <a:lnTo>
                    <a:pt x="2707" y="560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9" name="任意多边形: 形状 788">
              <a:extLst>
                <a:ext uri="{FF2B5EF4-FFF2-40B4-BE49-F238E27FC236}">
                  <a16:creationId xmlns:a16="http://schemas.microsoft.com/office/drawing/2014/main" id="{8BD949C1-3FE8-42F3-B71F-09C53FA6D2FF}"/>
                </a:ext>
              </a:extLst>
            </p:cNvPr>
            <p:cNvSpPr/>
            <p:nvPr/>
          </p:nvSpPr>
          <p:spPr>
            <a:xfrm>
              <a:off x="10123696" y="987060"/>
              <a:ext cx="15845" cy="166375"/>
            </a:xfrm>
            <a:custGeom>
              <a:avLst/>
              <a:gdLst>
                <a:gd name="connsiteX0" fmla="*/ 5042 w 20442"/>
                <a:gd name="connsiteY0" fmla="*/ 218952 h 214650"/>
                <a:gd name="connsiteX1" fmla="*/ 30186 w 20442"/>
                <a:gd name="connsiteY1" fmla="*/ 1951 h 214650"/>
                <a:gd name="connsiteX2" fmla="*/ 27018 w 20442"/>
                <a:gd name="connsiteY2" fmla="*/ 1031 h 214650"/>
                <a:gd name="connsiteX3" fmla="*/ 1771 w 20442"/>
                <a:gd name="connsiteY3" fmla="*/ 218850 h 214650"/>
                <a:gd name="connsiteX4" fmla="*/ 5042 w 20442"/>
                <a:gd name="connsiteY4" fmla="*/ 218952 h 214650"/>
                <a:gd name="connsiteX5" fmla="*/ 5042 w 20442"/>
                <a:gd name="connsiteY5" fmla="*/ 218952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14650">
                  <a:moveTo>
                    <a:pt x="5042" y="218952"/>
                  </a:moveTo>
                  <a:cubicBezTo>
                    <a:pt x="-682" y="145767"/>
                    <a:pt x="7801" y="72172"/>
                    <a:pt x="30186" y="1951"/>
                  </a:cubicBezTo>
                  <a:cubicBezTo>
                    <a:pt x="30800" y="9"/>
                    <a:pt x="27631" y="-809"/>
                    <a:pt x="27018" y="1031"/>
                  </a:cubicBezTo>
                  <a:cubicBezTo>
                    <a:pt x="4531" y="71457"/>
                    <a:pt x="-4056" y="145460"/>
                    <a:pt x="1771" y="218850"/>
                  </a:cubicBezTo>
                  <a:cubicBezTo>
                    <a:pt x="1873" y="220792"/>
                    <a:pt x="5144" y="220894"/>
                    <a:pt x="5042" y="218952"/>
                  </a:cubicBezTo>
                  <a:lnTo>
                    <a:pt x="5042" y="21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0" name="任意多边形: 形状 789">
              <a:extLst>
                <a:ext uri="{FF2B5EF4-FFF2-40B4-BE49-F238E27FC236}">
                  <a16:creationId xmlns:a16="http://schemas.microsoft.com/office/drawing/2014/main" id="{C4698FBC-2637-4F1C-8508-3F87E661022C}"/>
                </a:ext>
              </a:extLst>
            </p:cNvPr>
            <p:cNvSpPr/>
            <p:nvPr/>
          </p:nvSpPr>
          <p:spPr>
            <a:xfrm>
              <a:off x="10136584" y="943789"/>
              <a:ext cx="39613" cy="182220"/>
            </a:xfrm>
            <a:custGeom>
              <a:avLst/>
              <a:gdLst>
                <a:gd name="connsiteX0" fmla="*/ 4156 w 51107"/>
                <a:gd name="connsiteY0" fmla="*/ 236039 h 235093"/>
                <a:gd name="connsiteX1" fmla="*/ 53832 w 51107"/>
                <a:gd name="connsiteY1" fmla="*/ 2377 h 235093"/>
                <a:gd name="connsiteX2" fmla="*/ 50970 w 51107"/>
                <a:gd name="connsiteY2" fmla="*/ 741 h 235093"/>
                <a:gd name="connsiteX3" fmla="*/ 783 w 51107"/>
                <a:gd name="connsiteY3" fmla="*/ 235835 h 235093"/>
                <a:gd name="connsiteX4" fmla="*/ 4156 w 51107"/>
                <a:gd name="connsiteY4" fmla="*/ 236039 h 235093"/>
                <a:gd name="connsiteX5" fmla="*/ 4156 w 51107"/>
                <a:gd name="connsiteY5" fmla="*/ 236039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35093">
                  <a:moveTo>
                    <a:pt x="4156" y="236039"/>
                  </a:moveTo>
                  <a:cubicBezTo>
                    <a:pt x="-648" y="155596"/>
                    <a:pt x="16524" y="74847"/>
                    <a:pt x="53832" y="2377"/>
                  </a:cubicBezTo>
                  <a:cubicBezTo>
                    <a:pt x="54752" y="639"/>
                    <a:pt x="51992" y="-996"/>
                    <a:pt x="50970" y="741"/>
                  </a:cubicBezTo>
                  <a:cubicBezTo>
                    <a:pt x="13355" y="73620"/>
                    <a:pt x="-4021" y="154881"/>
                    <a:pt x="783" y="235835"/>
                  </a:cubicBezTo>
                  <a:cubicBezTo>
                    <a:pt x="885" y="237981"/>
                    <a:pt x="4258" y="238083"/>
                    <a:pt x="4156" y="236039"/>
                  </a:cubicBezTo>
                  <a:lnTo>
                    <a:pt x="4156" y="2360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1" name="任意多边形: 形状 790">
              <a:extLst>
                <a:ext uri="{FF2B5EF4-FFF2-40B4-BE49-F238E27FC236}">
                  <a16:creationId xmlns:a16="http://schemas.microsoft.com/office/drawing/2014/main" id="{167D2388-818A-45B2-9929-76983F181A3A}"/>
                </a:ext>
              </a:extLst>
            </p:cNvPr>
            <p:cNvSpPr/>
            <p:nvPr/>
          </p:nvSpPr>
          <p:spPr>
            <a:xfrm>
              <a:off x="10144234" y="955312"/>
              <a:ext cx="31691" cy="142607"/>
            </a:xfrm>
            <a:custGeom>
              <a:avLst/>
              <a:gdLst>
                <a:gd name="connsiteX0" fmla="*/ 3280 w 40885"/>
                <a:gd name="connsiteY0" fmla="*/ 183660 h 183985"/>
                <a:gd name="connsiteX1" fmla="*/ 46414 w 40885"/>
                <a:gd name="connsiteY1" fmla="*/ 1923 h 183985"/>
                <a:gd name="connsiteX2" fmla="*/ 43246 w 40885"/>
                <a:gd name="connsiteY2" fmla="*/ 1003 h 183985"/>
                <a:gd name="connsiteX3" fmla="*/ 9 w 40885"/>
                <a:gd name="connsiteY3" fmla="*/ 183558 h 183985"/>
                <a:gd name="connsiteX4" fmla="*/ 3280 w 40885"/>
                <a:gd name="connsiteY4" fmla="*/ 183660 h 183985"/>
                <a:gd name="connsiteX5" fmla="*/ 3280 w 40885"/>
                <a:gd name="connsiteY5" fmla="*/ 183660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3660"/>
                  </a:moveTo>
                  <a:cubicBezTo>
                    <a:pt x="10231" y="121718"/>
                    <a:pt x="24745" y="60696"/>
                    <a:pt x="46414" y="1923"/>
                  </a:cubicBezTo>
                  <a:cubicBezTo>
                    <a:pt x="47130" y="83"/>
                    <a:pt x="43961" y="-837"/>
                    <a:pt x="43246" y="1003"/>
                  </a:cubicBezTo>
                  <a:cubicBezTo>
                    <a:pt x="21474" y="60083"/>
                    <a:pt x="6960" y="121309"/>
                    <a:pt x="9" y="183558"/>
                  </a:cubicBezTo>
                  <a:cubicBezTo>
                    <a:pt x="-195" y="185602"/>
                    <a:pt x="3076" y="185602"/>
                    <a:pt x="3280" y="183660"/>
                  </a:cubicBezTo>
                  <a:lnTo>
                    <a:pt x="3280" y="183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2" name="任意多边形: 形状 791">
              <a:extLst>
                <a:ext uri="{FF2B5EF4-FFF2-40B4-BE49-F238E27FC236}">
                  <a16:creationId xmlns:a16="http://schemas.microsoft.com/office/drawing/2014/main" id="{A96561CE-043B-4850-BC68-76F0DA4C3FFA}"/>
                </a:ext>
              </a:extLst>
            </p:cNvPr>
            <p:cNvSpPr/>
            <p:nvPr/>
          </p:nvSpPr>
          <p:spPr>
            <a:xfrm>
              <a:off x="10156752" y="952222"/>
              <a:ext cx="31691" cy="142607"/>
            </a:xfrm>
            <a:custGeom>
              <a:avLst/>
              <a:gdLst>
                <a:gd name="connsiteX0" fmla="*/ 3280 w 40885"/>
                <a:gd name="connsiteY0" fmla="*/ 187953 h 183985"/>
                <a:gd name="connsiteX1" fmla="*/ 46721 w 40885"/>
                <a:gd name="connsiteY1" fmla="*/ 1923 h 183985"/>
                <a:gd name="connsiteX2" fmla="*/ 43553 w 40885"/>
                <a:gd name="connsiteY2" fmla="*/ 1003 h 183985"/>
                <a:gd name="connsiteX3" fmla="*/ 9 w 40885"/>
                <a:gd name="connsiteY3" fmla="*/ 187851 h 183985"/>
                <a:gd name="connsiteX4" fmla="*/ 3280 w 40885"/>
                <a:gd name="connsiteY4" fmla="*/ 187953 h 183985"/>
                <a:gd name="connsiteX5" fmla="*/ 3280 w 40885"/>
                <a:gd name="connsiteY5" fmla="*/ 187953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7953"/>
                  </a:moveTo>
                  <a:cubicBezTo>
                    <a:pt x="9924" y="124580"/>
                    <a:pt x="24541" y="62127"/>
                    <a:pt x="46721" y="1923"/>
                  </a:cubicBezTo>
                  <a:cubicBezTo>
                    <a:pt x="47437" y="83"/>
                    <a:pt x="44268" y="-837"/>
                    <a:pt x="43553" y="1003"/>
                  </a:cubicBezTo>
                  <a:cubicBezTo>
                    <a:pt x="21270" y="61412"/>
                    <a:pt x="6755" y="124171"/>
                    <a:pt x="9" y="187851"/>
                  </a:cubicBezTo>
                  <a:cubicBezTo>
                    <a:pt x="-195" y="189793"/>
                    <a:pt x="3076" y="189895"/>
                    <a:pt x="3280" y="187953"/>
                  </a:cubicBezTo>
                  <a:lnTo>
                    <a:pt x="3280" y="187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3" name="任意多边形: 形状 792">
              <a:extLst>
                <a:ext uri="{FF2B5EF4-FFF2-40B4-BE49-F238E27FC236}">
                  <a16:creationId xmlns:a16="http://schemas.microsoft.com/office/drawing/2014/main" id="{10A1D65D-09A2-4C0A-9AC0-A6392FDC822A}"/>
                </a:ext>
              </a:extLst>
            </p:cNvPr>
            <p:cNvSpPr/>
            <p:nvPr/>
          </p:nvSpPr>
          <p:spPr>
            <a:xfrm>
              <a:off x="10169091" y="969889"/>
              <a:ext cx="31691" cy="110917"/>
            </a:xfrm>
            <a:custGeom>
              <a:avLst/>
              <a:gdLst>
                <a:gd name="connsiteX0" fmla="*/ 3205 w 40885"/>
                <a:gd name="connsiteY0" fmla="*/ 145739 h 143100"/>
                <a:gd name="connsiteX1" fmla="*/ 45726 w 40885"/>
                <a:gd name="connsiteY1" fmla="*/ 1923 h 143100"/>
                <a:gd name="connsiteX2" fmla="*/ 42558 w 40885"/>
                <a:gd name="connsiteY2" fmla="*/ 1003 h 143100"/>
                <a:gd name="connsiteX3" fmla="*/ 36 w 40885"/>
                <a:gd name="connsiteY3" fmla="*/ 144819 h 143100"/>
                <a:gd name="connsiteX4" fmla="*/ 3205 w 40885"/>
                <a:gd name="connsiteY4" fmla="*/ 145739 h 143100"/>
                <a:gd name="connsiteX5" fmla="*/ 3205 w 40885"/>
                <a:gd name="connsiteY5" fmla="*/ 145739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05" y="145739"/>
                  </a:moveTo>
                  <a:cubicBezTo>
                    <a:pt x="13733" y="96880"/>
                    <a:pt x="27941" y="48839"/>
                    <a:pt x="45726" y="1923"/>
                  </a:cubicBezTo>
                  <a:cubicBezTo>
                    <a:pt x="46442" y="83"/>
                    <a:pt x="43273" y="-837"/>
                    <a:pt x="42558" y="1003"/>
                  </a:cubicBezTo>
                  <a:cubicBezTo>
                    <a:pt x="24772" y="47919"/>
                    <a:pt x="10564" y="95960"/>
                    <a:pt x="36" y="144819"/>
                  </a:cubicBezTo>
                  <a:cubicBezTo>
                    <a:pt x="-372" y="146863"/>
                    <a:pt x="2796" y="147681"/>
                    <a:pt x="3205" y="145739"/>
                  </a:cubicBezTo>
                  <a:lnTo>
                    <a:pt x="3205" y="1457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4" name="任意多边形: 形状 793">
              <a:extLst>
                <a:ext uri="{FF2B5EF4-FFF2-40B4-BE49-F238E27FC236}">
                  <a16:creationId xmlns:a16="http://schemas.microsoft.com/office/drawing/2014/main" id="{BAB7F446-67C8-4D5E-8442-443C4A329555}"/>
                </a:ext>
              </a:extLst>
            </p:cNvPr>
            <p:cNvSpPr/>
            <p:nvPr/>
          </p:nvSpPr>
          <p:spPr>
            <a:xfrm>
              <a:off x="10179215" y="974384"/>
              <a:ext cx="31691" cy="110917"/>
            </a:xfrm>
            <a:custGeom>
              <a:avLst/>
              <a:gdLst>
                <a:gd name="connsiteX0" fmla="*/ 3226 w 40885"/>
                <a:gd name="connsiteY0" fmla="*/ 142087 h 143100"/>
                <a:gd name="connsiteX1" fmla="*/ 43498 w 40885"/>
                <a:gd name="connsiteY1" fmla="*/ 1951 h 143100"/>
                <a:gd name="connsiteX2" fmla="*/ 40330 w 40885"/>
                <a:gd name="connsiteY2" fmla="*/ 1031 h 143100"/>
                <a:gd name="connsiteX3" fmla="*/ 57 w 40885"/>
                <a:gd name="connsiteY3" fmla="*/ 141167 h 143100"/>
                <a:gd name="connsiteX4" fmla="*/ 3226 w 40885"/>
                <a:gd name="connsiteY4" fmla="*/ 142087 h 143100"/>
                <a:gd name="connsiteX5" fmla="*/ 3226 w 40885"/>
                <a:gd name="connsiteY5" fmla="*/ 142087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26" y="142087"/>
                  </a:moveTo>
                  <a:cubicBezTo>
                    <a:pt x="16616" y="95375"/>
                    <a:pt x="30108" y="48663"/>
                    <a:pt x="43498" y="1951"/>
                  </a:cubicBezTo>
                  <a:cubicBezTo>
                    <a:pt x="44010" y="9"/>
                    <a:pt x="40943" y="-809"/>
                    <a:pt x="40330" y="1031"/>
                  </a:cubicBezTo>
                  <a:cubicBezTo>
                    <a:pt x="26940" y="47743"/>
                    <a:pt x="13447" y="94455"/>
                    <a:pt x="57" y="141167"/>
                  </a:cubicBezTo>
                  <a:cubicBezTo>
                    <a:pt x="-454" y="143211"/>
                    <a:pt x="2613" y="144029"/>
                    <a:pt x="3226" y="142087"/>
                  </a:cubicBezTo>
                  <a:lnTo>
                    <a:pt x="3226" y="1420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5" name="任意多边形: 形状 794">
              <a:extLst>
                <a:ext uri="{FF2B5EF4-FFF2-40B4-BE49-F238E27FC236}">
                  <a16:creationId xmlns:a16="http://schemas.microsoft.com/office/drawing/2014/main" id="{372F9B2D-96B2-4627-A1F3-0470966B870A}"/>
                </a:ext>
              </a:extLst>
            </p:cNvPr>
            <p:cNvSpPr/>
            <p:nvPr/>
          </p:nvSpPr>
          <p:spPr>
            <a:xfrm>
              <a:off x="10196766" y="973578"/>
              <a:ext cx="31691" cy="79226"/>
            </a:xfrm>
            <a:custGeom>
              <a:avLst/>
              <a:gdLst>
                <a:gd name="connsiteX0" fmla="*/ 3273 w 40885"/>
                <a:gd name="connsiteY0" fmla="*/ 108067 h 102214"/>
                <a:gd name="connsiteX1" fmla="*/ 48452 w 40885"/>
                <a:gd name="connsiteY1" fmla="*/ 2377 h 102214"/>
                <a:gd name="connsiteX2" fmla="*/ 45590 w 40885"/>
                <a:gd name="connsiteY2" fmla="*/ 741 h 102214"/>
                <a:gd name="connsiteX3" fmla="*/ 104 w 40885"/>
                <a:gd name="connsiteY3" fmla="*/ 107147 h 102214"/>
                <a:gd name="connsiteX4" fmla="*/ 3273 w 40885"/>
                <a:gd name="connsiteY4" fmla="*/ 108067 h 102214"/>
                <a:gd name="connsiteX5" fmla="*/ 3273 w 40885"/>
                <a:gd name="connsiteY5" fmla="*/ 10806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4">
                  <a:moveTo>
                    <a:pt x="3273" y="108067"/>
                  </a:moveTo>
                  <a:cubicBezTo>
                    <a:pt x="16050" y="71985"/>
                    <a:pt x="31075" y="36721"/>
                    <a:pt x="48452" y="2377"/>
                  </a:cubicBezTo>
                  <a:cubicBezTo>
                    <a:pt x="49372" y="639"/>
                    <a:pt x="46510" y="-996"/>
                    <a:pt x="45590" y="741"/>
                  </a:cubicBezTo>
                  <a:cubicBezTo>
                    <a:pt x="28111" y="35290"/>
                    <a:pt x="12984" y="70861"/>
                    <a:pt x="104" y="107147"/>
                  </a:cubicBezTo>
                  <a:cubicBezTo>
                    <a:pt x="-611" y="109089"/>
                    <a:pt x="2558" y="109906"/>
                    <a:pt x="3273" y="108067"/>
                  </a:cubicBezTo>
                  <a:lnTo>
                    <a:pt x="3273" y="1080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6" name="任意多边形: 形状 795">
              <a:extLst>
                <a:ext uri="{FF2B5EF4-FFF2-40B4-BE49-F238E27FC236}">
                  <a16:creationId xmlns:a16="http://schemas.microsoft.com/office/drawing/2014/main" id="{7FBE0BEE-EC8A-4503-952C-4E16ECACF4A9}"/>
                </a:ext>
              </a:extLst>
            </p:cNvPr>
            <p:cNvSpPr/>
            <p:nvPr/>
          </p:nvSpPr>
          <p:spPr>
            <a:xfrm>
              <a:off x="10190025" y="969941"/>
              <a:ext cx="39613" cy="71304"/>
            </a:xfrm>
            <a:custGeom>
              <a:avLst/>
              <a:gdLst>
                <a:gd name="connsiteX0" fmla="*/ 217 w 51107"/>
                <a:gd name="connsiteY0" fmla="*/ 2265 h 91992"/>
                <a:gd name="connsiteX1" fmla="*/ 55924 w 51107"/>
                <a:gd name="connsiteY1" fmla="*/ 92725 h 91992"/>
                <a:gd name="connsiteX2" fmla="*/ 58786 w 51107"/>
                <a:gd name="connsiteY2" fmla="*/ 91294 h 91992"/>
                <a:gd name="connsiteX3" fmla="*/ 3079 w 51107"/>
                <a:gd name="connsiteY3" fmla="*/ 834 h 91992"/>
                <a:gd name="connsiteX4" fmla="*/ 217 w 51107"/>
                <a:gd name="connsiteY4" fmla="*/ 2265 h 91992"/>
                <a:gd name="connsiteX5" fmla="*/ 217 w 51107"/>
                <a:gd name="connsiteY5" fmla="*/ 2265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91992">
                  <a:moveTo>
                    <a:pt x="217" y="2265"/>
                  </a:moveTo>
                  <a:cubicBezTo>
                    <a:pt x="18820" y="32418"/>
                    <a:pt x="37321" y="62571"/>
                    <a:pt x="55924" y="92725"/>
                  </a:cubicBezTo>
                  <a:cubicBezTo>
                    <a:pt x="56946" y="94462"/>
                    <a:pt x="59910" y="92929"/>
                    <a:pt x="58786" y="91294"/>
                  </a:cubicBezTo>
                  <a:cubicBezTo>
                    <a:pt x="40183" y="61140"/>
                    <a:pt x="21682" y="30987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7" name="任意多边形: 形状 796">
              <a:extLst>
                <a:ext uri="{FF2B5EF4-FFF2-40B4-BE49-F238E27FC236}">
                  <a16:creationId xmlns:a16="http://schemas.microsoft.com/office/drawing/2014/main" id="{EBD75927-419C-4C6B-B440-DD8D3A49D75D}"/>
                </a:ext>
              </a:extLst>
            </p:cNvPr>
            <p:cNvSpPr/>
            <p:nvPr/>
          </p:nvSpPr>
          <p:spPr>
            <a:xfrm>
              <a:off x="10182898" y="934210"/>
              <a:ext cx="47536" cy="79226"/>
            </a:xfrm>
            <a:custGeom>
              <a:avLst/>
              <a:gdLst>
                <a:gd name="connsiteX0" fmla="*/ 212 w 61328"/>
                <a:gd name="connsiteY0" fmla="*/ 2265 h 102214"/>
                <a:gd name="connsiteX1" fmla="*/ 62869 w 61328"/>
                <a:gd name="connsiteY1" fmla="*/ 102333 h 102214"/>
                <a:gd name="connsiteX2" fmla="*/ 65731 w 61328"/>
                <a:gd name="connsiteY2" fmla="*/ 100902 h 102214"/>
                <a:gd name="connsiteX3" fmla="*/ 3074 w 61328"/>
                <a:gd name="connsiteY3" fmla="*/ 834 h 102214"/>
                <a:gd name="connsiteX4" fmla="*/ 212 w 61328"/>
                <a:gd name="connsiteY4" fmla="*/ 2265 h 102214"/>
                <a:gd name="connsiteX5" fmla="*/ 212 w 61328"/>
                <a:gd name="connsiteY5" fmla="*/ 22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4">
                  <a:moveTo>
                    <a:pt x="212" y="2265"/>
                  </a:moveTo>
                  <a:cubicBezTo>
                    <a:pt x="19019" y="36711"/>
                    <a:pt x="39973" y="70135"/>
                    <a:pt x="62869" y="102333"/>
                  </a:cubicBezTo>
                  <a:cubicBezTo>
                    <a:pt x="63993" y="103968"/>
                    <a:pt x="66958" y="102537"/>
                    <a:pt x="65731" y="100902"/>
                  </a:cubicBezTo>
                  <a:cubicBezTo>
                    <a:pt x="42835" y="68704"/>
                    <a:pt x="21881" y="35382"/>
                    <a:pt x="3074" y="834"/>
                  </a:cubicBezTo>
                  <a:cubicBezTo>
                    <a:pt x="2154" y="-1006"/>
                    <a:pt x="-811" y="527"/>
                    <a:pt x="212" y="2265"/>
                  </a:cubicBezTo>
                  <a:lnTo>
                    <a:pt x="212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8" name="任意多边形: 形状 797">
              <a:extLst>
                <a:ext uri="{FF2B5EF4-FFF2-40B4-BE49-F238E27FC236}">
                  <a16:creationId xmlns:a16="http://schemas.microsoft.com/office/drawing/2014/main" id="{1F691942-0387-43AB-8833-00EB59BF855C}"/>
                </a:ext>
              </a:extLst>
            </p:cNvPr>
            <p:cNvSpPr/>
            <p:nvPr/>
          </p:nvSpPr>
          <p:spPr>
            <a:xfrm>
              <a:off x="10202622" y="941141"/>
              <a:ext cx="39613" cy="55458"/>
            </a:xfrm>
            <a:custGeom>
              <a:avLst/>
              <a:gdLst>
                <a:gd name="connsiteX0" fmla="*/ 114 w 51107"/>
                <a:gd name="connsiteY0" fmla="*/ 2318 h 71550"/>
                <a:gd name="connsiteX1" fmla="*/ 49892 w 51107"/>
                <a:gd name="connsiteY1" fmla="*/ 76424 h 71550"/>
                <a:gd name="connsiteX2" fmla="*/ 52243 w 51107"/>
                <a:gd name="connsiteY2" fmla="*/ 74277 h 71550"/>
                <a:gd name="connsiteX3" fmla="*/ 2976 w 51107"/>
                <a:gd name="connsiteY3" fmla="*/ 785 h 71550"/>
                <a:gd name="connsiteX4" fmla="*/ 114 w 51107"/>
                <a:gd name="connsiteY4" fmla="*/ 2318 h 71550"/>
                <a:gd name="connsiteX5" fmla="*/ 114 w 51107"/>
                <a:gd name="connsiteY5" fmla="*/ 23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71550">
                  <a:moveTo>
                    <a:pt x="114" y="2318"/>
                  </a:moveTo>
                  <a:cubicBezTo>
                    <a:pt x="11868" y="29814"/>
                    <a:pt x="28631" y="54754"/>
                    <a:pt x="49892" y="76424"/>
                  </a:cubicBezTo>
                  <a:cubicBezTo>
                    <a:pt x="51323" y="77855"/>
                    <a:pt x="53674" y="75708"/>
                    <a:pt x="52243" y="74277"/>
                  </a:cubicBezTo>
                  <a:cubicBezTo>
                    <a:pt x="31187" y="52710"/>
                    <a:pt x="14628" y="27974"/>
                    <a:pt x="2976" y="785"/>
                  </a:cubicBezTo>
                  <a:cubicBezTo>
                    <a:pt x="2260" y="-952"/>
                    <a:pt x="-602" y="479"/>
                    <a:pt x="114" y="2318"/>
                  </a:cubicBezTo>
                  <a:lnTo>
                    <a:pt x="114" y="23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9" name="任意多边形: 形状 798">
              <a:extLst>
                <a:ext uri="{FF2B5EF4-FFF2-40B4-BE49-F238E27FC236}">
                  <a16:creationId xmlns:a16="http://schemas.microsoft.com/office/drawing/2014/main" id="{3F2E8696-E8EA-47CF-A21B-9BCA00AD2A30}"/>
                </a:ext>
              </a:extLst>
            </p:cNvPr>
            <p:cNvSpPr/>
            <p:nvPr/>
          </p:nvSpPr>
          <p:spPr>
            <a:xfrm>
              <a:off x="10213980" y="942195"/>
              <a:ext cx="31691" cy="47536"/>
            </a:xfrm>
            <a:custGeom>
              <a:avLst/>
              <a:gdLst>
                <a:gd name="connsiteX0" fmla="*/ 180 w 40885"/>
                <a:gd name="connsiteY0" fmla="*/ 2287 h 61328"/>
                <a:gd name="connsiteX1" fmla="*/ 42190 w 40885"/>
                <a:gd name="connsiteY1" fmla="*/ 60856 h 61328"/>
                <a:gd name="connsiteX2" fmla="*/ 44541 w 40885"/>
                <a:gd name="connsiteY2" fmla="*/ 58709 h 61328"/>
                <a:gd name="connsiteX3" fmla="*/ 3042 w 40885"/>
                <a:gd name="connsiteY3" fmla="*/ 856 h 61328"/>
                <a:gd name="connsiteX4" fmla="*/ 180 w 40885"/>
                <a:gd name="connsiteY4" fmla="*/ 2287 h 61328"/>
                <a:gd name="connsiteX5" fmla="*/ 180 w 40885"/>
                <a:gd name="connsiteY5" fmla="*/ 22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180" y="2287"/>
                  </a:moveTo>
                  <a:cubicBezTo>
                    <a:pt x="12037" y="23138"/>
                    <a:pt x="26142" y="42661"/>
                    <a:pt x="42190" y="60856"/>
                  </a:cubicBezTo>
                  <a:cubicBezTo>
                    <a:pt x="43519" y="62389"/>
                    <a:pt x="45870" y="60242"/>
                    <a:pt x="44541" y="58709"/>
                  </a:cubicBezTo>
                  <a:cubicBezTo>
                    <a:pt x="28698" y="40719"/>
                    <a:pt x="14899" y="21401"/>
                    <a:pt x="3042" y="856"/>
                  </a:cubicBezTo>
                  <a:cubicBezTo>
                    <a:pt x="2122" y="-984"/>
                    <a:pt x="-740" y="447"/>
                    <a:pt x="180" y="2287"/>
                  </a:cubicBezTo>
                  <a:lnTo>
                    <a:pt x="180" y="22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0" name="任意多边形: 形状 799">
              <a:extLst>
                <a:ext uri="{FF2B5EF4-FFF2-40B4-BE49-F238E27FC236}">
                  <a16:creationId xmlns:a16="http://schemas.microsoft.com/office/drawing/2014/main" id="{1277AA73-C1F7-410A-A7D3-6D5C14D1B212}"/>
                </a:ext>
              </a:extLst>
            </p:cNvPr>
            <p:cNvSpPr/>
            <p:nvPr/>
          </p:nvSpPr>
          <p:spPr>
            <a:xfrm>
              <a:off x="10221002" y="935161"/>
              <a:ext cx="23768" cy="31691"/>
            </a:xfrm>
            <a:custGeom>
              <a:avLst/>
              <a:gdLst>
                <a:gd name="connsiteX0" fmla="*/ 217 w 30664"/>
                <a:gd name="connsiteY0" fmla="*/ 2265 h 40885"/>
                <a:gd name="connsiteX1" fmla="*/ 35481 w 30664"/>
                <a:gd name="connsiteY1" fmla="*/ 44377 h 40885"/>
                <a:gd name="connsiteX2" fmla="*/ 37832 w 30664"/>
                <a:gd name="connsiteY2" fmla="*/ 42231 h 40885"/>
                <a:gd name="connsiteX3" fmla="*/ 3079 w 30664"/>
                <a:gd name="connsiteY3" fmla="*/ 834 h 40885"/>
                <a:gd name="connsiteX4" fmla="*/ 217 w 30664"/>
                <a:gd name="connsiteY4" fmla="*/ 2265 h 40885"/>
                <a:gd name="connsiteX5" fmla="*/ 217 w 30664"/>
                <a:gd name="connsiteY5" fmla="*/ 226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65"/>
                  </a:moveTo>
                  <a:cubicBezTo>
                    <a:pt x="9314" y="18210"/>
                    <a:pt x="21171" y="32316"/>
                    <a:pt x="35481" y="44377"/>
                  </a:cubicBezTo>
                  <a:cubicBezTo>
                    <a:pt x="37014" y="45706"/>
                    <a:pt x="39467" y="43560"/>
                    <a:pt x="37832" y="42231"/>
                  </a:cubicBezTo>
                  <a:cubicBezTo>
                    <a:pt x="23726" y="30374"/>
                    <a:pt x="12074" y="16575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1" name="任意多边形: 形状 800">
              <a:extLst>
                <a:ext uri="{FF2B5EF4-FFF2-40B4-BE49-F238E27FC236}">
                  <a16:creationId xmlns:a16="http://schemas.microsoft.com/office/drawing/2014/main" id="{171B803B-A102-4052-9D6B-095C154FAC8E}"/>
                </a:ext>
              </a:extLst>
            </p:cNvPr>
            <p:cNvSpPr/>
            <p:nvPr/>
          </p:nvSpPr>
          <p:spPr>
            <a:xfrm>
              <a:off x="10222349" y="919053"/>
              <a:ext cx="31691" cy="39613"/>
            </a:xfrm>
            <a:custGeom>
              <a:avLst/>
              <a:gdLst>
                <a:gd name="connsiteX0" fmla="*/ 217 w 40885"/>
                <a:gd name="connsiteY0" fmla="*/ 2298 h 51107"/>
                <a:gd name="connsiteX1" fmla="*/ 41921 w 40885"/>
                <a:gd name="connsiteY1" fmla="*/ 54018 h 51107"/>
                <a:gd name="connsiteX2" fmla="*/ 44272 w 40885"/>
                <a:gd name="connsiteY2" fmla="*/ 51872 h 51107"/>
                <a:gd name="connsiteX3" fmla="*/ 3079 w 40885"/>
                <a:gd name="connsiteY3" fmla="*/ 764 h 51107"/>
                <a:gd name="connsiteX4" fmla="*/ 217 w 40885"/>
                <a:gd name="connsiteY4" fmla="*/ 2298 h 51107"/>
                <a:gd name="connsiteX5" fmla="*/ 217 w 40885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298"/>
                  </a:moveTo>
                  <a:cubicBezTo>
                    <a:pt x="11869" y="21207"/>
                    <a:pt x="25771" y="38481"/>
                    <a:pt x="41921" y="54018"/>
                  </a:cubicBezTo>
                  <a:cubicBezTo>
                    <a:pt x="43454" y="55449"/>
                    <a:pt x="45805" y="53303"/>
                    <a:pt x="44272" y="51872"/>
                  </a:cubicBezTo>
                  <a:cubicBezTo>
                    <a:pt x="28326" y="36437"/>
                    <a:pt x="14527" y="19367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2" name="任意多边形: 形状 801">
              <a:extLst>
                <a:ext uri="{FF2B5EF4-FFF2-40B4-BE49-F238E27FC236}">
                  <a16:creationId xmlns:a16="http://schemas.microsoft.com/office/drawing/2014/main" id="{8BE3EEE4-4CFF-490C-944B-E524894F7543}"/>
                </a:ext>
              </a:extLst>
            </p:cNvPr>
            <p:cNvSpPr/>
            <p:nvPr/>
          </p:nvSpPr>
          <p:spPr>
            <a:xfrm>
              <a:off x="10234888" y="919481"/>
              <a:ext cx="7922" cy="15845"/>
            </a:xfrm>
            <a:custGeom>
              <a:avLst/>
              <a:gdLst>
                <a:gd name="connsiteX0" fmla="*/ 292 w 10221"/>
                <a:gd name="connsiteY0" fmla="*/ 2153 h 20442"/>
                <a:gd name="connsiteX1" fmla="*/ 17260 w 10221"/>
                <a:gd name="connsiteY1" fmla="*/ 26480 h 20442"/>
                <a:gd name="connsiteX2" fmla="*/ 20122 w 10221"/>
                <a:gd name="connsiteY2" fmla="*/ 25049 h 20442"/>
                <a:gd name="connsiteX3" fmla="*/ 3154 w 10221"/>
                <a:gd name="connsiteY3" fmla="*/ 722 h 20442"/>
                <a:gd name="connsiteX4" fmla="*/ 292 w 10221"/>
                <a:gd name="connsiteY4" fmla="*/ 2153 h 20442"/>
                <a:gd name="connsiteX5" fmla="*/ 292 w 10221"/>
                <a:gd name="connsiteY5" fmla="*/ 21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92" y="2153"/>
                  </a:moveTo>
                  <a:cubicBezTo>
                    <a:pt x="5914" y="10228"/>
                    <a:pt x="11638" y="18405"/>
                    <a:pt x="17260" y="26480"/>
                  </a:cubicBezTo>
                  <a:cubicBezTo>
                    <a:pt x="18384" y="28116"/>
                    <a:pt x="21348" y="26685"/>
                    <a:pt x="20122" y="25049"/>
                  </a:cubicBezTo>
                  <a:cubicBezTo>
                    <a:pt x="14500" y="16974"/>
                    <a:pt x="8776" y="8797"/>
                    <a:pt x="3154" y="722"/>
                  </a:cubicBezTo>
                  <a:cubicBezTo>
                    <a:pt x="2029" y="-913"/>
                    <a:pt x="-935" y="518"/>
                    <a:pt x="292" y="2153"/>
                  </a:cubicBezTo>
                  <a:lnTo>
                    <a:pt x="292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3" name="任意多边形: 形状 802">
              <a:extLst>
                <a:ext uri="{FF2B5EF4-FFF2-40B4-BE49-F238E27FC236}">
                  <a16:creationId xmlns:a16="http://schemas.microsoft.com/office/drawing/2014/main" id="{424E7FBC-3E26-4E2F-9001-8244DAAC15BD}"/>
                </a:ext>
              </a:extLst>
            </p:cNvPr>
            <p:cNvSpPr/>
            <p:nvPr/>
          </p:nvSpPr>
          <p:spPr>
            <a:xfrm>
              <a:off x="10243793" y="921693"/>
              <a:ext cx="7922" cy="15845"/>
            </a:xfrm>
            <a:custGeom>
              <a:avLst/>
              <a:gdLst>
                <a:gd name="connsiteX0" fmla="*/ 251 w 10221"/>
                <a:gd name="connsiteY0" fmla="*/ 2265 h 20442"/>
                <a:gd name="connsiteX1" fmla="*/ 15889 w 10221"/>
                <a:gd name="connsiteY1" fmla="*/ 21175 h 20442"/>
                <a:gd name="connsiteX2" fmla="*/ 18241 w 10221"/>
                <a:gd name="connsiteY2" fmla="*/ 19028 h 20442"/>
                <a:gd name="connsiteX3" fmla="*/ 3113 w 10221"/>
                <a:gd name="connsiteY3" fmla="*/ 834 h 20442"/>
                <a:gd name="connsiteX4" fmla="*/ 251 w 10221"/>
                <a:gd name="connsiteY4" fmla="*/ 2265 h 20442"/>
                <a:gd name="connsiteX5" fmla="*/ 251 w 10221"/>
                <a:gd name="connsiteY5" fmla="*/ 22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51" y="2265"/>
                  </a:moveTo>
                  <a:cubicBezTo>
                    <a:pt x="4441" y="9420"/>
                    <a:pt x="9552" y="15655"/>
                    <a:pt x="15889" y="21175"/>
                  </a:cubicBezTo>
                  <a:cubicBezTo>
                    <a:pt x="17423" y="22503"/>
                    <a:pt x="19774" y="20357"/>
                    <a:pt x="18241" y="19028"/>
                  </a:cubicBezTo>
                  <a:cubicBezTo>
                    <a:pt x="12108" y="13713"/>
                    <a:pt x="7099" y="7682"/>
                    <a:pt x="3113" y="834"/>
                  </a:cubicBezTo>
                  <a:cubicBezTo>
                    <a:pt x="2090" y="-1006"/>
                    <a:pt x="-874" y="527"/>
                    <a:pt x="251" y="2265"/>
                  </a:cubicBezTo>
                  <a:lnTo>
                    <a:pt x="251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4" name="任意多边形: 形状 803">
              <a:extLst>
                <a:ext uri="{FF2B5EF4-FFF2-40B4-BE49-F238E27FC236}">
                  <a16:creationId xmlns:a16="http://schemas.microsoft.com/office/drawing/2014/main" id="{287B4005-CD58-4FC7-A1AC-0909B878A565}"/>
                </a:ext>
              </a:extLst>
            </p:cNvPr>
            <p:cNvSpPr/>
            <p:nvPr/>
          </p:nvSpPr>
          <p:spPr>
            <a:xfrm>
              <a:off x="10242137" y="905256"/>
              <a:ext cx="15845" cy="15845"/>
            </a:xfrm>
            <a:custGeom>
              <a:avLst/>
              <a:gdLst>
                <a:gd name="connsiteX0" fmla="*/ 445 w 20442"/>
                <a:gd name="connsiteY0" fmla="*/ 2618 h 20442"/>
                <a:gd name="connsiteX1" fmla="*/ 18435 w 20442"/>
                <a:gd name="connsiteY1" fmla="*/ 23981 h 20442"/>
                <a:gd name="connsiteX2" fmla="*/ 21297 w 20442"/>
                <a:gd name="connsiteY2" fmla="*/ 22448 h 20442"/>
                <a:gd name="connsiteX3" fmla="*/ 2797 w 20442"/>
                <a:gd name="connsiteY3" fmla="*/ 472 h 20442"/>
                <a:gd name="connsiteX4" fmla="*/ 445 w 20442"/>
                <a:gd name="connsiteY4" fmla="*/ 2618 h 20442"/>
                <a:gd name="connsiteX5" fmla="*/ 445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8"/>
                  </a:moveTo>
                  <a:cubicBezTo>
                    <a:pt x="7089" y="9262"/>
                    <a:pt x="13120" y="16315"/>
                    <a:pt x="18435" y="23981"/>
                  </a:cubicBezTo>
                  <a:cubicBezTo>
                    <a:pt x="19560" y="25617"/>
                    <a:pt x="22422" y="24186"/>
                    <a:pt x="21297" y="22448"/>
                  </a:cubicBezTo>
                  <a:cubicBezTo>
                    <a:pt x="15778" y="14578"/>
                    <a:pt x="9645" y="7218"/>
                    <a:pt x="2797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5" name="任意多边形: 形状 804">
              <a:extLst>
                <a:ext uri="{FF2B5EF4-FFF2-40B4-BE49-F238E27FC236}">
                  <a16:creationId xmlns:a16="http://schemas.microsoft.com/office/drawing/2014/main" id="{7310194B-D903-46AA-A4B0-96029EDC4C5E}"/>
                </a:ext>
              </a:extLst>
            </p:cNvPr>
            <p:cNvSpPr/>
            <p:nvPr/>
          </p:nvSpPr>
          <p:spPr>
            <a:xfrm>
              <a:off x="10256103" y="908436"/>
              <a:ext cx="7922" cy="7922"/>
            </a:xfrm>
            <a:custGeom>
              <a:avLst/>
              <a:gdLst>
                <a:gd name="connsiteX0" fmla="*/ 212 w 0"/>
                <a:gd name="connsiteY0" fmla="*/ 2298 h 10221"/>
                <a:gd name="connsiteX1" fmla="*/ 7060 w 0"/>
                <a:gd name="connsiteY1" fmla="*/ 14257 h 10221"/>
                <a:gd name="connsiteX2" fmla="*/ 9922 w 0"/>
                <a:gd name="connsiteY2" fmla="*/ 12723 h 10221"/>
                <a:gd name="connsiteX3" fmla="*/ 3074 w 0"/>
                <a:gd name="connsiteY3" fmla="*/ 764 h 10221"/>
                <a:gd name="connsiteX4" fmla="*/ 212 w 0"/>
                <a:gd name="connsiteY4" fmla="*/ 2298 h 10221"/>
                <a:gd name="connsiteX5" fmla="*/ 212 w 0"/>
                <a:gd name="connsiteY5" fmla="*/ 229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212" y="2298"/>
                  </a:moveTo>
                  <a:cubicBezTo>
                    <a:pt x="2460" y="6284"/>
                    <a:pt x="4811" y="10270"/>
                    <a:pt x="7060" y="14257"/>
                  </a:cubicBezTo>
                  <a:cubicBezTo>
                    <a:pt x="8082" y="15994"/>
                    <a:pt x="10944" y="14563"/>
                    <a:pt x="9922" y="12723"/>
                  </a:cubicBezTo>
                  <a:cubicBezTo>
                    <a:pt x="7673" y="8737"/>
                    <a:pt x="5322" y="4751"/>
                    <a:pt x="3074" y="764"/>
                  </a:cubicBezTo>
                  <a:cubicBezTo>
                    <a:pt x="2154" y="-973"/>
                    <a:pt x="-811" y="560"/>
                    <a:pt x="212" y="2298"/>
                  </a:cubicBezTo>
                  <a:lnTo>
                    <a:pt x="212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6" name="任意多边形: 形状 805">
              <a:extLst>
                <a:ext uri="{FF2B5EF4-FFF2-40B4-BE49-F238E27FC236}">
                  <a16:creationId xmlns:a16="http://schemas.microsoft.com/office/drawing/2014/main" id="{07E14ECF-613D-4593-97B6-83C6137194E1}"/>
                </a:ext>
              </a:extLst>
            </p:cNvPr>
            <p:cNvSpPr/>
            <p:nvPr/>
          </p:nvSpPr>
          <p:spPr>
            <a:xfrm>
              <a:off x="10297823" y="1037850"/>
              <a:ext cx="71304" cy="79226"/>
            </a:xfrm>
            <a:custGeom>
              <a:avLst/>
              <a:gdLst>
                <a:gd name="connsiteX0" fmla="*/ 2707 w 91992"/>
                <a:gd name="connsiteY0" fmla="*/ 106509 h 102214"/>
                <a:gd name="connsiteX1" fmla="*/ 96949 w 91992"/>
                <a:gd name="connsiteY1" fmla="*/ 2761 h 102214"/>
                <a:gd name="connsiteX2" fmla="*/ 94700 w 91992"/>
                <a:gd name="connsiteY2" fmla="*/ 513 h 102214"/>
                <a:gd name="connsiteX3" fmla="*/ 458 w 91992"/>
                <a:gd name="connsiteY3" fmla="*/ 104260 h 102214"/>
                <a:gd name="connsiteX4" fmla="*/ 2707 w 91992"/>
                <a:gd name="connsiteY4" fmla="*/ 106509 h 102214"/>
                <a:gd name="connsiteX5" fmla="*/ 2707 w 91992"/>
                <a:gd name="connsiteY5" fmla="*/ 106509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02214">
                  <a:moveTo>
                    <a:pt x="2707" y="106509"/>
                  </a:moveTo>
                  <a:cubicBezTo>
                    <a:pt x="34087" y="71961"/>
                    <a:pt x="65569" y="37310"/>
                    <a:pt x="96949" y="2761"/>
                  </a:cubicBezTo>
                  <a:cubicBezTo>
                    <a:pt x="98278" y="1228"/>
                    <a:pt x="96029" y="-1021"/>
                    <a:pt x="94700" y="513"/>
                  </a:cubicBezTo>
                  <a:cubicBezTo>
                    <a:pt x="63320" y="35061"/>
                    <a:pt x="31838" y="69712"/>
                    <a:pt x="458" y="104260"/>
                  </a:cubicBezTo>
                  <a:cubicBezTo>
                    <a:pt x="-973" y="105691"/>
                    <a:pt x="1276" y="107940"/>
                    <a:pt x="2707" y="106509"/>
                  </a:cubicBezTo>
                  <a:lnTo>
                    <a:pt x="2707" y="1065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7" name="任意多边形: 形状 806">
              <a:extLst>
                <a:ext uri="{FF2B5EF4-FFF2-40B4-BE49-F238E27FC236}">
                  <a16:creationId xmlns:a16="http://schemas.microsoft.com/office/drawing/2014/main" id="{43881F64-CF37-4DD0-B491-7AC7A920F059}"/>
                </a:ext>
              </a:extLst>
            </p:cNvPr>
            <p:cNvSpPr/>
            <p:nvPr/>
          </p:nvSpPr>
          <p:spPr>
            <a:xfrm>
              <a:off x="10306300" y="1056216"/>
              <a:ext cx="63381" cy="71304"/>
            </a:xfrm>
            <a:custGeom>
              <a:avLst/>
              <a:gdLst>
                <a:gd name="connsiteX0" fmla="*/ 2707 w 81771"/>
                <a:gd name="connsiteY0" fmla="*/ 94976 h 91992"/>
                <a:gd name="connsiteX1" fmla="*/ 83559 w 81771"/>
                <a:gd name="connsiteY1" fmla="*/ 2268 h 91992"/>
                <a:gd name="connsiteX2" fmla="*/ 80799 w 81771"/>
                <a:gd name="connsiteY2" fmla="*/ 633 h 91992"/>
                <a:gd name="connsiteX3" fmla="*/ 458 w 81771"/>
                <a:gd name="connsiteY3" fmla="*/ 92728 h 91992"/>
                <a:gd name="connsiteX4" fmla="*/ 2707 w 81771"/>
                <a:gd name="connsiteY4" fmla="*/ 94976 h 91992"/>
                <a:gd name="connsiteX5" fmla="*/ 2707 w 81771"/>
                <a:gd name="connsiteY5" fmla="*/ 94976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91992">
                  <a:moveTo>
                    <a:pt x="2707" y="94976"/>
                  </a:moveTo>
                  <a:cubicBezTo>
                    <a:pt x="31634" y="65641"/>
                    <a:pt x="58618" y="34670"/>
                    <a:pt x="83559" y="2268"/>
                  </a:cubicBezTo>
                  <a:cubicBezTo>
                    <a:pt x="84785" y="633"/>
                    <a:pt x="82025" y="-901"/>
                    <a:pt x="80799" y="633"/>
                  </a:cubicBezTo>
                  <a:cubicBezTo>
                    <a:pt x="55961" y="32830"/>
                    <a:pt x="29181" y="63597"/>
                    <a:pt x="458" y="92728"/>
                  </a:cubicBezTo>
                  <a:cubicBezTo>
                    <a:pt x="-973" y="94261"/>
                    <a:pt x="1276" y="96510"/>
                    <a:pt x="2707" y="94976"/>
                  </a:cubicBezTo>
                  <a:lnTo>
                    <a:pt x="2707" y="949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8" name="任意多边形: 形状 807">
              <a:extLst>
                <a:ext uri="{FF2B5EF4-FFF2-40B4-BE49-F238E27FC236}">
                  <a16:creationId xmlns:a16="http://schemas.microsoft.com/office/drawing/2014/main" id="{51A0FE2B-14BF-474F-9C75-39E811EA44D1}"/>
                </a:ext>
              </a:extLst>
            </p:cNvPr>
            <p:cNvSpPr/>
            <p:nvPr/>
          </p:nvSpPr>
          <p:spPr>
            <a:xfrm>
              <a:off x="10321723" y="1078714"/>
              <a:ext cx="39613" cy="47536"/>
            </a:xfrm>
            <a:custGeom>
              <a:avLst/>
              <a:gdLst>
                <a:gd name="connsiteX0" fmla="*/ 3047 w 51107"/>
                <a:gd name="connsiteY0" fmla="*/ 66359 h 61328"/>
                <a:gd name="connsiteX1" fmla="*/ 25636 w 51107"/>
                <a:gd name="connsiteY1" fmla="*/ 33957 h 61328"/>
                <a:gd name="connsiteX2" fmla="*/ 39946 w 51107"/>
                <a:gd name="connsiteY2" fmla="*/ 16785 h 61328"/>
                <a:gd name="connsiteX3" fmla="*/ 52723 w 51107"/>
                <a:gd name="connsiteY3" fmla="*/ 3088 h 61328"/>
                <a:gd name="connsiteX4" fmla="*/ 55585 w 51107"/>
                <a:gd name="connsiteY4" fmla="*/ 4723 h 61328"/>
                <a:gd name="connsiteX5" fmla="*/ 53439 w 51107"/>
                <a:gd name="connsiteY5" fmla="*/ 21 h 61328"/>
                <a:gd name="connsiteX6" fmla="*/ 47306 w 51107"/>
                <a:gd name="connsiteY6" fmla="*/ 4110 h 61328"/>
                <a:gd name="connsiteX7" fmla="*/ 36675 w 51107"/>
                <a:gd name="connsiteY7" fmla="*/ 15660 h 61328"/>
                <a:gd name="connsiteX8" fmla="*/ 185 w 51107"/>
                <a:gd name="connsiteY8" fmla="*/ 64723 h 61328"/>
                <a:gd name="connsiteX9" fmla="*/ 3047 w 51107"/>
                <a:gd name="connsiteY9" fmla="*/ 66359 h 61328"/>
                <a:gd name="connsiteX10" fmla="*/ 3047 w 51107"/>
                <a:gd name="connsiteY10" fmla="*/ 6635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107" h="61328">
                  <a:moveTo>
                    <a:pt x="3047" y="66359"/>
                  </a:moveTo>
                  <a:cubicBezTo>
                    <a:pt x="9998" y="55217"/>
                    <a:pt x="17561" y="44382"/>
                    <a:pt x="25636" y="33957"/>
                  </a:cubicBezTo>
                  <a:cubicBezTo>
                    <a:pt x="30236" y="28130"/>
                    <a:pt x="34938" y="22406"/>
                    <a:pt x="39946" y="16785"/>
                  </a:cubicBezTo>
                  <a:cubicBezTo>
                    <a:pt x="44035" y="12185"/>
                    <a:pt x="49146" y="7892"/>
                    <a:pt x="52723" y="3088"/>
                  </a:cubicBezTo>
                  <a:cubicBezTo>
                    <a:pt x="51497" y="4723"/>
                    <a:pt x="54359" y="6359"/>
                    <a:pt x="55585" y="4723"/>
                  </a:cubicBezTo>
                  <a:cubicBezTo>
                    <a:pt x="56914" y="2883"/>
                    <a:pt x="55994" y="430"/>
                    <a:pt x="53439" y="21"/>
                  </a:cubicBezTo>
                  <a:cubicBezTo>
                    <a:pt x="50883" y="-285"/>
                    <a:pt x="48532" y="2781"/>
                    <a:pt x="47306" y="4110"/>
                  </a:cubicBezTo>
                  <a:cubicBezTo>
                    <a:pt x="43626" y="7790"/>
                    <a:pt x="40151" y="11674"/>
                    <a:pt x="36675" y="15660"/>
                  </a:cubicBezTo>
                  <a:cubicBezTo>
                    <a:pt x="23183" y="31095"/>
                    <a:pt x="11020" y="47449"/>
                    <a:pt x="185" y="64723"/>
                  </a:cubicBezTo>
                  <a:cubicBezTo>
                    <a:pt x="-735" y="66461"/>
                    <a:pt x="2025" y="68096"/>
                    <a:pt x="3047" y="66359"/>
                  </a:cubicBezTo>
                  <a:lnTo>
                    <a:pt x="3047" y="6635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9" name="任意多边形: 形状 808">
              <a:extLst>
                <a:ext uri="{FF2B5EF4-FFF2-40B4-BE49-F238E27FC236}">
                  <a16:creationId xmlns:a16="http://schemas.microsoft.com/office/drawing/2014/main" id="{874FCCDE-C581-4004-AFC9-B0979A1EDFB6}"/>
                </a:ext>
              </a:extLst>
            </p:cNvPr>
            <p:cNvSpPr/>
            <p:nvPr/>
          </p:nvSpPr>
          <p:spPr>
            <a:xfrm>
              <a:off x="10336672" y="1082179"/>
              <a:ext cx="31691" cy="39613"/>
            </a:xfrm>
            <a:custGeom>
              <a:avLst/>
              <a:gdLst>
                <a:gd name="connsiteX0" fmla="*/ 2977 w 40885"/>
                <a:gd name="connsiteY0" fmla="*/ 55552 h 51107"/>
                <a:gd name="connsiteX1" fmla="*/ 42227 w 40885"/>
                <a:gd name="connsiteY1" fmla="*/ 2707 h 51107"/>
                <a:gd name="connsiteX2" fmla="*/ 39979 w 40885"/>
                <a:gd name="connsiteY2" fmla="*/ 458 h 51107"/>
                <a:gd name="connsiteX3" fmla="*/ 218 w 40885"/>
                <a:gd name="connsiteY3" fmla="*/ 53916 h 51107"/>
                <a:gd name="connsiteX4" fmla="*/ 2977 w 40885"/>
                <a:gd name="connsiteY4" fmla="*/ 55552 h 51107"/>
                <a:gd name="connsiteX5" fmla="*/ 2977 w 40885"/>
                <a:gd name="connsiteY5" fmla="*/ 555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977" y="55552"/>
                  </a:moveTo>
                  <a:cubicBezTo>
                    <a:pt x="13812" y="36438"/>
                    <a:pt x="26895" y="18755"/>
                    <a:pt x="42227" y="2707"/>
                  </a:cubicBezTo>
                  <a:cubicBezTo>
                    <a:pt x="43659" y="1276"/>
                    <a:pt x="41410" y="-973"/>
                    <a:pt x="39979" y="458"/>
                  </a:cubicBezTo>
                  <a:cubicBezTo>
                    <a:pt x="24442" y="16710"/>
                    <a:pt x="11155" y="34598"/>
                    <a:pt x="218" y="53916"/>
                  </a:cubicBezTo>
                  <a:cubicBezTo>
                    <a:pt x="-805" y="55756"/>
                    <a:pt x="2057" y="57290"/>
                    <a:pt x="2977" y="55552"/>
                  </a:cubicBezTo>
                  <a:lnTo>
                    <a:pt x="2977" y="555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0" name="任意多边形: 形状 809">
              <a:extLst>
                <a:ext uri="{FF2B5EF4-FFF2-40B4-BE49-F238E27FC236}">
                  <a16:creationId xmlns:a16="http://schemas.microsoft.com/office/drawing/2014/main" id="{6755C334-CD97-434C-B8AC-1D8861341FF1}"/>
                </a:ext>
              </a:extLst>
            </p:cNvPr>
            <p:cNvSpPr/>
            <p:nvPr/>
          </p:nvSpPr>
          <p:spPr>
            <a:xfrm>
              <a:off x="10434033" y="822053"/>
              <a:ext cx="87149" cy="23768"/>
            </a:xfrm>
            <a:custGeom>
              <a:avLst/>
              <a:gdLst>
                <a:gd name="connsiteX0" fmla="*/ 1149 w 112435"/>
                <a:gd name="connsiteY0" fmla="*/ 3047 h 30664"/>
                <a:gd name="connsiteX1" fmla="*/ 110824 w 112435"/>
                <a:gd name="connsiteY1" fmla="*/ 34120 h 30664"/>
                <a:gd name="connsiteX2" fmla="*/ 111744 w 112435"/>
                <a:gd name="connsiteY2" fmla="*/ 31156 h 30664"/>
                <a:gd name="connsiteX3" fmla="*/ 2068 w 112435"/>
                <a:gd name="connsiteY3" fmla="*/ 83 h 30664"/>
                <a:gd name="connsiteX4" fmla="*/ 1149 w 112435"/>
                <a:gd name="connsiteY4" fmla="*/ 3047 h 30664"/>
                <a:gd name="connsiteX5" fmla="*/ 1149 w 112435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30664">
                  <a:moveTo>
                    <a:pt x="1149" y="3047"/>
                  </a:moveTo>
                  <a:cubicBezTo>
                    <a:pt x="37435" y="14393"/>
                    <a:pt x="73925" y="24717"/>
                    <a:pt x="110824" y="34120"/>
                  </a:cubicBezTo>
                  <a:cubicBezTo>
                    <a:pt x="112869" y="34632"/>
                    <a:pt x="113789" y="31667"/>
                    <a:pt x="111744" y="31156"/>
                  </a:cubicBezTo>
                  <a:cubicBezTo>
                    <a:pt x="74845" y="21753"/>
                    <a:pt x="38354" y="11429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1" name="任意多边形: 形状 810">
              <a:extLst>
                <a:ext uri="{FF2B5EF4-FFF2-40B4-BE49-F238E27FC236}">
                  <a16:creationId xmlns:a16="http://schemas.microsoft.com/office/drawing/2014/main" id="{A1F5EA63-556C-4FC6-8B02-EF6AF7D251EB}"/>
                </a:ext>
              </a:extLst>
            </p:cNvPr>
            <p:cNvSpPr/>
            <p:nvPr/>
          </p:nvSpPr>
          <p:spPr>
            <a:xfrm>
              <a:off x="10445996" y="817436"/>
              <a:ext cx="63381" cy="15845"/>
            </a:xfrm>
            <a:custGeom>
              <a:avLst/>
              <a:gdLst>
                <a:gd name="connsiteX0" fmla="*/ 1148 w 81771"/>
                <a:gd name="connsiteY0" fmla="*/ 3075 h 20442"/>
                <a:gd name="connsiteX1" fmla="*/ 83635 w 81771"/>
                <a:gd name="connsiteY1" fmla="*/ 29139 h 20442"/>
                <a:gd name="connsiteX2" fmla="*/ 84555 w 81771"/>
                <a:gd name="connsiteY2" fmla="*/ 26175 h 20442"/>
                <a:gd name="connsiteX3" fmla="*/ 2068 w 81771"/>
                <a:gd name="connsiteY3" fmla="*/ 111 h 20442"/>
                <a:gd name="connsiteX4" fmla="*/ 1148 w 81771"/>
                <a:gd name="connsiteY4" fmla="*/ 3075 h 20442"/>
                <a:gd name="connsiteX5" fmla="*/ 1148 w 81771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0442">
                  <a:moveTo>
                    <a:pt x="1148" y="3075"/>
                  </a:moveTo>
                  <a:cubicBezTo>
                    <a:pt x="28644" y="11763"/>
                    <a:pt x="56140" y="20451"/>
                    <a:pt x="83635" y="29139"/>
                  </a:cubicBezTo>
                  <a:cubicBezTo>
                    <a:pt x="85680" y="29753"/>
                    <a:pt x="86600" y="26789"/>
                    <a:pt x="84555" y="26175"/>
                  </a:cubicBezTo>
                  <a:cubicBezTo>
                    <a:pt x="57060" y="17487"/>
                    <a:pt x="29564" y="8799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2" name="任意多边形: 形状 811">
              <a:extLst>
                <a:ext uri="{FF2B5EF4-FFF2-40B4-BE49-F238E27FC236}">
                  <a16:creationId xmlns:a16="http://schemas.microsoft.com/office/drawing/2014/main" id="{8DE3FF21-9C4A-49B1-9E9E-90635A327BEA}"/>
                </a:ext>
              </a:extLst>
            </p:cNvPr>
            <p:cNvSpPr/>
            <p:nvPr/>
          </p:nvSpPr>
          <p:spPr>
            <a:xfrm>
              <a:off x="10465163" y="816027"/>
              <a:ext cx="55458" cy="15845"/>
            </a:xfrm>
            <a:custGeom>
              <a:avLst/>
              <a:gdLst>
                <a:gd name="connsiteX0" fmla="*/ 849 w 71550"/>
                <a:gd name="connsiteY0" fmla="*/ 2746 h 20442"/>
                <a:gd name="connsiteX1" fmla="*/ 73932 w 71550"/>
                <a:gd name="connsiteY1" fmla="*/ 23087 h 20442"/>
                <a:gd name="connsiteX2" fmla="*/ 74034 w 71550"/>
                <a:gd name="connsiteY2" fmla="*/ 20021 h 20442"/>
                <a:gd name="connsiteX3" fmla="*/ 2586 w 71550"/>
                <a:gd name="connsiteY3" fmla="*/ 191 h 20442"/>
                <a:gd name="connsiteX4" fmla="*/ 849 w 71550"/>
                <a:gd name="connsiteY4" fmla="*/ 2746 h 20442"/>
                <a:gd name="connsiteX5" fmla="*/ 849 w 71550"/>
                <a:gd name="connsiteY5" fmla="*/ 274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49" y="2746"/>
                  </a:moveTo>
                  <a:cubicBezTo>
                    <a:pt x="23949" y="13274"/>
                    <a:pt x="48481" y="20123"/>
                    <a:pt x="73932" y="23087"/>
                  </a:cubicBezTo>
                  <a:cubicBezTo>
                    <a:pt x="75977" y="23292"/>
                    <a:pt x="76079" y="20225"/>
                    <a:pt x="74034" y="20021"/>
                  </a:cubicBezTo>
                  <a:cubicBezTo>
                    <a:pt x="49196" y="17159"/>
                    <a:pt x="25176" y="10412"/>
                    <a:pt x="2586" y="191"/>
                  </a:cubicBezTo>
                  <a:cubicBezTo>
                    <a:pt x="644" y="-729"/>
                    <a:pt x="-1093" y="1929"/>
                    <a:pt x="849" y="2746"/>
                  </a:cubicBezTo>
                  <a:lnTo>
                    <a:pt x="849" y="27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3" name="任意多边形: 形状 812">
              <a:extLst>
                <a:ext uri="{FF2B5EF4-FFF2-40B4-BE49-F238E27FC236}">
                  <a16:creationId xmlns:a16="http://schemas.microsoft.com/office/drawing/2014/main" id="{BB06A78A-4539-4B5C-8CE4-48CA42E02EBA}"/>
                </a:ext>
              </a:extLst>
            </p:cNvPr>
            <p:cNvSpPr/>
            <p:nvPr/>
          </p:nvSpPr>
          <p:spPr>
            <a:xfrm>
              <a:off x="10490102" y="815115"/>
              <a:ext cx="39613" cy="7922"/>
            </a:xfrm>
            <a:custGeom>
              <a:avLst/>
              <a:gdLst>
                <a:gd name="connsiteX0" fmla="*/ 1075 w 51107"/>
                <a:gd name="connsiteY0" fmla="*/ 3105 h 10221"/>
                <a:gd name="connsiteX1" fmla="*/ 53818 w 51107"/>
                <a:gd name="connsiteY1" fmla="*/ 18029 h 10221"/>
                <a:gd name="connsiteX2" fmla="*/ 54738 w 51107"/>
                <a:gd name="connsiteY2" fmla="*/ 15065 h 10221"/>
                <a:gd name="connsiteX3" fmla="*/ 1996 w 51107"/>
                <a:gd name="connsiteY3" fmla="*/ 141 h 10221"/>
                <a:gd name="connsiteX4" fmla="*/ 1075 w 51107"/>
                <a:gd name="connsiteY4" fmla="*/ 3105 h 10221"/>
                <a:gd name="connsiteX5" fmla="*/ 1075 w 51107"/>
                <a:gd name="connsiteY5" fmla="*/ 310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105"/>
                  </a:moveTo>
                  <a:cubicBezTo>
                    <a:pt x="18043" y="10158"/>
                    <a:pt x="35624" y="15065"/>
                    <a:pt x="53818" y="18029"/>
                  </a:cubicBezTo>
                  <a:cubicBezTo>
                    <a:pt x="55862" y="18335"/>
                    <a:pt x="56782" y="15371"/>
                    <a:pt x="54738" y="15065"/>
                  </a:cubicBezTo>
                  <a:cubicBezTo>
                    <a:pt x="36544" y="12203"/>
                    <a:pt x="18963" y="7194"/>
                    <a:pt x="1996" y="141"/>
                  </a:cubicBezTo>
                  <a:cubicBezTo>
                    <a:pt x="54" y="-676"/>
                    <a:pt x="-867" y="2288"/>
                    <a:pt x="1075" y="3105"/>
                  </a:cubicBezTo>
                  <a:lnTo>
                    <a:pt x="1075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4" name="任意多边形: 形状 813">
              <a:extLst>
                <a:ext uri="{FF2B5EF4-FFF2-40B4-BE49-F238E27FC236}">
                  <a16:creationId xmlns:a16="http://schemas.microsoft.com/office/drawing/2014/main" id="{B15143D1-E762-4E79-B0F0-BEE87EB6A32C}"/>
                </a:ext>
              </a:extLst>
            </p:cNvPr>
            <p:cNvSpPr/>
            <p:nvPr/>
          </p:nvSpPr>
          <p:spPr>
            <a:xfrm>
              <a:off x="10499632" y="806900"/>
              <a:ext cx="55458" cy="15845"/>
            </a:xfrm>
            <a:custGeom>
              <a:avLst/>
              <a:gdLst>
                <a:gd name="connsiteX0" fmla="*/ 1149 w 71550"/>
                <a:gd name="connsiteY0" fmla="*/ 3075 h 20442"/>
                <a:gd name="connsiteX1" fmla="*/ 75356 w 71550"/>
                <a:gd name="connsiteY1" fmla="*/ 21984 h 20442"/>
                <a:gd name="connsiteX2" fmla="*/ 76276 w 71550"/>
                <a:gd name="connsiteY2" fmla="*/ 19020 h 20442"/>
                <a:gd name="connsiteX3" fmla="*/ 2068 w 71550"/>
                <a:gd name="connsiteY3" fmla="*/ 111 h 20442"/>
                <a:gd name="connsiteX4" fmla="*/ 1149 w 71550"/>
                <a:gd name="connsiteY4" fmla="*/ 3075 h 20442"/>
                <a:gd name="connsiteX5" fmla="*/ 1149 w 71550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75"/>
                  </a:moveTo>
                  <a:cubicBezTo>
                    <a:pt x="25373" y="10945"/>
                    <a:pt x="50109" y="17283"/>
                    <a:pt x="75356" y="21984"/>
                  </a:cubicBezTo>
                  <a:cubicBezTo>
                    <a:pt x="77400" y="22393"/>
                    <a:pt x="78320" y="19429"/>
                    <a:pt x="76276" y="19020"/>
                  </a:cubicBezTo>
                  <a:cubicBezTo>
                    <a:pt x="51131" y="14318"/>
                    <a:pt x="26396" y="8083"/>
                    <a:pt x="2068" y="111"/>
                  </a:cubicBezTo>
                  <a:cubicBezTo>
                    <a:pt x="24" y="-605"/>
                    <a:pt x="-896" y="2359"/>
                    <a:pt x="1149" y="3075"/>
                  </a:cubicBezTo>
                  <a:lnTo>
                    <a:pt x="1149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5" name="任意多边形: 形状 814">
              <a:extLst>
                <a:ext uri="{FF2B5EF4-FFF2-40B4-BE49-F238E27FC236}">
                  <a16:creationId xmlns:a16="http://schemas.microsoft.com/office/drawing/2014/main" id="{5AFB9CF3-A72D-4FE7-9335-A053FEA8ED25}"/>
                </a:ext>
              </a:extLst>
            </p:cNvPr>
            <p:cNvSpPr/>
            <p:nvPr/>
          </p:nvSpPr>
          <p:spPr>
            <a:xfrm>
              <a:off x="10423654" y="829104"/>
              <a:ext cx="71304" cy="23768"/>
            </a:xfrm>
            <a:custGeom>
              <a:avLst/>
              <a:gdLst>
                <a:gd name="connsiteX0" fmla="*/ 1149 w 91992"/>
                <a:gd name="connsiteY0" fmla="*/ 3047 h 30664"/>
                <a:gd name="connsiteX1" fmla="*/ 99785 w 91992"/>
                <a:gd name="connsiteY1" fmla="*/ 30645 h 30664"/>
                <a:gd name="connsiteX2" fmla="*/ 100705 w 91992"/>
                <a:gd name="connsiteY2" fmla="*/ 27681 h 30664"/>
                <a:gd name="connsiteX3" fmla="*/ 2068 w 91992"/>
                <a:gd name="connsiteY3" fmla="*/ 83 h 30664"/>
                <a:gd name="connsiteX4" fmla="*/ 1149 w 91992"/>
                <a:gd name="connsiteY4" fmla="*/ 3047 h 30664"/>
                <a:gd name="connsiteX5" fmla="*/ 1149 w 91992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9" y="3047"/>
                  </a:moveTo>
                  <a:cubicBezTo>
                    <a:pt x="34062" y="12247"/>
                    <a:pt x="66872" y="21446"/>
                    <a:pt x="99785" y="30645"/>
                  </a:cubicBezTo>
                  <a:cubicBezTo>
                    <a:pt x="101830" y="31258"/>
                    <a:pt x="102749" y="28192"/>
                    <a:pt x="100705" y="27681"/>
                  </a:cubicBezTo>
                  <a:cubicBezTo>
                    <a:pt x="67792" y="18482"/>
                    <a:pt x="34981" y="9282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6" name="任意多边形: 形状 815">
              <a:extLst>
                <a:ext uri="{FF2B5EF4-FFF2-40B4-BE49-F238E27FC236}">
                  <a16:creationId xmlns:a16="http://schemas.microsoft.com/office/drawing/2014/main" id="{11F55E73-6729-4C3C-B8CB-E72F8976E80B}"/>
                </a:ext>
              </a:extLst>
            </p:cNvPr>
            <p:cNvSpPr/>
            <p:nvPr/>
          </p:nvSpPr>
          <p:spPr>
            <a:xfrm>
              <a:off x="10420806" y="838453"/>
              <a:ext cx="55458" cy="7922"/>
            </a:xfrm>
            <a:custGeom>
              <a:avLst/>
              <a:gdLst>
                <a:gd name="connsiteX0" fmla="*/ 1142 w 71550"/>
                <a:gd name="connsiteY0" fmla="*/ 3047 h 10221"/>
                <a:gd name="connsiteX1" fmla="*/ 76270 w 71550"/>
                <a:gd name="connsiteY1" fmla="*/ 19913 h 10221"/>
                <a:gd name="connsiteX2" fmla="*/ 76372 w 71550"/>
                <a:gd name="connsiteY2" fmla="*/ 16846 h 10221"/>
                <a:gd name="connsiteX3" fmla="*/ 2165 w 71550"/>
                <a:gd name="connsiteY3" fmla="*/ 83 h 10221"/>
                <a:gd name="connsiteX4" fmla="*/ 1142 w 71550"/>
                <a:gd name="connsiteY4" fmla="*/ 3047 h 10221"/>
                <a:gd name="connsiteX5" fmla="*/ 1142 w 71550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">
                  <a:moveTo>
                    <a:pt x="1142" y="3047"/>
                  </a:moveTo>
                  <a:cubicBezTo>
                    <a:pt x="25469" y="11224"/>
                    <a:pt x="50614" y="16846"/>
                    <a:pt x="76270" y="19913"/>
                  </a:cubicBezTo>
                  <a:cubicBezTo>
                    <a:pt x="78416" y="20117"/>
                    <a:pt x="78416" y="17051"/>
                    <a:pt x="76372" y="16846"/>
                  </a:cubicBezTo>
                  <a:cubicBezTo>
                    <a:pt x="51023" y="13780"/>
                    <a:pt x="26185" y="8158"/>
                    <a:pt x="2165" y="83"/>
                  </a:cubicBezTo>
                  <a:cubicBezTo>
                    <a:pt x="18" y="-530"/>
                    <a:pt x="-902" y="2434"/>
                    <a:pt x="1142" y="3047"/>
                  </a:cubicBezTo>
                  <a:lnTo>
                    <a:pt x="1142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7" name="任意多边形: 形状 816">
              <a:extLst>
                <a:ext uri="{FF2B5EF4-FFF2-40B4-BE49-F238E27FC236}">
                  <a16:creationId xmlns:a16="http://schemas.microsoft.com/office/drawing/2014/main" id="{B5C4C231-A15E-4950-8FFF-98AE16605FA4}"/>
                </a:ext>
              </a:extLst>
            </p:cNvPr>
            <p:cNvSpPr/>
            <p:nvPr/>
          </p:nvSpPr>
          <p:spPr>
            <a:xfrm>
              <a:off x="9829558" y="1734343"/>
              <a:ext cx="110917" cy="47536"/>
            </a:xfrm>
            <a:custGeom>
              <a:avLst/>
              <a:gdLst>
                <a:gd name="connsiteX0" fmla="*/ 1120 w 143100"/>
                <a:gd name="connsiteY0" fmla="*/ 3047 h 61328"/>
                <a:gd name="connsiteX1" fmla="*/ 146878 w 143100"/>
                <a:gd name="connsiteY1" fmla="*/ 62025 h 61328"/>
                <a:gd name="connsiteX2" fmla="*/ 148615 w 143100"/>
                <a:gd name="connsiteY2" fmla="*/ 59367 h 61328"/>
                <a:gd name="connsiteX3" fmla="*/ 2040 w 143100"/>
                <a:gd name="connsiteY3" fmla="*/ 83 h 61328"/>
                <a:gd name="connsiteX4" fmla="*/ 1120 w 143100"/>
                <a:gd name="connsiteY4" fmla="*/ 3047 h 61328"/>
                <a:gd name="connsiteX5" fmla="*/ 1120 w 143100"/>
                <a:gd name="connsiteY5" fmla="*/ 304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61328">
                  <a:moveTo>
                    <a:pt x="1120" y="3047"/>
                  </a:moveTo>
                  <a:cubicBezTo>
                    <a:pt x="51921" y="17459"/>
                    <a:pt x="100779" y="37187"/>
                    <a:pt x="146878" y="62025"/>
                  </a:cubicBezTo>
                  <a:cubicBezTo>
                    <a:pt x="148718" y="63047"/>
                    <a:pt x="150455" y="60390"/>
                    <a:pt x="148615" y="59367"/>
                  </a:cubicBezTo>
                  <a:cubicBezTo>
                    <a:pt x="102312" y="34427"/>
                    <a:pt x="53147" y="14598"/>
                    <a:pt x="2040" y="83"/>
                  </a:cubicBezTo>
                  <a:cubicBezTo>
                    <a:pt x="98" y="-530"/>
                    <a:pt x="-924" y="2434"/>
                    <a:pt x="1120" y="3047"/>
                  </a:cubicBezTo>
                  <a:lnTo>
                    <a:pt x="1120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8" name="任意多边形: 形状 817">
              <a:extLst>
                <a:ext uri="{FF2B5EF4-FFF2-40B4-BE49-F238E27FC236}">
                  <a16:creationId xmlns:a16="http://schemas.microsoft.com/office/drawing/2014/main" id="{BBF9F604-83A6-484A-B91F-4A960A72AFDB}"/>
                </a:ext>
              </a:extLst>
            </p:cNvPr>
            <p:cNvSpPr/>
            <p:nvPr/>
          </p:nvSpPr>
          <p:spPr>
            <a:xfrm>
              <a:off x="9850751" y="1726519"/>
              <a:ext cx="71304" cy="23768"/>
            </a:xfrm>
            <a:custGeom>
              <a:avLst/>
              <a:gdLst>
                <a:gd name="connsiteX0" fmla="*/ 1070 w 91992"/>
                <a:gd name="connsiteY0" fmla="*/ 3023 h 30664"/>
                <a:gd name="connsiteX1" fmla="*/ 98275 w 91992"/>
                <a:gd name="connsiteY1" fmla="*/ 38798 h 30664"/>
                <a:gd name="connsiteX2" fmla="*/ 100013 w 91992"/>
                <a:gd name="connsiteY2" fmla="*/ 36141 h 30664"/>
                <a:gd name="connsiteX3" fmla="*/ 2092 w 91992"/>
                <a:gd name="connsiteY3" fmla="*/ 59 h 30664"/>
                <a:gd name="connsiteX4" fmla="*/ 1070 w 91992"/>
                <a:gd name="connsiteY4" fmla="*/ 3023 h 30664"/>
                <a:gd name="connsiteX5" fmla="*/ 1070 w 91992"/>
                <a:gd name="connsiteY5" fmla="*/ 302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070" y="3023"/>
                  </a:moveTo>
                  <a:cubicBezTo>
                    <a:pt x="34289" y="12734"/>
                    <a:pt x="66793" y="24693"/>
                    <a:pt x="98275" y="38798"/>
                  </a:cubicBezTo>
                  <a:cubicBezTo>
                    <a:pt x="100115" y="39616"/>
                    <a:pt x="101853" y="36958"/>
                    <a:pt x="100013" y="36141"/>
                  </a:cubicBezTo>
                  <a:cubicBezTo>
                    <a:pt x="68327" y="21933"/>
                    <a:pt x="35618" y="9872"/>
                    <a:pt x="2092" y="59"/>
                  </a:cubicBezTo>
                  <a:cubicBezTo>
                    <a:pt x="47" y="-452"/>
                    <a:pt x="-872" y="2512"/>
                    <a:pt x="1070" y="3023"/>
                  </a:cubicBezTo>
                  <a:lnTo>
                    <a:pt x="107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9" name="任意多边形: 形状 818">
              <a:extLst>
                <a:ext uri="{FF2B5EF4-FFF2-40B4-BE49-F238E27FC236}">
                  <a16:creationId xmlns:a16="http://schemas.microsoft.com/office/drawing/2014/main" id="{8D1FF92E-B14D-4013-A4B9-7A21D6C78F83}"/>
                </a:ext>
              </a:extLst>
            </p:cNvPr>
            <p:cNvSpPr/>
            <p:nvPr/>
          </p:nvSpPr>
          <p:spPr>
            <a:xfrm>
              <a:off x="9846099" y="1715152"/>
              <a:ext cx="71304" cy="23768"/>
            </a:xfrm>
            <a:custGeom>
              <a:avLst/>
              <a:gdLst>
                <a:gd name="connsiteX0" fmla="*/ 1142 w 91992"/>
                <a:gd name="connsiteY0" fmla="*/ 3072 h 30664"/>
                <a:gd name="connsiteX1" fmla="*/ 98144 w 91992"/>
                <a:gd name="connsiteY1" fmla="*/ 39256 h 30664"/>
                <a:gd name="connsiteX2" fmla="*/ 99881 w 91992"/>
                <a:gd name="connsiteY2" fmla="*/ 36598 h 30664"/>
                <a:gd name="connsiteX3" fmla="*/ 2164 w 91992"/>
                <a:gd name="connsiteY3" fmla="*/ 108 h 30664"/>
                <a:gd name="connsiteX4" fmla="*/ 1142 w 91992"/>
                <a:gd name="connsiteY4" fmla="*/ 3072 h 30664"/>
                <a:gd name="connsiteX5" fmla="*/ 1142 w 91992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2" y="3072"/>
                  </a:moveTo>
                  <a:cubicBezTo>
                    <a:pt x="34158" y="13600"/>
                    <a:pt x="66457" y="25661"/>
                    <a:pt x="98144" y="39256"/>
                  </a:cubicBezTo>
                  <a:cubicBezTo>
                    <a:pt x="100086" y="40073"/>
                    <a:pt x="101721" y="37416"/>
                    <a:pt x="99881" y="36598"/>
                  </a:cubicBezTo>
                  <a:cubicBezTo>
                    <a:pt x="67991" y="22799"/>
                    <a:pt x="35384" y="10636"/>
                    <a:pt x="2164" y="108"/>
                  </a:cubicBezTo>
                  <a:cubicBezTo>
                    <a:pt x="18" y="-608"/>
                    <a:pt x="-902" y="2459"/>
                    <a:pt x="1142" y="3072"/>
                  </a:cubicBezTo>
                  <a:lnTo>
                    <a:pt x="1142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0" name="任意多边形: 形状 819">
              <a:extLst>
                <a:ext uri="{FF2B5EF4-FFF2-40B4-BE49-F238E27FC236}">
                  <a16:creationId xmlns:a16="http://schemas.microsoft.com/office/drawing/2014/main" id="{535F8BA1-DD5A-4612-905C-D448ABF422C2}"/>
                </a:ext>
              </a:extLst>
            </p:cNvPr>
            <p:cNvSpPr/>
            <p:nvPr/>
          </p:nvSpPr>
          <p:spPr>
            <a:xfrm>
              <a:off x="9863682" y="1711268"/>
              <a:ext cx="55458" cy="23768"/>
            </a:xfrm>
            <a:custGeom>
              <a:avLst/>
              <a:gdLst>
                <a:gd name="connsiteX0" fmla="*/ 1148 w 71550"/>
                <a:gd name="connsiteY0" fmla="*/ 3075 h 30664"/>
                <a:gd name="connsiteX1" fmla="*/ 78525 w 71550"/>
                <a:gd name="connsiteY1" fmla="*/ 31184 h 30664"/>
                <a:gd name="connsiteX2" fmla="*/ 79445 w 71550"/>
                <a:gd name="connsiteY2" fmla="*/ 28220 h 30664"/>
                <a:gd name="connsiteX3" fmla="*/ 2068 w 71550"/>
                <a:gd name="connsiteY3" fmla="*/ 111 h 30664"/>
                <a:gd name="connsiteX4" fmla="*/ 1148 w 71550"/>
                <a:gd name="connsiteY4" fmla="*/ 3075 h 30664"/>
                <a:gd name="connsiteX5" fmla="*/ 1148 w 71550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1148" y="3075"/>
                  </a:moveTo>
                  <a:cubicBezTo>
                    <a:pt x="26907" y="12478"/>
                    <a:pt x="52767" y="21780"/>
                    <a:pt x="78525" y="31184"/>
                  </a:cubicBezTo>
                  <a:cubicBezTo>
                    <a:pt x="80467" y="31899"/>
                    <a:pt x="81387" y="28935"/>
                    <a:pt x="79445" y="28220"/>
                  </a:cubicBezTo>
                  <a:cubicBezTo>
                    <a:pt x="53687" y="18816"/>
                    <a:pt x="27826" y="9514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1" name="任意多边形: 形状 820">
              <a:extLst>
                <a:ext uri="{FF2B5EF4-FFF2-40B4-BE49-F238E27FC236}">
                  <a16:creationId xmlns:a16="http://schemas.microsoft.com/office/drawing/2014/main" id="{8FF933FB-5CDB-48D3-8E62-97D76421726F}"/>
                </a:ext>
              </a:extLst>
            </p:cNvPr>
            <p:cNvSpPr/>
            <p:nvPr/>
          </p:nvSpPr>
          <p:spPr>
            <a:xfrm>
              <a:off x="9888537" y="1710452"/>
              <a:ext cx="39613" cy="15845"/>
            </a:xfrm>
            <a:custGeom>
              <a:avLst/>
              <a:gdLst>
                <a:gd name="connsiteX0" fmla="*/ 1076 w 51107"/>
                <a:gd name="connsiteY0" fmla="*/ 3105 h 20442"/>
                <a:gd name="connsiteX1" fmla="*/ 58725 w 51107"/>
                <a:gd name="connsiteY1" fmla="*/ 21504 h 20442"/>
                <a:gd name="connsiteX2" fmla="*/ 59644 w 51107"/>
                <a:gd name="connsiteY2" fmla="*/ 18540 h 20442"/>
                <a:gd name="connsiteX3" fmla="*/ 1995 w 51107"/>
                <a:gd name="connsiteY3" fmla="*/ 141 h 20442"/>
                <a:gd name="connsiteX4" fmla="*/ 1076 w 51107"/>
                <a:gd name="connsiteY4" fmla="*/ 3105 h 20442"/>
                <a:gd name="connsiteX5" fmla="*/ 1076 w 51107"/>
                <a:gd name="connsiteY5" fmla="*/ 310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076" y="3105"/>
                  </a:moveTo>
                  <a:cubicBezTo>
                    <a:pt x="19781" y="10567"/>
                    <a:pt x="38997" y="16700"/>
                    <a:pt x="58725" y="21504"/>
                  </a:cubicBezTo>
                  <a:cubicBezTo>
                    <a:pt x="60769" y="22015"/>
                    <a:pt x="61689" y="19051"/>
                    <a:pt x="59644" y="18540"/>
                  </a:cubicBezTo>
                  <a:cubicBezTo>
                    <a:pt x="39917" y="13838"/>
                    <a:pt x="20701" y="7705"/>
                    <a:pt x="1995" y="141"/>
                  </a:cubicBezTo>
                  <a:cubicBezTo>
                    <a:pt x="53" y="-676"/>
                    <a:pt x="-867" y="2288"/>
                    <a:pt x="1076" y="3105"/>
                  </a:cubicBezTo>
                  <a:lnTo>
                    <a:pt x="1076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2" name="任意多边形: 形状 821">
              <a:extLst>
                <a:ext uri="{FF2B5EF4-FFF2-40B4-BE49-F238E27FC236}">
                  <a16:creationId xmlns:a16="http://schemas.microsoft.com/office/drawing/2014/main" id="{F1238D72-106C-4B4C-85E5-020EF593A08C}"/>
                </a:ext>
              </a:extLst>
            </p:cNvPr>
            <p:cNvSpPr/>
            <p:nvPr/>
          </p:nvSpPr>
          <p:spPr>
            <a:xfrm>
              <a:off x="9896749" y="1680527"/>
              <a:ext cx="55458" cy="39613"/>
            </a:xfrm>
            <a:custGeom>
              <a:avLst/>
              <a:gdLst>
                <a:gd name="connsiteX0" fmla="*/ 497 w 71550"/>
                <a:gd name="connsiteY0" fmla="*/ 2565 h 51107"/>
                <a:gd name="connsiteX1" fmla="*/ 72763 w 71550"/>
                <a:gd name="connsiteY1" fmla="*/ 52241 h 51107"/>
                <a:gd name="connsiteX2" fmla="*/ 74501 w 71550"/>
                <a:gd name="connsiteY2" fmla="*/ 49583 h 51107"/>
                <a:gd name="connsiteX3" fmla="*/ 2951 w 71550"/>
                <a:gd name="connsiteY3" fmla="*/ 418 h 51107"/>
                <a:gd name="connsiteX4" fmla="*/ 497 w 71550"/>
                <a:gd name="connsiteY4" fmla="*/ 2565 h 51107"/>
                <a:gd name="connsiteX5" fmla="*/ 497 w 71550"/>
                <a:gd name="connsiteY5" fmla="*/ 256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497" y="2565"/>
                  </a:moveTo>
                  <a:cubicBezTo>
                    <a:pt x="22269" y="21985"/>
                    <a:pt x="46494" y="38646"/>
                    <a:pt x="72763" y="52241"/>
                  </a:cubicBezTo>
                  <a:cubicBezTo>
                    <a:pt x="74603" y="53161"/>
                    <a:pt x="76340" y="50503"/>
                    <a:pt x="74501" y="49583"/>
                  </a:cubicBezTo>
                  <a:cubicBezTo>
                    <a:pt x="48436" y="36091"/>
                    <a:pt x="24518" y="19634"/>
                    <a:pt x="2951" y="418"/>
                  </a:cubicBezTo>
                  <a:cubicBezTo>
                    <a:pt x="1315" y="-911"/>
                    <a:pt x="-1036" y="1236"/>
                    <a:pt x="497" y="2565"/>
                  </a:cubicBezTo>
                  <a:lnTo>
                    <a:pt x="497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3" name="任意多边形: 形状 822">
              <a:extLst>
                <a:ext uri="{FF2B5EF4-FFF2-40B4-BE49-F238E27FC236}">
                  <a16:creationId xmlns:a16="http://schemas.microsoft.com/office/drawing/2014/main" id="{FAA20BCF-CC9E-4B4F-A9FD-C25B1D361E41}"/>
                </a:ext>
              </a:extLst>
            </p:cNvPr>
            <p:cNvSpPr/>
            <p:nvPr/>
          </p:nvSpPr>
          <p:spPr>
            <a:xfrm>
              <a:off x="9903677" y="1669990"/>
              <a:ext cx="47536" cy="31691"/>
            </a:xfrm>
            <a:custGeom>
              <a:avLst/>
              <a:gdLst>
                <a:gd name="connsiteX0" fmla="*/ 657 w 61328"/>
                <a:gd name="connsiteY0" fmla="*/ 2973 h 40885"/>
                <a:gd name="connsiteX1" fmla="*/ 60861 w 61328"/>
                <a:gd name="connsiteY1" fmla="*/ 40997 h 40885"/>
                <a:gd name="connsiteX2" fmla="*/ 62599 w 61328"/>
                <a:gd name="connsiteY2" fmla="*/ 38340 h 40885"/>
                <a:gd name="connsiteX3" fmla="*/ 2395 w 61328"/>
                <a:gd name="connsiteY3" fmla="*/ 316 h 40885"/>
                <a:gd name="connsiteX4" fmla="*/ 657 w 61328"/>
                <a:gd name="connsiteY4" fmla="*/ 2973 h 40885"/>
                <a:gd name="connsiteX5" fmla="*/ 657 w 61328"/>
                <a:gd name="connsiteY5" fmla="*/ 297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657" y="2973"/>
                  </a:moveTo>
                  <a:cubicBezTo>
                    <a:pt x="19669" y="17181"/>
                    <a:pt x="39703" y="29856"/>
                    <a:pt x="60861" y="40997"/>
                  </a:cubicBezTo>
                  <a:cubicBezTo>
                    <a:pt x="62701" y="41917"/>
                    <a:pt x="64439" y="39362"/>
                    <a:pt x="62599" y="38340"/>
                  </a:cubicBezTo>
                  <a:cubicBezTo>
                    <a:pt x="41441" y="27198"/>
                    <a:pt x="21304" y="14524"/>
                    <a:pt x="2395" y="316"/>
                  </a:cubicBezTo>
                  <a:cubicBezTo>
                    <a:pt x="759" y="-911"/>
                    <a:pt x="-979" y="1747"/>
                    <a:pt x="657" y="2973"/>
                  </a:cubicBezTo>
                  <a:lnTo>
                    <a:pt x="65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4" name="任意多边形: 形状 823">
              <a:extLst>
                <a:ext uri="{FF2B5EF4-FFF2-40B4-BE49-F238E27FC236}">
                  <a16:creationId xmlns:a16="http://schemas.microsoft.com/office/drawing/2014/main" id="{DFE386F8-426D-410C-84D6-196DD12DDB4B}"/>
                </a:ext>
              </a:extLst>
            </p:cNvPr>
            <p:cNvSpPr/>
            <p:nvPr/>
          </p:nvSpPr>
          <p:spPr>
            <a:xfrm>
              <a:off x="9923801" y="1668406"/>
              <a:ext cx="23768" cy="15845"/>
            </a:xfrm>
            <a:custGeom>
              <a:avLst/>
              <a:gdLst>
                <a:gd name="connsiteX0" fmla="*/ 554 w 30664"/>
                <a:gd name="connsiteY0" fmla="*/ 2565 h 20442"/>
                <a:gd name="connsiteX1" fmla="*/ 33365 w 30664"/>
                <a:gd name="connsiteY1" fmla="*/ 23927 h 20442"/>
                <a:gd name="connsiteX2" fmla="*/ 35102 w 30664"/>
                <a:gd name="connsiteY2" fmla="*/ 21270 h 20442"/>
                <a:gd name="connsiteX3" fmla="*/ 2905 w 30664"/>
                <a:gd name="connsiteY3" fmla="*/ 418 h 20442"/>
                <a:gd name="connsiteX4" fmla="*/ 554 w 30664"/>
                <a:gd name="connsiteY4" fmla="*/ 2565 h 20442"/>
                <a:gd name="connsiteX5" fmla="*/ 554 w 30664"/>
                <a:gd name="connsiteY5" fmla="*/ 25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554" y="2565"/>
                  </a:moveTo>
                  <a:cubicBezTo>
                    <a:pt x="10980" y="10435"/>
                    <a:pt x="21814" y="17590"/>
                    <a:pt x="33365" y="23927"/>
                  </a:cubicBezTo>
                  <a:cubicBezTo>
                    <a:pt x="35205" y="24950"/>
                    <a:pt x="36942" y="22292"/>
                    <a:pt x="35102" y="21270"/>
                  </a:cubicBezTo>
                  <a:cubicBezTo>
                    <a:pt x="23859" y="15035"/>
                    <a:pt x="13126" y="8084"/>
                    <a:pt x="2905" y="418"/>
                  </a:cubicBezTo>
                  <a:cubicBezTo>
                    <a:pt x="1269" y="-911"/>
                    <a:pt x="-1082" y="1236"/>
                    <a:pt x="554" y="2565"/>
                  </a:cubicBezTo>
                  <a:lnTo>
                    <a:pt x="554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5" name="任意多边形: 形状 824">
              <a:extLst>
                <a:ext uri="{FF2B5EF4-FFF2-40B4-BE49-F238E27FC236}">
                  <a16:creationId xmlns:a16="http://schemas.microsoft.com/office/drawing/2014/main" id="{9F288AD8-E3EE-44C5-A492-CCC90A7A1745}"/>
                </a:ext>
              </a:extLst>
            </p:cNvPr>
            <p:cNvSpPr/>
            <p:nvPr/>
          </p:nvSpPr>
          <p:spPr>
            <a:xfrm>
              <a:off x="9938760" y="1665791"/>
              <a:ext cx="23768" cy="15845"/>
            </a:xfrm>
            <a:custGeom>
              <a:avLst/>
              <a:gdLst>
                <a:gd name="connsiteX0" fmla="*/ 675 w 30664"/>
                <a:gd name="connsiteY0" fmla="*/ 2973 h 20442"/>
                <a:gd name="connsiteX1" fmla="*/ 29192 w 30664"/>
                <a:gd name="connsiteY1" fmla="*/ 23416 h 20442"/>
                <a:gd name="connsiteX2" fmla="*/ 30930 w 30664"/>
                <a:gd name="connsiteY2" fmla="*/ 20759 h 20442"/>
                <a:gd name="connsiteX3" fmla="*/ 2412 w 30664"/>
                <a:gd name="connsiteY3" fmla="*/ 316 h 20442"/>
                <a:gd name="connsiteX4" fmla="*/ 675 w 30664"/>
                <a:gd name="connsiteY4" fmla="*/ 2973 h 20442"/>
                <a:gd name="connsiteX5" fmla="*/ 675 w 30664"/>
                <a:gd name="connsiteY5" fmla="*/ 297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5" y="2973"/>
                  </a:moveTo>
                  <a:cubicBezTo>
                    <a:pt x="10181" y="9822"/>
                    <a:pt x="19687" y="16568"/>
                    <a:pt x="29192" y="23416"/>
                  </a:cubicBezTo>
                  <a:cubicBezTo>
                    <a:pt x="30930" y="24643"/>
                    <a:pt x="32566" y="21985"/>
                    <a:pt x="30930" y="20759"/>
                  </a:cubicBezTo>
                  <a:cubicBezTo>
                    <a:pt x="21424" y="13910"/>
                    <a:pt x="11918" y="7164"/>
                    <a:pt x="2412" y="316"/>
                  </a:cubicBezTo>
                  <a:cubicBezTo>
                    <a:pt x="675" y="-911"/>
                    <a:pt x="-961" y="1747"/>
                    <a:pt x="675" y="2973"/>
                  </a:cubicBezTo>
                  <a:lnTo>
                    <a:pt x="675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6" name="任意多边形: 形状 825">
              <a:extLst>
                <a:ext uri="{FF2B5EF4-FFF2-40B4-BE49-F238E27FC236}">
                  <a16:creationId xmlns:a16="http://schemas.microsoft.com/office/drawing/2014/main" id="{6931E25B-2953-4B83-8B86-442E21E2CF63}"/>
                </a:ext>
              </a:extLst>
            </p:cNvPr>
            <p:cNvSpPr/>
            <p:nvPr/>
          </p:nvSpPr>
          <p:spPr>
            <a:xfrm>
              <a:off x="10563725" y="1494257"/>
              <a:ext cx="118840" cy="7922"/>
            </a:xfrm>
            <a:custGeom>
              <a:avLst/>
              <a:gdLst>
                <a:gd name="connsiteX0" fmla="*/ 1560 w 153321"/>
                <a:gd name="connsiteY0" fmla="*/ 17500 h 10221"/>
                <a:gd name="connsiteX1" fmla="*/ 160810 w 153321"/>
                <a:gd name="connsiteY1" fmla="*/ 3088 h 10221"/>
                <a:gd name="connsiteX2" fmla="*/ 160094 w 153321"/>
                <a:gd name="connsiteY2" fmla="*/ 22 h 10221"/>
                <a:gd name="connsiteX3" fmla="*/ 1662 w 153321"/>
                <a:gd name="connsiteY3" fmla="*/ 14332 h 10221"/>
                <a:gd name="connsiteX4" fmla="*/ 1560 w 153321"/>
                <a:gd name="connsiteY4" fmla="*/ 17500 h 10221"/>
                <a:gd name="connsiteX5" fmla="*/ 1560 w 153321"/>
                <a:gd name="connsiteY5" fmla="*/ 17500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21" h="10221">
                  <a:moveTo>
                    <a:pt x="1560" y="17500"/>
                  </a:moveTo>
                  <a:cubicBezTo>
                    <a:pt x="54915" y="16069"/>
                    <a:pt x="108067" y="11265"/>
                    <a:pt x="160810" y="3088"/>
                  </a:cubicBezTo>
                  <a:cubicBezTo>
                    <a:pt x="162854" y="2781"/>
                    <a:pt x="162139" y="-285"/>
                    <a:pt x="160094" y="22"/>
                  </a:cubicBezTo>
                  <a:cubicBezTo>
                    <a:pt x="107658" y="8199"/>
                    <a:pt x="54813" y="13003"/>
                    <a:pt x="1662" y="14332"/>
                  </a:cubicBezTo>
                  <a:cubicBezTo>
                    <a:pt x="-485" y="14536"/>
                    <a:pt x="-587" y="17602"/>
                    <a:pt x="1560" y="17500"/>
                  </a:cubicBezTo>
                  <a:lnTo>
                    <a:pt x="1560" y="175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7" name="任意多边形: 形状 826">
              <a:extLst>
                <a:ext uri="{FF2B5EF4-FFF2-40B4-BE49-F238E27FC236}">
                  <a16:creationId xmlns:a16="http://schemas.microsoft.com/office/drawing/2014/main" id="{5E26A368-978D-4E23-8C8C-EF588474C421}"/>
                </a:ext>
              </a:extLst>
            </p:cNvPr>
            <p:cNvSpPr/>
            <p:nvPr/>
          </p:nvSpPr>
          <p:spPr>
            <a:xfrm>
              <a:off x="10592959" y="1482777"/>
              <a:ext cx="87149" cy="7922"/>
            </a:xfrm>
            <a:custGeom>
              <a:avLst/>
              <a:gdLst>
                <a:gd name="connsiteX0" fmla="*/ 1560 w 112435"/>
                <a:gd name="connsiteY0" fmla="*/ 11969 h 10221"/>
                <a:gd name="connsiteX1" fmla="*/ 120844 w 112435"/>
                <a:gd name="connsiteY1" fmla="*/ 3076 h 10221"/>
                <a:gd name="connsiteX2" fmla="*/ 120128 w 112435"/>
                <a:gd name="connsiteY2" fmla="*/ 10 h 10221"/>
                <a:gd name="connsiteX3" fmla="*/ 1662 w 112435"/>
                <a:gd name="connsiteY3" fmla="*/ 8801 h 10221"/>
                <a:gd name="connsiteX4" fmla="*/ 1560 w 112435"/>
                <a:gd name="connsiteY4" fmla="*/ 11969 h 10221"/>
                <a:gd name="connsiteX5" fmla="*/ 1560 w 112435"/>
                <a:gd name="connsiteY5" fmla="*/ 11969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0221">
                  <a:moveTo>
                    <a:pt x="1560" y="11969"/>
                  </a:moveTo>
                  <a:cubicBezTo>
                    <a:pt x="41525" y="11151"/>
                    <a:pt x="81287" y="8187"/>
                    <a:pt x="120844" y="3076"/>
                  </a:cubicBezTo>
                  <a:cubicBezTo>
                    <a:pt x="122888" y="2770"/>
                    <a:pt x="122173" y="-194"/>
                    <a:pt x="120128" y="10"/>
                  </a:cubicBezTo>
                  <a:cubicBezTo>
                    <a:pt x="80878" y="5121"/>
                    <a:pt x="41321" y="7983"/>
                    <a:pt x="1662" y="8801"/>
                  </a:cubicBezTo>
                  <a:cubicBezTo>
                    <a:pt x="-485" y="8903"/>
                    <a:pt x="-587" y="11969"/>
                    <a:pt x="1560" y="11969"/>
                  </a:cubicBezTo>
                  <a:lnTo>
                    <a:pt x="1560" y="119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8" name="任意多边形: 形状 827">
              <a:extLst>
                <a:ext uri="{FF2B5EF4-FFF2-40B4-BE49-F238E27FC236}">
                  <a16:creationId xmlns:a16="http://schemas.microsoft.com/office/drawing/2014/main" id="{B0A23836-2A1C-4787-901C-6D23BEF4B642}"/>
                </a:ext>
              </a:extLst>
            </p:cNvPr>
            <p:cNvSpPr/>
            <p:nvPr/>
          </p:nvSpPr>
          <p:spPr>
            <a:xfrm>
              <a:off x="10616558" y="1466923"/>
              <a:ext cx="79226" cy="7922"/>
            </a:xfrm>
            <a:custGeom>
              <a:avLst/>
              <a:gdLst>
                <a:gd name="connsiteX0" fmla="*/ 1471 w 102214"/>
                <a:gd name="connsiteY0" fmla="*/ 11674 h 10221"/>
                <a:gd name="connsiteX1" fmla="*/ 106957 w 102214"/>
                <a:gd name="connsiteY1" fmla="*/ 3088 h 10221"/>
                <a:gd name="connsiteX2" fmla="*/ 106241 w 102214"/>
                <a:gd name="connsiteY2" fmla="*/ 22 h 10221"/>
                <a:gd name="connsiteX3" fmla="*/ 1676 w 102214"/>
                <a:gd name="connsiteY3" fmla="*/ 8505 h 10221"/>
                <a:gd name="connsiteX4" fmla="*/ 1471 w 102214"/>
                <a:gd name="connsiteY4" fmla="*/ 11674 h 10221"/>
                <a:gd name="connsiteX5" fmla="*/ 1471 w 102214"/>
                <a:gd name="connsiteY5" fmla="*/ 1167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">
                  <a:moveTo>
                    <a:pt x="1471" y="11674"/>
                  </a:moveTo>
                  <a:cubicBezTo>
                    <a:pt x="36838" y="11469"/>
                    <a:pt x="72000" y="8607"/>
                    <a:pt x="106957" y="3088"/>
                  </a:cubicBezTo>
                  <a:cubicBezTo>
                    <a:pt x="109001" y="2781"/>
                    <a:pt x="108286" y="-285"/>
                    <a:pt x="106241" y="22"/>
                  </a:cubicBezTo>
                  <a:cubicBezTo>
                    <a:pt x="71693" y="5439"/>
                    <a:pt x="36735" y="8301"/>
                    <a:pt x="1676" y="8505"/>
                  </a:cubicBezTo>
                  <a:cubicBezTo>
                    <a:pt x="-471" y="8607"/>
                    <a:pt x="-573" y="11674"/>
                    <a:pt x="1471" y="11674"/>
                  </a:cubicBezTo>
                  <a:lnTo>
                    <a:pt x="1471" y="11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9" name="任意多边形: 形状 828">
              <a:extLst>
                <a:ext uri="{FF2B5EF4-FFF2-40B4-BE49-F238E27FC236}">
                  <a16:creationId xmlns:a16="http://schemas.microsoft.com/office/drawing/2014/main" id="{B8D70866-F543-4B7F-A70A-D65B92AFD7B1}"/>
                </a:ext>
              </a:extLst>
            </p:cNvPr>
            <p:cNvSpPr/>
            <p:nvPr/>
          </p:nvSpPr>
          <p:spPr>
            <a:xfrm>
              <a:off x="10644544" y="1457416"/>
              <a:ext cx="63381" cy="7922"/>
            </a:xfrm>
            <a:custGeom>
              <a:avLst/>
              <a:gdLst>
                <a:gd name="connsiteX0" fmla="*/ 1548 w 81771"/>
                <a:gd name="connsiteY0" fmla="*/ 9936 h 0"/>
                <a:gd name="connsiteX1" fmla="*/ 86999 w 81771"/>
                <a:gd name="connsiteY1" fmla="*/ 3088 h 0"/>
                <a:gd name="connsiteX2" fmla="*/ 86284 w 81771"/>
                <a:gd name="connsiteY2" fmla="*/ 22 h 0"/>
                <a:gd name="connsiteX3" fmla="*/ 1752 w 81771"/>
                <a:gd name="connsiteY3" fmla="*/ 6768 h 0"/>
                <a:gd name="connsiteX4" fmla="*/ 1548 w 81771"/>
                <a:gd name="connsiteY4" fmla="*/ 9936 h 0"/>
                <a:gd name="connsiteX5" fmla="*/ 1548 w 81771"/>
                <a:gd name="connsiteY5" fmla="*/ 9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>
                  <a:moveTo>
                    <a:pt x="1548" y="9936"/>
                  </a:moveTo>
                  <a:cubicBezTo>
                    <a:pt x="30168" y="9834"/>
                    <a:pt x="58686" y="7585"/>
                    <a:pt x="86999" y="3088"/>
                  </a:cubicBezTo>
                  <a:cubicBezTo>
                    <a:pt x="89043" y="2781"/>
                    <a:pt x="88328" y="-285"/>
                    <a:pt x="86284" y="22"/>
                  </a:cubicBezTo>
                  <a:cubicBezTo>
                    <a:pt x="58277" y="4417"/>
                    <a:pt x="30066" y="6665"/>
                    <a:pt x="1752" y="6768"/>
                  </a:cubicBezTo>
                  <a:cubicBezTo>
                    <a:pt x="-496" y="6768"/>
                    <a:pt x="-599" y="9936"/>
                    <a:pt x="1548" y="9936"/>
                  </a:cubicBezTo>
                  <a:lnTo>
                    <a:pt x="1548" y="99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0" name="任意多边形: 形状 829">
              <a:extLst>
                <a:ext uri="{FF2B5EF4-FFF2-40B4-BE49-F238E27FC236}">
                  <a16:creationId xmlns:a16="http://schemas.microsoft.com/office/drawing/2014/main" id="{2CFCD7A6-E308-434B-9C0C-5D275898557E}"/>
                </a:ext>
              </a:extLst>
            </p:cNvPr>
            <p:cNvSpPr/>
            <p:nvPr/>
          </p:nvSpPr>
          <p:spPr>
            <a:xfrm>
              <a:off x="10668486" y="1445849"/>
              <a:ext cx="47536" cy="7922"/>
            </a:xfrm>
            <a:custGeom>
              <a:avLst/>
              <a:gdLst>
                <a:gd name="connsiteX0" fmla="*/ 1937 w 61328"/>
                <a:gd name="connsiteY0" fmla="*/ 13923 h 10221"/>
                <a:gd name="connsiteX1" fmla="*/ 66332 w 61328"/>
                <a:gd name="connsiteY1" fmla="*/ 3088 h 10221"/>
                <a:gd name="connsiteX2" fmla="*/ 65617 w 61328"/>
                <a:gd name="connsiteY2" fmla="*/ 22 h 10221"/>
                <a:gd name="connsiteX3" fmla="*/ 1221 w 61328"/>
                <a:gd name="connsiteY3" fmla="*/ 10856 h 10221"/>
                <a:gd name="connsiteX4" fmla="*/ 1937 w 61328"/>
                <a:gd name="connsiteY4" fmla="*/ 13923 h 10221"/>
                <a:gd name="connsiteX5" fmla="*/ 1937 w 61328"/>
                <a:gd name="connsiteY5" fmla="*/ 1392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37" y="13923"/>
                  </a:moveTo>
                  <a:cubicBezTo>
                    <a:pt x="23402" y="10345"/>
                    <a:pt x="44867" y="6768"/>
                    <a:pt x="66332" y="3088"/>
                  </a:cubicBezTo>
                  <a:cubicBezTo>
                    <a:pt x="68376" y="2781"/>
                    <a:pt x="67661" y="-285"/>
                    <a:pt x="65617" y="22"/>
                  </a:cubicBezTo>
                  <a:cubicBezTo>
                    <a:pt x="44152" y="3599"/>
                    <a:pt x="22686" y="7177"/>
                    <a:pt x="1221" y="10856"/>
                  </a:cubicBezTo>
                  <a:cubicBezTo>
                    <a:pt x="-823" y="11265"/>
                    <a:pt x="-107" y="14229"/>
                    <a:pt x="1937" y="13923"/>
                  </a:cubicBezTo>
                  <a:lnTo>
                    <a:pt x="1937" y="139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1" name="任意多边形: 形状 830">
              <a:extLst>
                <a:ext uri="{FF2B5EF4-FFF2-40B4-BE49-F238E27FC236}">
                  <a16:creationId xmlns:a16="http://schemas.microsoft.com/office/drawing/2014/main" id="{FE9976F4-CD31-4502-9F25-BC18CF98EBC8}"/>
                </a:ext>
              </a:extLst>
            </p:cNvPr>
            <p:cNvSpPr/>
            <p:nvPr/>
          </p:nvSpPr>
          <p:spPr>
            <a:xfrm>
              <a:off x="10687150" y="1435154"/>
              <a:ext cx="47536" cy="7922"/>
            </a:xfrm>
            <a:custGeom>
              <a:avLst/>
              <a:gdLst>
                <a:gd name="connsiteX0" fmla="*/ 1981 w 61328"/>
                <a:gd name="connsiteY0" fmla="*/ 12492 h 10221"/>
                <a:gd name="connsiteX1" fmla="*/ 64025 w 61328"/>
                <a:gd name="connsiteY1" fmla="*/ 3088 h 10221"/>
                <a:gd name="connsiteX2" fmla="*/ 63309 w 61328"/>
                <a:gd name="connsiteY2" fmla="*/ 22 h 10221"/>
                <a:gd name="connsiteX3" fmla="*/ 1265 w 61328"/>
                <a:gd name="connsiteY3" fmla="*/ 9425 h 10221"/>
                <a:gd name="connsiteX4" fmla="*/ 1981 w 61328"/>
                <a:gd name="connsiteY4" fmla="*/ 12492 h 10221"/>
                <a:gd name="connsiteX5" fmla="*/ 1981 w 61328"/>
                <a:gd name="connsiteY5" fmla="*/ 12492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81" y="12492"/>
                  </a:moveTo>
                  <a:cubicBezTo>
                    <a:pt x="22628" y="9323"/>
                    <a:pt x="43377" y="6257"/>
                    <a:pt x="64025" y="3088"/>
                  </a:cubicBezTo>
                  <a:cubicBezTo>
                    <a:pt x="66069" y="2781"/>
                    <a:pt x="65353" y="-285"/>
                    <a:pt x="63309" y="22"/>
                  </a:cubicBezTo>
                  <a:cubicBezTo>
                    <a:pt x="42662" y="3190"/>
                    <a:pt x="21912" y="6257"/>
                    <a:pt x="1265" y="9425"/>
                  </a:cubicBezTo>
                  <a:cubicBezTo>
                    <a:pt x="-881" y="9732"/>
                    <a:pt x="-64" y="12798"/>
                    <a:pt x="1981" y="12492"/>
                  </a:cubicBezTo>
                  <a:lnTo>
                    <a:pt x="1981" y="1249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2" name="任意多边形: 形状 831">
              <a:extLst>
                <a:ext uri="{FF2B5EF4-FFF2-40B4-BE49-F238E27FC236}">
                  <a16:creationId xmlns:a16="http://schemas.microsoft.com/office/drawing/2014/main" id="{9F83389F-E3B0-464C-A4C4-E16BED6A6B2A}"/>
                </a:ext>
              </a:extLst>
            </p:cNvPr>
            <p:cNvSpPr/>
            <p:nvPr/>
          </p:nvSpPr>
          <p:spPr>
            <a:xfrm>
              <a:off x="8433955" y="3553951"/>
              <a:ext cx="102994" cy="134685"/>
            </a:xfrm>
            <a:custGeom>
              <a:avLst/>
              <a:gdLst>
                <a:gd name="connsiteX0" fmla="*/ 344 w 132878"/>
                <a:gd name="connsiteY0" fmla="*/ 2719 h 173764"/>
                <a:gd name="connsiteX1" fmla="*/ 134450 w 132878"/>
                <a:gd name="connsiteY1" fmla="*/ 180368 h 173764"/>
                <a:gd name="connsiteX2" fmla="*/ 137312 w 132878"/>
                <a:gd name="connsiteY2" fmla="*/ 178835 h 173764"/>
                <a:gd name="connsiteX3" fmla="*/ 2695 w 132878"/>
                <a:gd name="connsiteY3" fmla="*/ 471 h 173764"/>
                <a:gd name="connsiteX4" fmla="*/ 344 w 132878"/>
                <a:gd name="connsiteY4" fmla="*/ 2719 h 173764"/>
                <a:gd name="connsiteX5" fmla="*/ 344 w 132878"/>
                <a:gd name="connsiteY5" fmla="*/ 2719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173764">
                  <a:moveTo>
                    <a:pt x="344" y="2719"/>
                  </a:moveTo>
                  <a:cubicBezTo>
                    <a:pt x="47363" y="60368"/>
                    <a:pt x="92133" y="119550"/>
                    <a:pt x="134450" y="180368"/>
                  </a:cubicBezTo>
                  <a:cubicBezTo>
                    <a:pt x="135574" y="182004"/>
                    <a:pt x="138538" y="180572"/>
                    <a:pt x="137312" y="178835"/>
                  </a:cubicBezTo>
                  <a:cubicBezTo>
                    <a:pt x="94791" y="117813"/>
                    <a:pt x="49918" y="58324"/>
                    <a:pt x="2695" y="471"/>
                  </a:cubicBezTo>
                  <a:cubicBezTo>
                    <a:pt x="1469" y="-960"/>
                    <a:pt x="-882" y="1186"/>
                    <a:pt x="344" y="2719"/>
                  </a:cubicBezTo>
                  <a:lnTo>
                    <a:pt x="34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3" name="任意多边形: 形状 832">
              <a:extLst>
                <a:ext uri="{FF2B5EF4-FFF2-40B4-BE49-F238E27FC236}">
                  <a16:creationId xmlns:a16="http://schemas.microsoft.com/office/drawing/2014/main" id="{080AD79B-DBDA-412F-B9CF-DFDC11275389}"/>
                </a:ext>
              </a:extLst>
            </p:cNvPr>
            <p:cNvSpPr/>
            <p:nvPr/>
          </p:nvSpPr>
          <p:spPr>
            <a:xfrm>
              <a:off x="8432370" y="3532629"/>
              <a:ext cx="95071" cy="118840"/>
            </a:xfrm>
            <a:custGeom>
              <a:avLst/>
              <a:gdLst>
                <a:gd name="connsiteX0" fmla="*/ 344 w 122657"/>
                <a:gd name="connsiteY0" fmla="*/ 2731 h 153321"/>
                <a:gd name="connsiteX1" fmla="*/ 123411 w 122657"/>
                <a:gd name="connsiteY1" fmla="*/ 155950 h 153321"/>
                <a:gd name="connsiteX2" fmla="*/ 125761 w 122657"/>
                <a:gd name="connsiteY2" fmla="*/ 153804 h 153321"/>
                <a:gd name="connsiteX3" fmla="*/ 2695 w 122657"/>
                <a:gd name="connsiteY3" fmla="*/ 585 h 153321"/>
                <a:gd name="connsiteX4" fmla="*/ 344 w 122657"/>
                <a:gd name="connsiteY4" fmla="*/ 2731 h 153321"/>
                <a:gd name="connsiteX5" fmla="*/ 344 w 122657"/>
                <a:gd name="connsiteY5" fmla="*/ 2731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53321">
                  <a:moveTo>
                    <a:pt x="344" y="2731"/>
                  </a:moveTo>
                  <a:cubicBezTo>
                    <a:pt x="41332" y="53838"/>
                    <a:pt x="82320" y="104843"/>
                    <a:pt x="123411" y="155950"/>
                  </a:cubicBezTo>
                  <a:cubicBezTo>
                    <a:pt x="124637" y="157484"/>
                    <a:pt x="126988" y="155337"/>
                    <a:pt x="125761" y="153804"/>
                  </a:cubicBezTo>
                  <a:cubicBezTo>
                    <a:pt x="84773" y="102697"/>
                    <a:pt x="43785" y="51692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4" name="任意多边形: 形状 833">
              <a:extLst>
                <a:ext uri="{FF2B5EF4-FFF2-40B4-BE49-F238E27FC236}">
                  <a16:creationId xmlns:a16="http://schemas.microsoft.com/office/drawing/2014/main" id="{0EE060AF-D8A9-4F40-B204-2CEB0CFB30C0}"/>
                </a:ext>
              </a:extLst>
            </p:cNvPr>
            <p:cNvSpPr/>
            <p:nvPr/>
          </p:nvSpPr>
          <p:spPr>
            <a:xfrm>
              <a:off x="8453433" y="3537346"/>
              <a:ext cx="71304" cy="95071"/>
            </a:xfrm>
            <a:custGeom>
              <a:avLst/>
              <a:gdLst>
                <a:gd name="connsiteX0" fmla="*/ 257 w 91992"/>
                <a:gd name="connsiteY0" fmla="*/ 2166 h 122657"/>
                <a:gd name="connsiteX1" fmla="*/ 49524 w 91992"/>
                <a:gd name="connsiteY1" fmla="*/ 69934 h 122657"/>
                <a:gd name="connsiteX2" fmla="*/ 72727 w 91992"/>
                <a:gd name="connsiteY2" fmla="*/ 99678 h 122657"/>
                <a:gd name="connsiteX3" fmla="*/ 86423 w 91992"/>
                <a:gd name="connsiteY3" fmla="*/ 116646 h 122657"/>
                <a:gd name="connsiteX4" fmla="*/ 94294 w 91992"/>
                <a:gd name="connsiteY4" fmla="*/ 123290 h 122657"/>
                <a:gd name="connsiteX5" fmla="*/ 95929 w 91992"/>
                <a:gd name="connsiteY5" fmla="*/ 122166 h 122657"/>
                <a:gd name="connsiteX6" fmla="*/ 95623 w 91992"/>
                <a:gd name="connsiteY6" fmla="*/ 119508 h 122657"/>
                <a:gd name="connsiteX7" fmla="*/ 93374 w 91992"/>
                <a:gd name="connsiteY7" fmla="*/ 118895 h 122657"/>
                <a:gd name="connsiteX8" fmla="*/ 92761 w 91992"/>
                <a:gd name="connsiteY8" fmla="*/ 119099 h 122657"/>
                <a:gd name="connsiteX9" fmla="*/ 94294 w 91992"/>
                <a:gd name="connsiteY9" fmla="*/ 121859 h 122657"/>
                <a:gd name="connsiteX10" fmla="*/ 71193 w 91992"/>
                <a:gd name="connsiteY10" fmla="*/ 92728 h 122657"/>
                <a:gd name="connsiteX11" fmla="*/ 46764 w 91992"/>
                <a:gd name="connsiteY11" fmla="*/ 61144 h 122657"/>
                <a:gd name="connsiteX12" fmla="*/ 3221 w 91992"/>
                <a:gd name="connsiteY12" fmla="*/ 837 h 122657"/>
                <a:gd name="connsiteX13" fmla="*/ 257 w 91992"/>
                <a:gd name="connsiteY13" fmla="*/ 2166 h 122657"/>
                <a:gd name="connsiteX14" fmla="*/ 257 w 91992"/>
                <a:gd name="connsiteY14" fmla="*/ 216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992" h="122657">
                  <a:moveTo>
                    <a:pt x="257" y="2166"/>
                  </a:moveTo>
                  <a:cubicBezTo>
                    <a:pt x="16100" y="25062"/>
                    <a:pt x="32556" y="47754"/>
                    <a:pt x="49524" y="69934"/>
                  </a:cubicBezTo>
                  <a:cubicBezTo>
                    <a:pt x="57190" y="79951"/>
                    <a:pt x="64856" y="89866"/>
                    <a:pt x="72727" y="99678"/>
                  </a:cubicBezTo>
                  <a:cubicBezTo>
                    <a:pt x="77224" y="105402"/>
                    <a:pt x="81824" y="111024"/>
                    <a:pt x="86423" y="116646"/>
                  </a:cubicBezTo>
                  <a:cubicBezTo>
                    <a:pt x="88774" y="119508"/>
                    <a:pt x="90410" y="122779"/>
                    <a:pt x="94294" y="123290"/>
                  </a:cubicBezTo>
                  <a:cubicBezTo>
                    <a:pt x="95009" y="123392"/>
                    <a:pt x="95623" y="122779"/>
                    <a:pt x="95929" y="122166"/>
                  </a:cubicBezTo>
                  <a:cubicBezTo>
                    <a:pt x="96440" y="120939"/>
                    <a:pt x="96338" y="120530"/>
                    <a:pt x="95623" y="119508"/>
                  </a:cubicBezTo>
                  <a:cubicBezTo>
                    <a:pt x="95112" y="118793"/>
                    <a:pt x="94294" y="118486"/>
                    <a:pt x="93374" y="118895"/>
                  </a:cubicBezTo>
                  <a:cubicBezTo>
                    <a:pt x="93169" y="118997"/>
                    <a:pt x="92965" y="119099"/>
                    <a:pt x="92761" y="119099"/>
                  </a:cubicBezTo>
                  <a:cubicBezTo>
                    <a:pt x="90819" y="119917"/>
                    <a:pt x="92454" y="122575"/>
                    <a:pt x="94294" y="121859"/>
                  </a:cubicBezTo>
                  <a:cubicBezTo>
                    <a:pt x="93476" y="122166"/>
                    <a:pt x="73238" y="95283"/>
                    <a:pt x="71193" y="92728"/>
                  </a:cubicBezTo>
                  <a:cubicBezTo>
                    <a:pt x="62914" y="82302"/>
                    <a:pt x="54737" y="71774"/>
                    <a:pt x="46764" y="61144"/>
                  </a:cubicBezTo>
                  <a:cubicBezTo>
                    <a:pt x="31739" y="41314"/>
                    <a:pt x="17326" y="21178"/>
                    <a:pt x="3221" y="837"/>
                  </a:cubicBezTo>
                  <a:cubicBezTo>
                    <a:pt x="1994" y="-1003"/>
                    <a:pt x="-868" y="531"/>
                    <a:pt x="257" y="2166"/>
                  </a:cubicBezTo>
                  <a:lnTo>
                    <a:pt x="257" y="21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5" name="任意多边形: 形状 834">
              <a:extLst>
                <a:ext uri="{FF2B5EF4-FFF2-40B4-BE49-F238E27FC236}">
                  <a16:creationId xmlns:a16="http://schemas.microsoft.com/office/drawing/2014/main" id="{610C4BD4-7A3A-488A-9345-1823D16A0BBE}"/>
                </a:ext>
              </a:extLst>
            </p:cNvPr>
            <p:cNvSpPr/>
            <p:nvPr/>
          </p:nvSpPr>
          <p:spPr>
            <a:xfrm>
              <a:off x="8460768" y="3526660"/>
              <a:ext cx="63381" cy="87149"/>
            </a:xfrm>
            <a:custGeom>
              <a:avLst/>
              <a:gdLst>
                <a:gd name="connsiteX0" fmla="*/ 300 w 81771"/>
                <a:gd name="connsiteY0" fmla="*/ 2153 h 112435"/>
                <a:gd name="connsiteX1" fmla="*/ 45274 w 81771"/>
                <a:gd name="connsiteY1" fmla="*/ 61642 h 112435"/>
                <a:gd name="connsiteX2" fmla="*/ 66535 w 81771"/>
                <a:gd name="connsiteY2" fmla="*/ 89036 h 112435"/>
                <a:gd name="connsiteX3" fmla="*/ 88000 w 81771"/>
                <a:gd name="connsiteY3" fmla="*/ 116225 h 112435"/>
                <a:gd name="connsiteX4" fmla="*/ 90351 w 81771"/>
                <a:gd name="connsiteY4" fmla="*/ 114078 h 112435"/>
                <a:gd name="connsiteX5" fmla="*/ 69805 w 81771"/>
                <a:gd name="connsiteY5" fmla="*/ 88116 h 112435"/>
                <a:gd name="connsiteX6" fmla="*/ 46194 w 81771"/>
                <a:gd name="connsiteY6" fmla="*/ 57758 h 112435"/>
                <a:gd name="connsiteX7" fmla="*/ 3059 w 81771"/>
                <a:gd name="connsiteY7" fmla="*/ 722 h 112435"/>
                <a:gd name="connsiteX8" fmla="*/ 300 w 81771"/>
                <a:gd name="connsiteY8" fmla="*/ 2153 h 112435"/>
                <a:gd name="connsiteX9" fmla="*/ 300 w 81771"/>
                <a:gd name="connsiteY9" fmla="*/ 2153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771" h="112435">
                  <a:moveTo>
                    <a:pt x="300" y="2153"/>
                  </a:moveTo>
                  <a:cubicBezTo>
                    <a:pt x="15121" y="22085"/>
                    <a:pt x="30146" y="41915"/>
                    <a:pt x="45274" y="61642"/>
                  </a:cubicBezTo>
                  <a:cubicBezTo>
                    <a:pt x="52327" y="70739"/>
                    <a:pt x="59380" y="79938"/>
                    <a:pt x="66535" y="89036"/>
                  </a:cubicBezTo>
                  <a:cubicBezTo>
                    <a:pt x="73485" y="97928"/>
                    <a:pt x="80129" y="108047"/>
                    <a:pt x="88000" y="116225"/>
                  </a:cubicBezTo>
                  <a:cubicBezTo>
                    <a:pt x="89431" y="117656"/>
                    <a:pt x="91782" y="115509"/>
                    <a:pt x="90351" y="114078"/>
                  </a:cubicBezTo>
                  <a:cubicBezTo>
                    <a:pt x="82787" y="106310"/>
                    <a:pt x="76449" y="96702"/>
                    <a:pt x="69805" y="88116"/>
                  </a:cubicBezTo>
                  <a:cubicBezTo>
                    <a:pt x="61935" y="77996"/>
                    <a:pt x="54064" y="67877"/>
                    <a:pt x="46194" y="57758"/>
                  </a:cubicBezTo>
                  <a:cubicBezTo>
                    <a:pt x="31680" y="38848"/>
                    <a:pt x="17267" y="19836"/>
                    <a:pt x="3059" y="722"/>
                  </a:cubicBezTo>
                  <a:cubicBezTo>
                    <a:pt x="1935" y="-913"/>
                    <a:pt x="-927" y="518"/>
                    <a:pt x="300" y="2153"/>
                  </a:cubicBezTo>
                  <a:lnTo>
                    <a:pt x="300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6" name="任意多边形: 形状 835">
              <a:extLst>
                <a:ext uri="{FF2B5EF4-FFF2-40B4-BE49-F238E27FC236}">
                  <a16:creationId xmlns:a16="http://schemas.microsoft.com/office/drawing/2014/main" id="{23CF4350-CD81-4459-9886-5EE145843C92}"/>
                </a:ext>
              </a:extLst>
            </p:cNvPr>
            <p:cNvSpPr/>
            <p:nvPr/>
          </p:nvSpPr>
          <p:spPr>
            <a:xfrm>
              <a:off x="8470914" y="3524751"/>
              <a:ext cx="55458" cy="71304"/>
            </a:xfrm>
            <a:custGeom>
              <a:avLst/>
              <a:gdLst>
                <a:gd name="connsiteX0" fmla="*/ 394 w 71550"/>
                <a:gd name="connsiteY0" fmla="*/ 2674 h 91992"/>
                <a:gd name="connsiteX1" fmla="*/ 77464 w 71550"/>
                <a:gd name="connsiteY1" fmla="*/ 99267 h 91992"/>
                <a:gd name="connsiteX2" fmla="*/ 80326 w 71550"/>
                <a:gd name="connsiteY2" fmla="*/ 97836 h 91992"/>
                <a:gd name="connsiteX3" fmla="*/ 2745 w 71550"/>
                <a:gd name="connsiteY3" fmla="*/ 528 h 91992"/>
                <a:gd name="connsiteX4" fmla="*/ 394 w 71550"/>
                <a:gd name="connsiteY4" fmla="*/ 2674 h 91992"/>
                <a:gd name="connsiteX5" fmla="*/ 394 w 71550"/>
                <a:gd name="connsiteY5" fmla="*/ 267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91992">
                  <a:moveTo>
                    <a:pt x="394" y="2674"/>
                  </a:moveTo>
                  <a:cubicBezTo>
                    <a:pt x="26970" y="34258"/>
                    <a:pt x="52625" y="66456"/>
                    <a:pt x="77464" y="99267"/>
                  </a:cubicBezTo>
                  <a:cubicBezTo>
                    <a:pt x="78690" y="100902"/>
                    <a:pt x="81552" y="99369"/>
                    <a:pt x="80326" y="97836"/>
                  </a:cubicBezTo>
                  <a:cubicBezTo>
                    <a:pt x="55385" y="64820"/>
                    <a:pt x="29525" y="32316"/>
                    <a:pt x="2745" y="528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7" name="任意多边形: 形状 836">
              <a:extLst>
                <a:ext uri="{FF2B5EF4-FFF2-40B4-BE49-F238E27FC236}">
                  <a16:creationId xmlns:a16="http://schemas.microsoft.com/office/drawing/2014/main" id="{E3EE1336-18A6-4348-8818-CB29D5A7DE03}"/>
                </a:ext>
              </a:extLst>
            </p:cNvPr>
            <p:cNvSpPr/>
            <p:nvPr/>
          </p:nvSpPr>
          <p:spPr>
            <a:xfrm>
              <a:off x="8490642" y="3529901"/>
              <a:ext cx="47536" cy="63381"/>
            </a:xfrm>
            <a:custGeom>
              <a:avLst/>
              <a:gdLst>
                <a:gd name="connsiteX0" fmla="*/ 394 w 61328"/>
                <a:gd name="connsiteY0" fmla="*/ 2674 h 81771"/>
                <a:gd name="connsiteX1" fmla="*/ 63869 w 61328"/>
                <a:gd name="connsiteY1" fmla="*/ 82708 h 81771"/>
                <a:gd name="connsiteX2" fmla="*/ 66220 w 61328"/>
                <a:gd name="connsiteY2" fmla="*/ 80561 h 81771"/>
                <a:gd name="connsiteX3" fmla="*/ 2745 w 61328"/>
                <a:gd name="connsiteY3" fmla="*/ 527 h 81771"/>
                <a:gd name="connsiteX4" fmla="*/ 394 w 61328"/>
                <a:gd name="connsiteY4" fmla="*/ 2674 h 81771"/>
                <a:gd name="connsiteX5" fmla="*/ 394 w 61328"/>
                <a:gd name="connsiteY5" fmla="*/ 2674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81771">
                  <a:moveTo>
                    <a:pt x="394" y="2674"/>
                  </a:moveTo>
                  <a:cubicBezTo>
                    <a:pt x="21552" y="29352"/>
                    <a:pt x="42711" y="56030"/>
                    <a:pt x="63869" y="82708"/>
                  </a:cubicBezTo>
                  <a:cubicBezTo>
                    <a:pt x="65096" y="84343"/>
                    <a:pt x="67447" y="82094"/>
                    <a:pt x="66220" y="80561"/>
                  </a:cubicBezTo>
                  <a:cubicBezTo>
                    <a:pt x="45062" y="53883"/>
                    <a:pt x="23903" y="27205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8" name="任意多边形: 形状 837">
              <a:extLst>
                <a:ext uri="{FF2B5EF4-FFF2-40B4-BE49-F238E27FC236}">
                  <a16:creationId xmlns:a16="http://schemas.microsoft.com/office/drawing/2014/main" id="{A4678760-297F-4920-B32C-EB8AA1EE227A}"/>
                </a:ext>
              </a:extLst>
            </p:cNvPr>
            <p:cNvSpPr/>
            <p:nvPr/>
          </p:nvSpPr>
          <p:spPr>
            <a:xfrm>
              <a:off x="8472309" y="3505222"/>
              <a:ext cx="102994" cy="47536"/>
            </a:xfrm>
            <a:custGeom>
              <a:avLst/>
              <a:gdLst>
                <a:gd name="connsiteX0" fmla="*/ 741 w 132878"/>
                <a:gd name="connsiteY0" fmla="*/ 2929 h 61328"/>
                <a:gd name="connsiteX1" fmla="*/ 134336 w 132878"/>
                <a:gd name="connsiteY1" fmla="*/ 69778 h 61328"/>
                <a:gd name="connsiteX2" fmla="*/ 135256 w 132878"/>
                <a:gd name="connsiteY2" fmla="*/ 66813 h 61328"/>
                <a:gd name="connsiteX3" fmla="*/ 2377 w 132878"/>
                <a:gd name="connsiteY3" fmla="*/ 272 h 61328"/>
                <a:gd name="connsiteX4" fmla="*/ 741 w 132878"/>
                <a:gd name="connsiteY4" fmla="*/ 2929 h 61328"/>
                <a:gd name="connsiteX5" fmla="*/ 741 w 132878"/>
                <a:gd name="connsiteY5" fmla="*/ 292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41" y="2929"/>
                  </a:moveTo>
                  <a:cubicBezTo>
                    <a:pt x="41832" y="30936"/>
                    <a:pt x="86704" y="53423"/>
                    <a:pt x="134336" y="69778"/>
                  </a:cubicBezTo>
                  <a:cubicBezTo>
                    <a:pt x="136278" y="70493"/>
                    <a:pt x="137198" y="67529"/>
                    <a:pt x="135256" y="66813"/>
                  </a:cubicBezTo>
                  <a:cubicBezTo>
                    <a:pt x="87930" y="50561"/>
                    <a:pt x="43263" y="28176"/>
                    <a:pt x="2377" y="272"/>
                  </a:cubicBezTo>
                  <a:cubicBezTo>
                    <a:pt x="639" y="-853"/>
                    <a:pt x="-996" y="1805"/>
                    <a:pt x="741" y="2929"/>
                  </a:cubicBezTo>
                  <a:lnTo>
                    <a:pt x="741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9" name="任意多边形: 形状 838">
              <a:extLst>
                <a:ext uri="{FF2B5EF4-FFF2-40B4-BE49-F238E27FC236}">
                  <a16:creationId xmlns:a16="http://schemas.microsoft.com/office/drawing/2014/main" id="{3A6EA66F-9D5D-4D0B-BFBA-AA81EACD08B7}"/>
                </a:ext>
              </a:extLst>
            </p:cNvPr>
            <p:cNvSpPr/>
            <p:nvPr/>
          </p:nvSpPr>
          <p:spPr>
            <a:xfrm>
              <a:off x="8499990" y="3502798"/>
              <a:ext cx="71304" cy="31691"/>
            </a:xfrm>
            <a:custGeom>
              <a:avLst/>
              <a:gdLst>
                <a:gd name="connsiteX0" fmla="*/ 804 w 91992"/>
                <a:gd name="connsiteY0" fmla="*/ 2888 h 40885"/>
                <a:gd name="connsiteX1" fmla="*/ 93308 w 91992"/>
                <a:gd name="connsiteY1" fmla="*/ 41729 h 40885"/>
                <a:gd name="connsiteX2" fmla="*/ 94228 w 91992"/>
                <a:gd name="connsiteY2" fmla="*/ 38765 h 40885"/>
                <a:gd name="connsiteX3" fmla="*/ 2541 w 91992"/>
                <a:gd name="connsiteY3" fmla="*/ 230 h 40885"/>
                <a:gd name="connsiteX4" fmla="*/ 804 w 91992"/>
                <a:gd name="connsiteY4" fmla="*/ 2888 h 40885"/>
                <a:gd name="connsiteX5" fmla="*/ 804 w 91992"/>
                <a:gd name="connsiteY5" fmla="*/ 288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40885">
                  <a:moveTo>
                    <a:pt x="804" y="2888"/>
                  </a:moveTo>
                  <a:cubicBezTo>
                    <a:pt x="30752" y="17709"/>
                    <a:pt x="61621" y="30690"/>
                    <a:pt x="93308" y="41729"/>
                  </a:cubicBezTo>
                  <a:cubicBezTo>
                    <a:pt x="95250" y="42445"/>
                    <a:pt x="96170" y="39480"/>
                    <a:pt x="94228" y="38765"/>
                  </a:cubicBezTo>
                  <a:cubicBezTo>
                    <a:pt x="62746" y="27828"/>
                    <a:pt x="32183" y="14949"/>
                    <a:pt x="2541" y="230"/>
                  </a:cubicBezTo>
                  <a:cubicBezTo>
                    <a:pt x="599" y="-792"/>
                    <a:pt x="-1036" y="1865"/>
                    <a:pt x="804" y="2888"/>
                  </a:cubicBezTo>
                  <a:lnTo>
                    <a:pt x="804" y="288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0" name="任意多边形: 形状 839">
              <a:extLst>
                <a:ext uri="{FF2B5EF4-FFF2-40B4-BE49-F238E27FC236}">
                  <a16:creationId xmlns:a16="http://schemas.microsoft.com/office/drawing/2014/main" id="{6E309620-C6F2-4AFD-BE76-10A2A1FC20BA}"/>
                </a:ext>
              </a:extLst>
            </p:cNvPr>
            <p:cNvSpPr/>
            <p:nvPr/>
          </p:nvSpPr>
          <p:spPr>
            <a:xfrm>
              <a:off x="8501539" y="3490073"/>
              <a:ext cx="79226" cy="31691"/>
            </a:xfrm>
            <a:custGeom>
              <a:avLst/>
              <a:gdLst>
                <a:gd name="connsiteX0" fmla="*/ 849 w 102214"/>
                <a:gd name="connsiteY0" fmla="*/ 2848 h 40885"/>
                <a:gd name="connsiteX1" fmla="*/ 102552 w 102214"/>
                <a:gd name="connsiteY1" fmla="*/ 41485 h 40885"/>
                <a:gd name="connsiteX2" fmla="*/ 103472 w 102214"/>
                <a:gd name="connsiteY2" fmla="*/ 38521 h 40885"/>
                <a:gd name="connsiteX3" fmla="*/ 2586 w 102214"/>
                <a:gd name="connsiteY3" fmla="*/ 191 h 40885"/>
                <a:gd name="connsiteX4" fmla="*/ 849 w 102214"/>
                <a:gd name="connsiteY4" fmla="*/ 2848 h 40885"/>
                <a:gd name="connsiteX5" fmla="*/ 849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49" y="2848"/>
                  </a:moveTo>
                  <a:cubicBezTo>
                    <a:pt x="33455" y="18487"/>
                    <a:pt x="67493" y="31468"/>
                    <a:pt x="102552" y="41485"/>
                  </a:cubicBezTo>
                  <a:cubicBezTo>
                    <a:pt x="104596" y="42099"/>
                    <a:pt x="105516" y="39134"/>
                    <a:pt x="103472" y="38521"/>
                  </a:cubicBezTo>
                  <a:cubicBezTo>
                    <a:pt x="68719" y="28504"/>
                    <a:pt x="34988" y="15727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1" name="任意多边形: 形状 840">
              <a:extLst>
                <a:ext uri="{FF2B5EF4-FFF2-40B4-BE49-F238E27FC236}">
                  <a16:creationId xmlns:a16="http://schemas.microsoft.com/office/drawing/2014/main" id="{B558D0C8-BC9B-4016-AD79-F09B8DC7B5E7}"/>
                </a:ext>
              </a:extLst>
            </p:cNvPr>
            <p:cNvSpPr/>
            <p:nvPr/>
          </p:nvSpPr>
          <p:spPr>
            <a:xfrm>
              <a:off x="8538623" y="3495127"/>
              <a:ext cx="39613" cy="15845"/>
            </a:xfrm>
            <a:custGeom>
              <a:avLst/>
              <a:gdLst>
                <a:gd name="connsiteX0" fmla="*/ 1148 w 51107"/>
                <a:gd name="connsiteY0" fmla="*/ 3075 h 20442"/>
                <a:gd name="connsiteX1" fmla="*/ 53176 w 51107"/>
                <a:gd name="connsiteY1" fmla="*/ 20451 h 20442"/>
                <a:gd name="connsiteX2" fmla="*/ 54095 w 51107"/>
                <a:gd name="connsiteY2" fmla="*/ 17487 h 20442"/>
                <a:gd name="connsiteX3" fmla="*/ 2068 w 51107"/>
                <a:gd name="connsiteY3" fmla="*/ 111 h 20442"/>
                <a:gd name="connsiteX4" fmla="*/ 1148 w 51107"/>
                <a:gd name="connsiteY4" fmla="*/ 3075 h 20442"/>
                <a:gd name="connsiteX5" fmla="*/ 1148 w 51107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8" y="3075"/>
                  </a:moveTo>
                  <a:cubicBezTo>
                    <a:pt x="18423" y="8901"/>
                    <a:pt x="35799" y="14625"/>
                    <a:pt x="53176" y="20451"/>
                  </a:cubicBezTo>
                  <a:cubicBezTo>
                    <a:pt x="55118" y="21167"/>
                    <a:pt x="56038" y="18100"/>
                    <a:pt x="54095" y="17487"/>
                  </a:cubicBezTo>
                  <a:cubicBezTo>
                    <a:pt x="36719" y="11661"/>
                    <a:pt x="19445" y="5937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2" name="任意多边形: 形状 841">
              <a:extLst>
                <a:ext uri="{FF2B5EF4-FFF2-40B4-BE49-F238E27FC236}">
                  <a16:creationId xmlns:a16="http://schemas.microsoft.com/office/drawing/2014/main" id="{49A410B9-1FDD-45D3-B7DC-2FB0F67D116C}"/>
                </a:ext>
              </a:extLst>
            </p:cNvPr>
            <p:cNvSpPr/>
            <p:nvPr/>
          </p:nvSpPr>
          <p:spPr>
            <a:xfrm>
              <a:off x="8556188" y="3487680"/>
              <a:ext cx="31691" cy="7922"/>
            </a:xfrm>
            <a:custGeom>
              <a:avLst/>
              <a:gdLst>
                <a:gd name="connsiteX0" fmla="*/ 1075 w 40885"/>
                <a:gd name="connsiteY0" fmla="*/ 3075 h 10221"/>
                <a:gd name="connsiteX1" fmla="*/ 41246 w 40885"/>
                <a:gd name="connsiteY1" fmla="*/ 11252 h 10221"/>
                <a:gd name="connsiteX2" fmla="*/ 41348 w 40885"/>
                <a:gd name="connsiteY2" fmla="*/ 8185 h 10221"/>
                <a:gd name="connsiteX3" fmla="*/ 1995 w 40885"/>
                <a:gd name="connsiteY3" fmla="*/ 111 h 10221"/>
                <a:gd name="connsiteX4" fmla="*/ 1075 w 40885"/>
                <a:gd name="connsiteY4" fmla="*/ 3075 h 10221"/>
                <a:gd name="connsiteX5" fmla="*/ 1075 w 40885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075" y="3075"/>
                  </a:moveTo>
                  <a:cubicBezTo>
                    <a:pt x="14057" y="7674"/>
                    <a:pt x="27447" y="10332"/>
                    <a:pt x="41246" y="11252"/>
                  </a:cubicBezTo>
                  <a:cubicBezTo>
                    <a:pt x="43392" y="11354"/>
                    <a:pt x="43392" y="8288"/>
                    <a:pt x="41348" y="8185"/>
                  </a:cubicBezTo>
                  <a:cubicBezTo>
                    <a:pt x="27753" y="7368"/>
                    <a:pt x="14670" y="4608"/>
                    <a:pt x="1995" y="111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3" name="任意多边形: 形状 842">
              <a:extLst>
                <a:ext uri="{FF2B5EF4-FFF2-40B4-BE49-F238E27FC236}">
                  <a16:creationId xmlns:a16="http://schemas.microsoft.com/office/drawing/2014/main" id="{A691FCE7-1C2F-429B-AC75-0577EFFEA523}"/>
                </a:ext>
              </a:extLst>
            </p:cNvPr>
            <p:cNvSpPr/>
            <p:nvPr/>
          </p:nvSpPr>
          <p:spPr>
            <a:xfrm>
              <a:off x="8568492" y="3478193"/>
              <a:ext cx="31691" cy="7922"/>
            </a:xfrm>
            <a:custGeom>
              <a:avLst/>
              <a:gdLst>
                <a:gd name="connsiteX0" fmla="*/ 1148 w 40885"/>
                <a:gd name="connsiteY0" fmla="*/ 3047 h 10221"/>
                <a:gd name="connsiteX1" fmla="*/ 46736 w 40885"/>
                <a:gd name="connsiteY1" fmla="*/ 16744 h 10221"/>
                <a:gd name="connsiteX2" fmla="*/ 47656 w 40885"/>
                <a:gd name="connsiteY2" fmla="*/ 13780 h 10221"/>
                <a:gd name="connsiteX3" fmla="*/ 2068 w 40885"/>
                <a:gd name="connsiteY3" fmla="*/ 83 h 10221"/>
                <a:gd name="connsiteX4" fmla="*/ 1148 w 40885"/>
                <a:gd name="connsiteY4" fmla="*/ 3047 h 10221"/>
                <a:gd name="connsiteX5" fmla="*/ 1148 w 40885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148" y="3047"/>
                  </a:moveTo>
                  <a:cubicBezTo>
                    <a:pt x="16378" y="7647"/>
                    <a:pt x="31506" y="12247"/>
                    <a:pt x="46736" y="16744"/>
                  </a:cubicBezTo>
                  <a:cubicBezTo>
                    <a:pt x="48780" y="17357"/>
                    <a:pt x="49700" y="14393"/>
                    <a:pt x="47656" y="13780"/>
                  </a:cubicBezTo>
                  <a:cubicBezTo>
                    <a:pt x="32426" y="9180"/>
                    <a:pt x="17298" y="468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4" name="任意多边形: 形状 843">
              <a:extLst>
                <a:ext uri="{FF2B5EF4-FFF2-40B4-BE49-F238E27FC236}">
                  <a16:creationId xmlns:a16="http://schemas.microsoft.com/office/drawing/2014/main" id="{BB4DF2F5-9285-41A9-8AD3-1B651227D05F}"/>
                </a:ext>
              </a:extLst>
            </p:cNvPr>
            <p:cNvSpPr/>
            <p:nvPr/>
          </p:nvSpPr>
          <p:spPr>
            <a:xfrm>
              <a:off x="7866186" y="3718516"/>
              <a:ext cx="39613" cy="253524"/>
            </a:xfrm>
            <a:custGeom>
              <a:avLst/>
              <a:gdLst>
                <a:gd name="connsiteX0" fmla="*/ 52720 w 51107"/>
                <a:gd name="connsiteY0" fmla="*/ 328461 h 327086"/>
                <a:gd name="connsiteX1" fmla="*/ 12346 w 51107"/>
                <a:gd name="connsiteY1" fmla="*/ 73334 h 327086"/>
                <a:gd name="connsiteX2" fmla="*/ 38104 w 51107"/>
                <a:gd name="connsiteY2" fmla="*/ 2397 h 327086"/>
                <a:gd name="connsiteX3" fmla="*/ 35344 w 51107"/>
                <a:gd name="connsiteY3" fmla="*/ 761 h 327086"/>
                <a:gd name="connsiteX4" fmla="*/ 17559 w 51107"/>
                <a:gd name="connsiteY4" fmla="*/ 260590 h 327086"/>
                <a:gd name="connsiteX5" fmla="*/ 49858 w 51107"/>
                <a:gd name="connsiteY5" fmla="*/ 329994 h 327086"/>
                <a:gd name="connsiteX6" fmla="*/ 52720 w 51107"/>
                <a:gd name="connsiteY6" fmla="*/ 328461 h 327086"/>
                <a:gd name="connsiteX7" fmla="*/ 52720 w 51107"/>
                <a:gd name="connsiteY7" fmla="*/ 328461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327086">
                  <a:moveTo>
                    <a:pt x="52720" y="328461"/>
                  </a:moveTo>
                  <a:cubicBezTo>
                    <a:pt x="6008" y="252004"/>
                    <a:pt x="-8097" y="159296"/>
                    <a:pt x="12346" y="73334"/>
                  </a:cubicBezTo>
                  <a:cubicBezTo>
                    <a:pt x="18172" y="48802"/>
                    <a:pt x="26860" y="25088"/>
                    <a:pt x="38104" y="2397"/>
                  </a:cubicBezTo>
                  <a:cubicBezTo>
                    <a:pt x="39024" y="557"/>
                    <a:pt x="36162" y="-976"/>
                    <a:pt x="35344" y="761"/>
                  </a:cubicBezTo>
                  <a:cubicBezTo>
                    <a:pt x="-4826" y="81409"/>
                    <a:pt x="-10755" y="175650"/>
                    <a:pt x="17559" y="260590"/>
                  </a:cubicBezTo>
                  <a:cubicBezTo>
                    <a:pt x="25633" y="284815"/>
                    <a:pt x="36468" y="308018"/>
                    <a:pt x="49858" y="329994"/>
                  </a:cubicBezTo>
                  <a:cubicBezTo>
                    <a:pt x="50983" y="331629"/>
                    <a:pt x="53845" y="330198"/>
                    <a:pt x="52720" y="328461"/>
                  </a:cubicBezTo>
                  <a:lnTo>
                    <a:pt x="52720" y="328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5" name="任意多边形: 形状 844">
              <a:extLst>
                <a:ext uri="{FF2B5EF4-FFF2-40B4-BE49-F238E27FC236}">
                  <a16:creationId xmlns:a16="http://schemas.microsoft.com/office/drawing/2014/main" id="{490C50BD-BE32-4E67-88FB-A592B784187D}"/>
                </a:ext>
              </a:extLst>
            </p:cNvPr>
            <p:cNvSpPr/>
            <p:nvPr/>
          </p:nvSpPr>
          <p:spPr>
            <a:xfrm>
              <a:off x="7855642" y="3787595"/>
              <a:ext cx="7922" cy="110917"/>
            </a:xfrm>
            <a:custGeom>
              <a:avLst/>
              <a:gdLst>
                <a:gd name="connsiteX0" fmla="*/ 12662 w 10221"/>
                <a:gd name="connsiteY0" fmla="*/ 141518 h 143100"/>
                <a:gd name="connsiteX1" fmla="*/ 8471 w 10221"/>
                <a:gd name="connsiteY1" fmla="*/ 1995 h 143100"/>
                <a:gd name="connsiteX2" fmla="*/ 5302 w 10221"/>
                <a:gd name="connsiteY2" fmla="*/ 1076 h 143100"/>
                <a:gd name="connsiteX3" fmla="*/ 9493 w 10221"/>
                <a:gd name="connsiteY3" fmla="*/ 142132 h 143100"/>
                <a:gd name="connsiteX4" fmla="*/ 12662 w 10221"/>
                <a:gd name="connsiteY4" fmla="*/ 141518 h 143100"/>
                <a:gd name="connsiteX5" fmla="*/ 12662 w 10221"/>
                <a:gd name="connsiteY5" fmla="*/ 141518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43100">
                  <a:moveTo>
                    <a:pt x="12662" y="141518"/>
                  </a:moveTo>
                  <a:cubicBezTo>
                    <a:pt x="1725" y="95624"/>
                    <a:pt x="294" y="48299"/>
                    <a:pt x="8471" y="1995"/>
                  </a:cubicBezTo>
                  <a:cubicBezTo>
                    <a:pt x="8778" y="53"/>
                    <a:pt x="5711" y="-867"/>
                    <a:pt x="5302" y="1076"/>
                  </a:cubicBezTo>
                  <a:cubicBezTo>
                    <a:pt x="-2977" y="47992"/>
                    <a:pt x="-1546" y="95828"/>
                    <a:pt x="9493" y="142132"/>
                  </a:cubicBezTo>
                  <a:cubicBezTo>
                    <a:pt x="9902" y="144176"/>
                    <a:pt x="13071" y="143460"/>
                    <a:pt x="12662" y="141518"/>
                  </a:cubicBezTo>
                  <a:lnTo>
                    <a:pt x="12662" y="1415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6" name="任意多边形: 形状 845">
              <a:extLst>
                <a:ext uri="{FF2B5EF4-FFF2-40B4-BE49-F238E27FC236}">
                  <a16:creationId xmlns:a16="http://schemas.microsoft.com/office/drawing/2014/main" id="{9CFE05F8-8F5D-4115-89C2-54FE3699DF54}"/>
                </a:ext>
              </a:extLst>
            </p:cNvPr>
            <p:cNvSpPr/>
            <p:nvPr/>
          </p:nvSpPr>
          <p:spPr>
            <a:xfrm>
              <a:off x="7843190" y="3810051"/>
              <a:ext cx="7922" cy="71304"/>
            </a:xfrm>
            <a:custGeom>
              <a:avLst/>
              <a:gdLst>
                <a:gd name="connsiteX0" fmla="*/ 12986 w 10221"/>
                <a:gd name="connsiteY0" fmla="*/ 98952 h 91992"/>
                <a:gd name="connsiteX1" fmla="*/ 9919 w 10221"/>
                <a:gd name="connsiteY1" fmla="*/ 1951 h 91992"/>
                <a:gd name="connsiteX2" fmla="*/ 6751 w 10221"/>
                <a:gd name="connsiteY2" fmla="*/ 1031 h 91992"/>
                <a:gd name="connsiteX3" fmla="*/ 9715 w 10221"/>
                <a:gd name="connsiteY3" fmla="*/ 99566 h 91992"/>
                <a:gd name="connsiteX4" fmla="*/ 12986 w 10221"/>
                <a:gd name="connsiteY4" fmla="*/ 98952 h 91992"/>
                <a:gd name="connsiteX5" fmla="*/ 12986 w 10221"/>
                <a:gd name="connsiteY5" fmla="*/ 9895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12986" y="98952"/>
                  </a:moveTo>
                  <a:cubicBezTo>
                    <a:pt x="1231" y="67675"/>
                    <a:pt x="209" y="33842"/>
                    <a:pt x="9919" y="1951"/>
                  </a:cubicBezTo>
                  <a:cubicBezTo>
                    <a:pt x="10533" y="9"/>
                    <a:pt x="7364" y="-809"/>
                    <a:pt x="6751" y="1031"/>
                  </a:cubicBezTo>
                  <a:cubicBezTo>
                    <a:pt x="-3164" y="33433"/>
                    <a:pt x="-2142" y="67777"/>
                    <a:pt x="9715" y="99566"/>
                  </a:cubicBezTo>
                  <a:cubicBezTo>
                    <a:pt x="10430" y="101508"/>
                    <a:pt x="13701" y="100792"/>
                    <a:pt x="12986" y="98952"/>
                  </a:cubicBezTo>
                  <a:lnTo>
                    <a:pt x="12986" y="9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7" name="任意多边形: 形状 846">
              <a:extLst>
                <a:ext uri="{FF2B5EF4-FFF2-40B4-BE49-F238E27FC236}">
                  <a16:creationId xmlns:a16="http://schemas.microsoft.com/office/drawing/2014/main" id="{9EFD6672-88CA-413F-B981-D46F3B899439}"/>
                </a:ext>
              </a:extLst>
            </p:cNvPr>
            <p:cNvSpPr/>
            <p:nvPr/>
          </p:nvSpPr>
          <p:spPr>
            <a:xfrm>
              <a:off x="8319936" y="3583881"/>
              <a:ext cx="126762" cy="134685"/>
            </a:xfrm>
            <a:custGeom>
              <a:avLst/>
              <a:gdLst>
                <a:gd name="connsiteX0" fmla="*/ 1075 w 163543"/>
                <a:gd name="connsiteY0" fmla="*/ 3047 h 173764"/>
                <a:gd name="connsiteX1" fmla="*/ 167072 w 163543"/>
                <a:gd name="connsiteY1" fmla="*/ 182740 h 173764"/>
                <a:gd name="connsiteX2" fmla="*/ 170240 w 163543"/>
                <a:gd name="connsiteY2" fmla="*/ 182025 h 173764"/>
                <a:gd name="connsiteX3" fmla="*/ 1995 w 163543"/>
                <a:gd name="connsiteY3" fmla="*/ 83 h 173764"/>
                <a:gd name="connsiteX4" fmla="*/ 1075 w 163543"/>
                <a:gd name="connsiteY4" fmla="*/ 3047 h 173764"/>
                <a:gd name="connsiteX5" fmla="*/ 1075 w 163543"/>
                <a:gd name="connsiteY5" fmla="*/ 304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173764">
                  <a:moveTo>
                    <a:pt x="1075" y="3047"/>
                  </a:moveTo>
                  <a:cubicBezTo>
                    <a:pt x="87447" y="29112"/>
                    <a:pt x="142029" y="103626"/>
                    <a:pt x="167072" y="182740"/>
                  </a:cubicBezTo>
                  <a:cubicBezTo>
                    <a:pt x="167685" y="184682"/>
                    <a:pt x="170854" y="183967"/>
                    <a:pt x="170240" y="182025"/>
                  </a:cubicBezTo>
                  <a:cubicBezTo>
                    <a:pt x="144891" y="101787"/>
                    <a:pt x="89593" y="26455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8" name="任意多边形: 形状 847">
              <a:extLst>
                <a:ext uri="{FF2B5EF4-FFF2-40B4-BE49-F238E27FC236}">
                  <a16:creationId xmlns:a16="http://schemas.microsoft.com/office/drawing/2014/main" id="{69D73585-390B-48F5-9245-52003C469937}"/>
                </a:ext>
              </a:extLst>
            </p:cNvPr>
            <p:cNvSpPr/>
            <p:nvPr/>
          </p:nvSpPr>
          <p:spPr>
            <a:xfrm>
              <a:off x="8330332" y="3574370"/>
              <a:ext cx="110917" cy="79226"/>
            </a:xfrm>
            <a:custGeom>
              <a:avLst/>
              <a:gdLst>
                <a:gd name="connsiteX0" fmla="*/ 849 w 143100"/>
                <a:gd name="connsiteY0" fmla="*/ 2848 h 102214"/>
                <a:gd name="connsiteX1" fmla="*/ 147322 w 143100"/>
                <a:gd name="connsiteY1" fmla="*/ 106698 h 102214"/>
                <a:gd name="connsiteX2" fmla="*/ 149673 w 143100"/>
                <a:gd name="connsiteY2" fmla="*/ 104552 h 102214"/>
                <a:gd name="connsiteX3" fmla="*/ 2586 w 143100"/>
                <a:gd name="connsiteY3" fmla="*/ 191 h 102214"/>
                <a:gd name="connsiteX4" fmla="*/ 849 w 143100"/>
                <a:gd name="connsiteY4" fmla="*/ 2848 h 102214"/>
                <a:gd name="connsiteX5" fmla="*/ 849 w 143100"/>
                <a:gd name="connsiteY5" fmla="*/ 284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02214">
                  <a:moveTo>
                    <a:pt x="849" y="2848"/>
                  </a:moveTo>
                  <a:cubicBezTo>
                    <a:pt x="56862" y="27380"/>
                    <a:pt x="106743" y="62746"/>
                    <a:pt x="147322" y="106698"/>
                  </a:cubicBezTo>
                  <a:cubicBezTo>
                    <a:pt x="148753" y="108231"/>
                    <a:pt x="151104" y="106085"/>
                    <a:pt x="149673" y="104552"/>
                  </a:cubicBezTo>
                  <a:cubicBezTo>
                    <a:pt x="108992" y="60395"/>
                    <a:pt x="58804" y="24824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9" name="任意多边形: 形状 848">
              <a:extLst>
                <a:ext uri="{FF2B5EF4-FFF2-40B4-BE49-F238E27FC236}">
                  <a16:creationId xmlns:a16="http://schemas.microsoft.com/office/drawing/2014/main" id="{4DD8B7C8-0426-4493-AAF6-6E00F81C190D}"/>
                </a:ext>
              </a:extLst>
            </p:cNvPr>
            <p:cNvSpPr/>
            <p:nvPr/>
          </p:nvSpPr>
          <p:spPr>
            <a:xfrm>
              <a:off x="8249600" y="3475658"/>
              <a:ext cx="126762" cy="55458"/>
            </a:xfrm>
            <a:custGeom>
              <a:avLst/>
              <a:gdLst>
                <a:gd name="connsiteX0" fmla="*/ 1155 w 163543"/>
                <a:gd name="connsiteY0" fmla="*/ 3047 h 71550"/>
                <a:gd name="connsiteX1" fmla="*/ 169400 w 163543"/>
                <a:gd name="connsiteY1" fmla="*/ 77459 h 71550"/>
                <a:gd name="connsiteX2" fmla="*/ 171751 w 163543"/>
                <a:gd name="connsiteY2" fmla="*/ 75313 h 71550"/>
                <a:gd name="connsiteX3" fmla="*/ 1972 w 163543"/>
                <a:gd name="connsiteY3" fmla="*/ 83 h 71550"/>
                <a:gd name="connsiteX4" fmla="*/ 1155 w 163543"/>
                <a:gd name="connsiteY4" fmla="*/ 3047 h 71550"/>
                <a:gd name="connsiteX5" fmla="*/ 1155 w 163543"/>
                <a:gd name="connsiteY5" fmla="*/ 3047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71550">
                  <a:moveTo>
                    <a:pt x="1155" y="3047"/>
                  </a:moveTo>
                  <a:cubicBezTo>
                    <a:pt x="60644" y="19504"/>
                    <a:pt x="122585" y="37085"/>
                    <a:pt x="169400" y="77459"/>
                  </a:cubicBezTo>
                  <a:cubicBezTo>
                    <a:pt x="170933" y="78788"/>
                    <a:pt x="173284" y="76642"/>
                    <a:pt x="171751" y="75313"/>
                  </a:cubicBezTo>
                  <a:cubicBezTo>
                    <a:pt x="124425" y="34632"/>
                    <a:pt x="62177" y="16744"/>
                    <a:pt x="1972" y="83"/>
                  </a:cubicBezTo>
                  <a:cubicBezTo>
                    <a:pt x="30" y="-530"/>
                    <a:pt x="-890" y="2434"/>
                    <a:pt x="1155" y="3047"/>
                  </a:cubicBezTo>
                  <a:lnTo>
                    <a:pt x="115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0" name="任意多边形: 形状 849">
              <a:extLst>
                <a:ext uri="{FF2B5EF4-FFF2-40B4-BE49-F238E27FC236}">
                  <a16:creationId xmlns:a16="http://schemas.microsoft.com/office/drawing/2014/main" id="{6D66FB98-EE8E-4F2E-B4C9-0DAE36175101}"/>
                </a:ext>
              </a:extLst>
            </p:cNvPr>
            <p:cNvSpPr/>
            <p:nvPr/>
          </p:nvSpPr>
          <p:spPr>
            <a:xfrm>
              <a:off x="8254522" y="3464046"/>
              <a:ext cx="126762" cy="47536"/>
            </a:xfrm>
            <a:custGeom>
              <a:avLst/>
              <a:gdLst>
                <a:gd name="connsiteX0" fmla="*/ 1142 w 163543"/>
                <a:gd name="connsiteY0" fmla="*/ 3003 h 61328"/>
                <a:gd name="connsiteX1" fmla="*/ 161210 w 163543"/>
                <a:gd name="connsiteY1" fmla="*/ 65149 h 61328"/>
                <a:gd name="connsiteX2" fmla="*/ 162948 w 163543"/>
                <a:gd name="connsiteY2" fmla="*/ 62492 h 61328"/>
                <a:gd name="connsiteX3" fmla="*/ 2164 w 163543"/>
                <a:gd name="connsiteY3" fmla="*/ 39 h 61328"/>
                <a:gd name="connsiteX4" fmla="*/ 1142 w 163543"/>
                <a:gd name="connsiteY4" fmla="*/ 3003 h 61328"/>
                <a:gd name="connsiteX5" fmla="*/ 1142 w 163543"/>
                <a:gd name="connsiteY5" fmla="*/ 300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61328">
                  <a:moveTo>
                    <a:pt x="1142" y="3003"/>
                  </a:moveTo>
                  <a:cubicBezTo>
                    <a:pt x="57871" y="14962"/>
                    <a:pt x="111943" y="35916"/>
                    <a:pt x="161210" y="65149"/>
                  </a:cubicBezTo>
                  <a:cubicBezTo>
                    <a:pt x="162948" y="66171"/>
                    <a:pt x="164685" y="63514"/>
                    <a:pt x="162948" y="62492"/>
                  </a:cubicBezTo>
                  <a:cubicBezTo>
                    <a:pt x="113476" y="33258"/>
                    <a:pt x="59098" y="12100"/>
                    <a:pt x="2164" y="39"/>
                  </a:cubicBezTo>
                  <a:cubicBezTo>
                    <a:pt x="18" y="-370"/>
                    <a:pt x="-902" y="2594"/>
                    <a:pt x="1142" y="3003"/>
                  </a:cubicBezTo>
                  <a:lnTo>
                    <a:pt x="1142" y="30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1" name="任意多边形: 形状 850">
              <a:extLst>
                <a:ext uri="{FF2B5EF4-FFF2-40B4-BE49-F238E27FC236}">
                  <a16:creationId xmlns:a16="http://schemas.microsoft.com/office/drawing/2014/main" id="{DF0EFC76-9F4F-4430-8A9D-4F012AD61BE7}"/>
                </a:ext>
              </a:extLst>
            </p:cNvPr>
            <p:cNvSpPr/>
            <p:nvPr/>
          </p:nvSpPr>
          <p:spPr>
            <a:xfrm>
              <a:off x="8275455" y="3456821"/>
              <a:ext cx="110917" cy="39613"/>
            </a:xfrm>
            <a:custGeom>
              <a:avLst/>
              <a:gdLst>
                <a:gd name="connsiteX0" fmla="*/ 1120 w 143100"/>
                <a:gd name="connsiteY0" fmla="*/ 3023 h 51107"/>
                <a:gd name="connsiteX1" fmla="*/ 142892 w 143100"/>
                <a:gd name="connsiteY1" fmla="*/ 60877 h 51107"/>
                <a:gd name="connsiteX2" fmla="*/ 144629 w 143100"/>
                <a:gd name="connsiteY2" fmla="*/ 58219 h 51107"/>
                <a:gd name="connsiteX3" fmla="*/ 2040 w 143100"/>
                <a:gd name="connsiteY3" fmla="*/ 59 h 51107"/>
                <a:gd name="connsiteX4" fmla="*/ 1120 w 143100"/>
                <a:gd name="connsiteY4" fmla="*/ 3023 h 51107"/>
                <a:gd name="connsiteX5" fmla="*/ 1120 w 143100"/>
                <a:gd name="connsiteY5" fmla="*/ 302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51107">
                  <a:moveTo>
                    <a:pt x="1120" y="3023"/>
                  </a:moveTo>
                  <a:cubicBezTo>
                    <a:pt x="51205" y="15391"/>
                    <a:pt x="99042" y="34914"/>
                    <a:pt x="142892" y="60877"/>
                  </a:cubicBezTo>
                  <a:cubicBezTo>
                    <a:pt x="144731" y="61899"/>
                    <a:pt x="146367" y="59241"/>
                    <a:pt x="144629" y="58219"/>
                  </a:cubicBezTo>
                  <a:cubicBezTo>
                    <a:pt x="100472" y="32052"/>
                    <a:pt x="52432" y="12427"/>
                    <a:pt x="2040" y="59"/>
                  </a:cubicBezTo>
                  <a:cubicBezTo>
                    <a:pt x="98" y="-452"/>
                    <a:pt x="-924" y="2512"/>
                    <a:pt x="1120" y="3023"/>
                  </a:cubicBezTo>
                  <a:lnTo>
                    <a:pt x="112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2" name="任意多边形: 形状 851">
              <a:extLst>
                <a:ext uri="{FF2B5EF4-FFF2-40B4-BE49-F238E27FC236}">
                  <a16:creationId xmlns:a16="http://schemas.microsoft.com/office/drawing/2014/main" id="{D823EDA1-E346-4B47-9E0F-966E717C1A70}"/>
                </a:ext>
              </a:extLst>
            </p:cNvPr>
            <p:cNvSpPr/>
            <p:nvPr/>
          </p:nvSpPr>
          <p:spPr>
            <a:xfrm>
              <a:off x="8300055" y="3449152"/>
              <a:ext cx="87149" cy="39613"/>
            </a:xfrm>
            <a:custGeom>
              <a:avLst/>
              <a:gdLst>
                <a:gd name="connsiteX0" fmla="*/ 1070 w 112435"/>
                <a:gd name="connsiteY0" fmla="*/ 3106 h 51107"/>
                <a:gd name="connsiteX1" fmla="*/ 113914 w 112435"/>
                <a:gd name="connsiteY1" fmla="*/ 52066 h 51107"/>
                <a:gd name="connsiteX2" fmla="*/ 115652 w 112435"/>
                <a:gd name="connsiteY2" fmla="*/ 49409 h 51107"/>
                <a:gd name="connsiteX3" fmla="*/ 2092 w 112435"/>
                <a:gd name="connsiteY3" fmla="*/ 141 h 51107"/>
                <a:gd name="connsiteX4" fmla="*/ 1070 w 112435"/>
                <a:gd name="connsiteY4" fmla="*/ 3106 h 51107"/>
                <a:gd name="connsiteX5" fmla="*/ 1070 w 112435"/>
                <a:gd name="connsiteY5" fmla="*/ 310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51107">
                  <a:moveTo>
                    <a:pt x="1070" y="3106"/>
                  </a:moveTo>
                  <a:cubicBezTo>
                    <a:pt x="39604" y="17415"/>
                    <a:pt x="77219" y="33770"/>
                    <a:pt x="113914" y="52066"/>
                  </a:cubicBezTo>
                  <a:cubicBezTo>
                    <a:pt x="115754" y="52986"/>
                    <a:pt x="117492" y="50329"/>
                    <a:pt x="115652" y="49409"/>
                  </a:cubicBezTo>
                  <a:cubicBezTo>
                    <a:pt x="78753" y="31010"/>
                    <a:pt x="40933" y="14553"/>
                    <a:pt x="2092" y="141"/>
                  </a:cubicBezTo>
                  <a:cubicBezTo>
                    <a:pt x="47" y="-676"/>
                    <a:pt x="-872" y="2288"/>
                    <a:pt x="1070" y="3106"/>
                  </a:cubicBezTo>
                  <a:lnTo>
                    <a:pt x="1070" y="31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3" name="任意多边形: 形状 852">
              <a:extLst>
                <a:ext uri="{FF2B5EF4-FFF2-40B4-BE49-F238E27FC236}">
                  <a16:creationId xmlns:a16="http://schemas.microsoft.com/office/drawing/2014/main" id="{002070CC-1BEE-4778-AE77-4F0A468F1245}"/>
                </a:ext>
              </a:extLst>
            </p:cNvPr>
            <p:cNvSpPr/>
            <p:nvPr/>
          </p:nvSpPr>
          <p:spPr>
            <a:xfrm>
              <a:off x="8334293" y="3448112"/>
              <a:ext cx="55458" cy="23768"/>
            </a:xfrm>
            <a:custGeom>
              <a:avLst/>
              <a:gdLst>
                <a:gd name="connsiteX0" fmla="*/ 849 w 71550"/>
                <a:gd name="connsiteY0" fmla="*/ 2812 h 30664"/>
                <a:gd name="connsiteX1" fmla="*/ 73728 w 71550"/>
                <a:gd name="connsiteY1" fmla="*/ 40325 h 30664"/>
                <a:gd name="connsiteX2" fmla="*/ 75465 w 71550"/>
                <a:gd name="connsiteY2" fmla="*/ 37667 h 30664"/>
                <a:gd name="connsiteX3" fmla="*/ 2586 w 71550"/>
                <a:gd name="connsiteY3" fmla="*/ 154 h 30664"/>
                <a:gd name="connsiteX4" fmla="*/ 849 w 71550"/>
                <a:gd name="connsiteY4" fmla="*/ 2812 h 30664"/>
                <a:gd name="connsiteX5" fmla="*/ 849 w 71550"/>
                <a:gd name="connsiteY5" fmla="*/ 281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849" y="2812"/>
                  </a:moveTo>
                  <a:cubicBezTo>
                    <a:pt x="25994" y="13851"/>
                    <a:pt x="50321" y="26321"/>
                    <a:pt x="73728" y="40325"/>
                  </a:cubicBezTo>
                  <a:cubicBezTo>
                    <a:pt x="75465" y="41449"/>
                    <a:pt x="77203" y="38689"/>
                    <a:pt x="75465" y="37667"/>
                  </a:cubicBezTo>
                  <a:cubicBezTo>
                    <a:pt x="52058" y="23664"/>
                    <a:pt x="27731" y="11091"/>
                    <a:pt x="2586" y="154"/>
                  </a:cubicBezTo>
                  <a:cubicBezTo>
                    <a:pt x="644" y="-663"/>
                    <a:pt x="-1093" y="1994"/>
                    <a:pt x="849" y="2812"/>
                  </a:cubicBezTo>
                  <a:lnTo>
                    <a:pt x="849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4" name="任意多边形: 形状 853">
              <a:extLst>
                <a:ext uri="{FF2B5EF4-FFF2-40B4-BE49-F238E27FC236}">
                  <a16:creationId xmlns:a16="http://schemas.microsoft.com/office/drawing/2014/main" id="{BD1AE8B3-24CB-40F3-889F-89968F4FA9D5}"/>
                </a:ext>
              </a:extLst>
            </p:cNvPr>
            <p:cNvSpPr/>
            <p:nvPr/>
          </p:nvSpPr>
          <p:spPr>
            <a:xfrm>
              <a:off x="8573144" y="3210337"/>
              <a:ext cx="79226" cy="118840"/>
            </a:xfrm>
            <a:custGeom>
              <a:avLst/>
              <a:gdLst>
                <a:gd name="connsiteX0" fmla="*/ 257 w 102214"/>
                <a:gd name="connsiteY0" fmla="*/ 2219 h 153321"/>
                <a:gd name="connsiteX1" fmla="*/ 103187 w 102214"/>
                <a:gd name="connsiteY1" fmla="*/ 158812 h 153321"/>
                <a:gd name="connsiteX2" fmla="*/ 106049 w 102214"/>
                <a:gd name="connsiteY2" fmla="*/ 157381 h 153321"/>
                <a:gd name="connsiteX3" fmla="*/ 3221 w 102214"/>
                <a:gd name="connsiteY3" fmla="*/ 789 h 153321"/>
                <a:gd name="connsiteX4" fmla="*/ 257 w 102214"/>
                <a:gd name="connsiteY4" fmla="*/ 2219 h 153321"/>
                <a:gd name="connsiteX5" fmla="*/ 257 w 102214"/>
                <a:gd name="connsiteY5" fmla="*/ 2219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19"/>
                  </a:moveTo>
                  <a:cubicBezTo>
                    <a:pt x="34601" y="54451"/>
                    <a:pt x="68842" y="106581"/>
                    <a:pt x="103187" y="158812"/>
                  </a:cubicBezTo>
                  <a:cubicBezTo>
                    <a:pt x="104311" y="160550"/>
                    <a:pt x="107173" y="159016"/>
                    <a:pt x="106049" y="157381"/>
                  </a:cubicBezTo>
                  <a:cubicBezTo>
                    <a:pt x="71807" y="105149"/>
                    <a:pt x="37463" y="53020"/>
                    <a:pt x="3221" y="789"/>
                  </a:cubicBezTo>
                  <a:cubicBezTo>
                    <a:pt x="1994" y="-949"/>
                    <a:pt x="-868" y="482"/>
                    <a:pt x="257" y="2219"/>
                  </a:cubicBezTo>
                  <a:lnTo>
                    <a:pt x="257" y="22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5" name="任意多边形: 形状 854">
              <a:extLst>
                <a:ext uri="{FF2B5EF4-FFF2-40B4-BE49-F238E27FC236}">
                  <a16:creationId xmlns:a16="http://schemas.microsoft.com/office/drawing/2014/main" id="{11F7D5E8-18B1-4429-9FE5-21839B83BE2F}"/>
                </a:ext>
              </a:extLst>
            </p:cNvPr>
            <p:cNvSpPr/>
            <p:nvPr/>
          </p:nvSpPr>
          <p:spPr>
            <a:xfrm>
              <a:off x="8573698" y="3230593"/>
              <a:ext cx="79226" cy="118840"/>
            </a:xfrm>
            <a:custGeom>
              <a:avLst/>
              <a:gdLst>
                <a:gd name="connsiteX0" fmla="*/ 257 w 102214"/>
                <a:gd name="connsiteY0" fmla="*/ 2252 h 153321"/>
                <a:gd name="connsiteX1" fmla="*/ 105231 w 102214"/>
                <a:gd name="connsiteY1" fmla="*/ 159969 h 153321"/>
                <a:gd name="connsiteX2" fmla="*/ 108093 w 102214"/>
                <a:gd name="connsiteY2" fmla="*/ 158436 h 153321"/>
                <a:gd name="connsiteX3" fmla="*/ 3119 w 102214"/>
                <a:gd name="connsiteY3" fmla="*/ 719 h 153321"/>
                <a:gd name="connsiteX4" fmla="*/ 257 w 102214"/>
                <a:gd name="connsiteY4" fmla="*/ 2252 h 153321"/>
                <a:gd name="connsiteX5" fmla="*/ 257 w 102214"/>
                <a:gd name="connsiteY5" fmla="*/ 2252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52"/>
                  </a:moveTo>
                  <a:cubicBezTo>
                    <a:pt x="35828" y="54484"/>
                    <a:pt x="70785" y="107022"/>
                    <a:pt x="105231" y="159969"/>
                  </a:cubicBezTo>
                  <a:cubicBezTo>
                    <a:pt x="106356" y="161707"/>
                    <a:pt x="109218" y="160174"/>
                    <a:pt x="108093" y="158436"/>
                  </a:cubicBezTo>
                  <a:cubicBezTo>
                    <a:pt x="73647" y="105489"/>
                    <a:pt x="38690" y="52951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6" name="任意多边形: 形状 855">
              <a:extLst>
                <a:ext uri="{FF2B5EF4-FFF2-40B4-BE49-F238E27FC236}">
                  <a16:creationId xmlns:a16="http://schemas.microsoft.com/office/drawing/2014/main" id="{3B2E85A1-C3A4-47BC-ABB4-2C9F5DD00FF9}"/>
                </a:ext>
              </a:extLst>
            </p:cNvPr>
            <p:cNvSpPr/>
            <p:nvPr/>
          </p:nvSpPr>
          <p:spPr>
            <a:xfrm>
              <a:off x="8574649" y="3250600"/>
              <a:ext cx="71304" cy="102994"/>
            </a:xfrm>
            <a:custGeom>
              <a:avLst/>
              <a:gdLst>
                <a:gd name="connsiteX0" fmla="*/ 257 w 91992"/>
                <a:gd name="connsiteY0" fmla="*/ 2199 h 132878"/>
                <a:gd name="connsiteX1" fmla="*/ 91227 w 91992"/>
                <a:gd name="connsiteY1" fmla="*/ 134055 h 132878"/>
                <a:gd name="connsiteX2" fmla="*/ 94089 w 91992"/>
                <a:gd name="connsiteY2" fmla="*/ 132624 h 132878"/>
                <a:gd name="connsiteX3" fmla="*/ 3221 w 91992"/>
                <a:gd name="connsiteY3" fmla="*/ 767 h 132878"/>
                <a:gd name="connsiteX4" fmla="*/ 257 w 91992"/>
                <a:gd name="connsiteY4" fmla="*/ 2199 h 132878"/>
                <a:gd name="connsiteX5" fmla="*/ 257 w 91992"/>
                <a:gd name="connsiteY5" fmla="*/ 21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32878">
                  <a:moveTo>
                    <a:pt x="257" y="2199"/>
                  </a:moveTo>
                  <a:cubicBezTo>
                    <a:pt x="30614" y="46151"/>
                    <a:pt x="60870" y="90103"/>
                    <a:pt x="91227" y="134055"/>
                  </a:cubicBezTo>
                  <a:cubicBezTo>
                    <a:pt x="92352" y="135691"/>
                    <a:pt x="95214" y="134259"/>
                    <a:pt x="94089" y="132624"/>
                  </a:cubicBezTo>
                  <a:cubicBezTo>
                    <a:pt x="63834" y="88672"/>
                    <a:pt x="33476" y="44720"/>
                    <a:pt x="3221" y="767"/>
                  </a:cubicBezTo>
                  <a:cubicBezTo>
                    <a:pt x="1994" y="-970"/>
                    <a:pt x="-868" y="563"/>
                    <a:pt x="257" y="2199"/>
                  </a:cubicBezTo>
                  <a:lnTo>
                    <a:pt x="257" y="21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7" name="任意多边形: 形状 856">
              <a:extLst>
                <a:ext uri="{FF2B5EF4-FFF2-40B4-BE49-F238E27FC236}">
                  <a16:creationId xmlns:a16="http://schemas.microsoft.com/office/drawing/2014/main" id="{6DD61F68-A3A3-4C66-A235-62F96DD4FCFD}"/>
                </a:ext>
              </a:extLst>
            </p:cNvPr>
            <p:cNvSpPr/>
            <p:nvPr/>
          </p:nvSpPr>
          <p:spPr>
            <a:xfrm>
              <a:off x="8566489" y="3265134"/>
              <a:ext cx="55458" cy="79226"/>
            </a:xfrm>
            <a:custGeom>
              <a:avLst/>
              <a:gdLst>
                <a:gd name="connsiteX0" fmla="*/ 257 w 71550"/>
                <a:gd name="connsiteY0" fmla="*/ 2153 h 102214"/>
                <a:gd name="connsiteX1" fmla="*/ 72114 w 71550"/>
                <a:gd name="connsiteY1" fmla="*/ 108456 h 102214"/>
                <a:gd name="connsiteX2" fmla="*/ 74976 w 71550"/>
                <a:gd name="connsiteY2" fmla="*/ 107025 h 102214"/>
                <a:gd name="connsiteX3" fmla="*/ 3119 w 71550"/>
                <a:gd name="connsiteY3" fmla="*/ 722 h 102214"/>
                <a:gd name="connsiteX4" fmla="*/ 257 w 71550"/>
                <a:gd name="connsiteY4" fmla="*/ 2153 h 102214"/>
                <a:gd name="connsiteX5" fmla="*/ 257 w 71550"/>
                <a:gd name="connsiteY5" fmla="*/ 2153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4">
                  <a:moveTo>
                    <a:pt x="257" y="2153"/>
                  </a:moveTo>
                  <a:cubicBezTo>
                    <a:pt x="24175" y="37622"/>
                    <a:pt x="48196" y="72988"/>
                    <a:pt x="72114" y="108456"/>
                  </a:cubicBezTo>
                  <a:cubicBezTo>
                    <a:pt x="73238" y="110092"/>
                    <a:pt x="76100" y="108661"/>
                    <a:pt x="74976" y="107025"/>
                  </a:cubicBezTo>
                  <a:cubicBezTo>
                    <a:pt x="51058" y="71557"/>
                    <a:pt x="27037" y="36191"/>
                    <a:pt x="3119" y="722"/>
                  </a:cubicBezTo>
                  <a:cubicBezTo>
                    <a:pt x="1995" y="-913"/>
                    <a:pt x="-867" y="518"/>
                    <a:pt x="257" y="2153"/>
                  </a:cubicBezTo>
                  <a:lnTo>
                    <a:pt x="257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8" name="任意多边形: 形状 857">
              <a:extLst>
                <a:ext uri="{FF2B5EF4-FFF2-40B4-BE49-F238E27FC236}">
                  <a16:creationId xmlns:a16="http://schemas.microsoft.com/office/drawing/2014/main" id="{C3FF9036-739D-4C2F-8EEC-776B07D91FA4}"/>
                </a:ext>
              </a:extLst>
            </p:cNvPr>
            <p:cNvSpPr/>
            <p:nvPr/>
          </p:nvSpPr>
          <p:spPr>
            <a:xfrm>
              <a:off x="8559992" y="3282170"/>
              <a:ext cx="39613" cy="63381"/>
            </a:xfrm>
            <a:custGeom>
              <a:avLst/>
              <a:gdLst>
                <a:gd name="connsiteX0" fmla="*/ 257 w 51107"/>
                <a:gd name="connsiteY0" fmla="*/ 2252 h 81771"/>
                <a:gd name="connsiteX1" fmla="*/ 56066 w 51107"/>
                <a:gd name="connsiteY1" fmla="*/ 85864 h 81771"/>
                <a:gd name="connsiteX2" fmla="*/ 58928 w 51107"/>
                <a:gd name="connsiteY2" fmla="*/ 84331 h 81771"/>
                <a:gd name="connsiteX3" fmla="*/ 3119 w 51107"/>
                <a:gd name="connsiteY3" fmla="*/ 719 h 81771"/>
                <a:gd name="connsiteX4" fmla="*/ 257 w 51107"/>
                <a:gd name="connsiteY4" fmla="*/ 2252 h 81771"/>
                <a:gd name="connsiteX5" fmla="*/ 257 w 51107"/>
                <a:gd name="connsiteY5" fmla="*/ 2252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57" y="2252"/>
                  </a:moveTo>
                  <a:cubicBezTo>
                    <a:pt x="19167" y="29952"/>
                    <a:pt x="37770" y="57857"/>
                    <a:pt x="56066" y="85864"/>
                  </a:cubicBezTo>
                  <a:cubicBezTo>
                    <a:pt x="57190" y="87601"/>
                    <a:pt x="60052" y="86068"/>
                    <a:pt x="58928" y="84331"/>
                  </a:cubicBezTo>
                  <a:cubicBezTo>
                    <a:pt x="40632" y="56324"/>
                    <a:pt x="22029" y="28419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9" name="任意多边形: 形状 858">
              <a:extLst>
                <a:ext uri="{FF2B5EF4-FFF2-40B4-BE49-F238E27FC236}">
                  <a16:creationId xmlns:a16="http://schemas.microsoft.com/office/drawing/2014/main" id="{2D4F34DF-8278-47C6-8B97-1D800625A850}"/>
                </a:ext>
              </a:extLst>
            </p:cNvPr>
            <p:cNvSpPr/>
            <p:nvPr/>
          </p:nvSpPr>
          <p:spPr>
            <a:xfrm>
              <a:off x="8561211" y="3301977"/>
              <a:ext cx="23768" cy="39613"/>
            </a:xfrm>
            <a:custGeom>
              <a:avLst/>
              <a:gdLst>
                <a:gd name="connsiteX0" fmla="*/ 217 w 30664"/>
                <a:gd name="connsiteY0" fmla="*/ 2252 h 51107"/>
                <a:gd name="connsiteX1" fmla="*/ 30677 w 30664"/>
                <a:gd name="connsiteY1" fmla="*/ 54995 h 51107"/>
                <a:gd name="connsiteX2" fmla="*/ 33539 w 30664"/>
                <a:gd name="connsiteY2" fmla="*/ 53462 h 51107"/>
                <a:gd name="connsiteX3" fmla="*/ 3079 w 30664"/>
                <a:gd name="connsiteY3" fmla="*/ 719 h 51107"/>
                <a:gd name="connsiteX4" fmla="*/ 217 w 30664"/>
                <a:gd name="connsiteY4" fmla="*/ 2252 h 51107"/>
                <a:gd name="connsiteX5" fmla="*/ 217 w 30664"/>
                <a:gd name="connsiteY5" fmla="*/ 22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17" y="2252"/>
                  </a:moveTo>
                  <a:cubicBezTo>
                    <a:pt x="10336" y="19833"/>
                    <a:pt x="20456" y="37414"/>
                    <a:pt x="30677" y="54995"/>
                  </a:cubicBezTo>
                  <a:cubicBezTo>
                    <a:pt x="31699" y="56732"/>
                    <a:pt x="34561" y="55302"/>
                    <a:pt x="33539" y="53462"/>
                  </a:cubicBezTo>
                  <a:cubicBezTo>
                    <a:pt x="23420" y="35881"/>
                    <a:pt x="13301" y="18300"/>
                    <a:pt x="3079" y="719"/>
                  </a:cubicBezTo>
                  <a:cubicBezTo>
                    <a:pt x="2057" y="-916"/>
                    <a:pt x="-805" y="515"/>
                    <a:pt x="217" y="2252"/>
                  </a:cubicBezTo>
                  <a:lnTo>
                    <a:pt x="21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0" name="任意多边形: 形状 859">
              <a:extLst>
                <a:ext uri="{FF2B5EF4-FFF2-40B4-BE49-F238E27FC236}">
                  <a16:creationId xmlns:a16="http://schemas.microsoft.com/office/drawing/2014/main" id="{15C5A15D-90B9-4FBA-ACF3-B73F32354955}"/>
                </a:ext>
              </a:extLst>
            </p:cNvPr>
            <p:cNvSpPr/>
            <p:nvPr/>
          </p:nvSpPr>
          <p:spPr>
            <a:xfrm>
              <a:off x="8664949" y="3277412"/>
              <a:ext cx="102994" cy="39613"/>
            </a:xfrm>
            <a:custGeom>
              <a:avLst/>
              <a:gdLst>
                <a:gd name="connsiteX0" fmla="*/ 1098 w 132878"/>
                <a:gd name="connsiteY0" fmla="*/ 3075 h 51107"/>
                <a:gd name="connsiteX1" fmla="*/ 131421 w 132878"/>
                <a:gd name="connsiteY1" fmla="*/ 58986 h 51107"/>
                <a:gd name="connsiteX2" fmla="*/ 133159 w 132878"/>
                <a:gd name="connsiteY2" fmla="*/ 56329 h 51107"/>
                <a:gd name="connsiteX3" fmla="*/ 2120 w 132878"/>
                <a:gd name="connsiteY3" fmla="*/ 111 h 51107"/>
                <a:gd name="connsiteX4" fmla="*/ 1098 w 132878"/>
                <a:gd name="connsiteY4" fmla="*/ 3075 h 51107"/>
                <a:gd name="connsiteX5" fmla="*/ 1098 w 132878"/>
                <a:gd name="connsiteY5" fmla="*/ 307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51107">
                  <a:moveTo>
                    <a:pt x="1098" y="3075"/>
                  </a:moveTo>
                  <a:cubicBezTo>
                    <a:pt x="45357" y="19940"/>
                    <a:pt x="88798" y="38543"/>
                    <a:pt x="131421" y="58986"/>
                  </a:cubicBezTo>
                  <a:cubicBezTo>
                    <a:pt x="133261" y="59906"/>
                    <a:pt x="134999" y="57248"/>
                    <a:pt x="133159" y="56329"/>
                  </a:cubicBezTo>
                  <a:cubicBezTo>
                    <a:pt x="90331" y="35783"/>
                    <a:pt x="46583" y="17078"/>
                    <a:pt x="2120" y="111"/>
                  </a:cubicBezTo>
                  <a:cubicBezTo>
                    <a:pt x="-27" y="-605"/>
                    <a:pt x="-844" y="2359"/>
                    <a:pt x="1098" y="3075"/>
                  </a:cubicBezTo>
                  <a:lnTo>
                    <a:pt x="109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1" name="任意多边形: 形状 860">
              <a:extLst>
                <a:ext uri="{FF2B5EF4-FFF2-40B4-BE49-F238E27FC236}">
                  <a16:creationId xmlns:a16="http://schemas.microsoft.com/office/drawing/2014/main" id="{87F3BFEF-CF20-4E1A-9E36-40B1C754AACA}"/>
                </a:ext>
              </a:extLst>
            </p:cNvPr>
            <p:cNvSpPr/>
            <p:nvPr/>
          </p:nvSpPr>
          <p:spPr>
            <a:xfrm>
              <a:off x="8667422" y="3291853"/>
              <a:ext cx="79226" cy="23768"/>
            </a:xfrm>
            <a:custGeom>
              <a:avLst/>
              <a:gdLst>
                <a:gd name="connsiteX0" fmla="*/ 1075 w 102214"/>
                <a:gd name="connsiteY0" fmla="*/ 3047 h 30664"/>
                <a:gd name="connsiteX1" fmla="*/ 109321 w 102214"/>
                <a:gd name="connsiteY1" fmla="*/ 38822 h 30664"/>
                <a:gd name="connsiteX2" fmla="*/ 110240 w 102214"/>
                <a:gd name="connsiteY2" fmla="*/ 35858 h 30664"/>
                <a:gd name="connsiteX3" fmla="*/ 1995 w 102214"/>
                <a:gd name="connsiteY3" fmla="*/ 83 h 30664"/>
                <a:gd name="connsiteX4" fmla="*/ 1075 w 102214"/>
                <a:gd name="connsiteY4" fmla="*/ 3047 h 30664"/>
                <a:gd name="connsiteX5" fmla="*/ 1075 w 102214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47"/>
                  </a:moveTo>
                  <a:cubicBezTo>
                    <a:pt x="37464" y="14189"/>
                    <a:pt x="73546" y="26148"/>
                    <a:pt x="109321" y="38822"/>
                  </a:cubicBezTo>
                  <a:cubicBezTo>
                    <a:pt x="111263" y="39538"/>
                    <a:pt x="112183" y="36573"/>
                    <a:pt x="110240" y="35858"/>
                  </a:cubicBezTo>
                  <a:cubicBezTo>
                    <a:pt x="74465" y="23081"/>
                    <a:pt x="38384" y="11224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2" name="任意多边形: 形状 861">
              <a:extLst>
                <a:ext uri="{FF2B5EF4-FFF2-40B4-BE49-F238E27FC236}">
                  <a16:creationId xmlns:a16="http://schemas.microsoft.com/office/drawing/2014/main" id="{466ED7DB-CE92-4051-9138-D7A98EFE94CD}"/>
                </a:ext>
              </a:extLst>
            </p:cNvPr>
            <p:cNvSpPr/>
            <p:nvPr/>
          </p:nvSpPr>
          <p:spPr>
            <a:xfrm>
              <a:off x="8667604" y="3298727"/>
              <a:ext cx="79226" cy="23768"/>
            </a:xfrm>
            <a:custGeom>
              <a:avLst/>
              <a:gdLst>
                <a:gd name="connsiteX0" fmla="*/ 1148 w 102214"/>
                <a:gd name="connsiteY0" fmla="*/ 3072 h 30664"/>
                <a:gd name="connsiteX1" fmla="*/ 101727 w 102214"/>
                <a:gd name="connsiteY1" fmla="*/ 34349 h 30664"/>
                <a:gd name="connsiteX2" fmla="*/ 102647 w 102214"/>
                <a:gd name="connsiteY2" fmla="*/ 31385 h 30664"/>
                <a:gd name="connsiteX3" fmla="*/ 2068 w 102214"/>
                <a:gd name="connsiteY3" fmla="*/ 108 h 30664"/>
                <a:gd name="connsiteX4" fmla="*/ 1148 w 102214"/>
                <a:gd name="connsiteY4" fmla="*/ 3072 h 30664"/>
                <a:gd name="connsiteX5" fmla="*/ 1148 w 102214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148" y="3072"/>
                  </a:moveTo>
                  <a:cubicBezTo>
                    <a:pt x="34470" y="14213"/>
                    <a:pt x="67997" y="24639"/>
                    <a:pt x="101727" y="34349"/>
                  </a:cubicBezTo>
                  <a:cubicBezTo>
                    <a:pt x="103772" y="34963"/>
                    <a:pt x="104692" y="31998"/>
                    <a:pt x="102647" y="31385"/>
                  </a:cubicBezTo>
                  <a:cubicBezTo>
                    <a:pt x="68917" y="21675"/>
                    <a:pt x="35390" y="11147"/>
                    <a:pt x="2068" y="108"/>
                  </a:cubicBezTo>
                  <a:cubicBezTo>
                    <a:pt x="24" y="-608"/>
                    <a:pt x="-896" y="2459"/>
                    <a:pt x="1148" y="3072"/>
                  </a:cubicBezTo>
                  <a:lnTo>
                    <a:pt x="1148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3" name="任意多边形: 形状 862">
              <a:extLst>
                <a:ext uri="{FF2B5EF4-FFF2-40B4-BE49-F238E27FC236}">
                  <a16:creationId xmlns:a16="http://schemas.microsoft.com/office/drawing/2014/main" id="{587D100C-E7E8-4FD3-806B-0A47401697D0}"/>
                </a:ext>
              </a:extLst>
            </p:cNvPr>
            <p:cNvSpPr/>
            <p:nvPr/>
          </p:nvSpPr>
          <p:spPr>
            <a:xfrm>
              <a:off x="8663540" y="3304270"/>
              <a:ext cx="79226" cy="23768"/>
            </a:xfrm>
            <a:custGeom>
              <a:avLst/>
              <a:gdLst>
                <a:gd name="connsiteX0" fmla="*/ 1075 w 102214"/>
                <a:gd name="connsiteY0" fmla="*/ 3075 h 30664"/>
                <a:gd name="connsiteX1" fmla="*/ 104925 w 102214"/>
                <a:gd name="connsiteY1" fmla="*/ 38646 h 30664"/>
                <a:gd name="connsiteX2" fmla="*/ 105845 w 102214"/>
                <a:gd name="connsiteY2" fmla="*/ 35681 h 30664"/>
                <a:gd name="connsiteX3" fmla="*/ 1995 w 102214"/>
                <a:gd name="connsiteY3" fmla="*/ 110 h 30664"/>
                <a:gd name="connsiteX4" fmla="*/ 1075 w 102214"/>
                <a:gd name="connsiteY4" fmla="*/ 3075 h 30664"/>
                <a:gd name="connsiteX5" fmla="*/ 1075 w 102214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75"/>
                  </a:moveTo>
                  <a:cubicBezTo>
                    <a:pt x="35726" y="14932"/>
                    <a:pt x="70275" y="26789"/>
                    <a:pt x="104925" y="38646"/>
                  </a:cubicBezTo>
                  <a:cubicBezTo>
                    <a:pt x="106867" y="39361"/>
                    <a:pt x="107787" y="36397"/>
                    <a:pt x="105845" y="35681"/>
                  </a:cubicBezTo>
                  <a:cubicBezTo>
                    <a:pt x="71195" y="23824"/>
                    <a:pt x="36646" y="11967"/>
                    <a:pt x="1995" y="110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4" name="任意多边形: 形状 863">
              <a:extLst>
                <a:ext uri="{FF2B5EF4-FFF2-40B4-BE49-F238E27FC236}">
                  <a16:creationId xmlns:a16="http://schemas.microsoft.com/office/drawing/2014/main" id="{81CB8646-50F4-4BFD-9CA9-1F9E659CCD75}"/>
                </a:ext>
              </a:extLst>
            </p:cNvPr>
            <p:cNvSpPr/>
            <p:nvPr/>
          </p:nvSpPr>
          <p:spPr>
            <a:xfrm>
              <a:off x="8676318" y="3323484"/>
              <a:ext cx="55458" cy="15845"/>
            </a:xfrm>
            <a:custGeom>
              <a:avLst/>
              <a:gdLst>
                <a:gd name="connsiteX0" fmla="*/ 1148 w 71550"/>
                <a:gd name="connsiteY0" fmla="*/ 3023 h 20442"/>
                <a:gd name="connsiteX1" fmla="*/ 74130 w 71550"/>
                <a:gd name="connsiteY1" fmla="*/ 26022 h 20442"/>
                <a:gd name="connsiteX2" fmla="*/ 75049 w 71550"/>
                <a:gd name="connsiteY2" fmla="*/ 23057 h 20442"/>
                <a:gd name="connsiteX3" fmla="*/ 2068 w 71550"/>
                <a:gd name="connsiteY3" fmla="*/ 59 h 20442"/>
                <a:gd name="connsiteX4" fmla="*/ 1148 w 71550"/>
                <a:gd name="connsiteY4" fmla="*/ 3023 h 20442"/>
                <a:gd name="connsiteX5" fmla="*/ 1148 w 71550"/>
                <a:gd name="connsiteY5" fmla="*/ 302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8" y="3023"/>
                  </a:moveTo>
                  <a:cubicBezTo>
                    <a:pt x="25782" y="9667"/>
                    <a:pt x="50109" y="17333"/>
                    <a:pt x="74130" y="26022"/>
                  </a:cubicBezTo>
                  <a:cubicBezTo>
                    <a:pt x="76072" y="26737"/>
                    <a:pt x="76992" y="23773"/>
                    <a:pt x="75049" y="23057"/>
                  </a:cubicBezTo>
                  <a:cubicBezTo>
                    <a:pt x="51131" y="14369"/>
                    <a:pt x="26804" y="6601"/>
                    <a:pt x="2068" y="59"/>
                  </a:cubicBezTo>
                  <a:cubicBezTo>
                    <a:pt x="24" y="-452"/>
                    <a:pt x="-896" y="2512"/>
                    <a:pt x="1148" y="3023"/>
                  </a:cubicBezTo>
                  <a:lnTo>
                    <a:pt x="1148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5" name="任意多边形: 形状 864">
              <a:extLst>
                <a:ext uri="{FF2B5EF4-FFF2-40B4-BE49-F238E27FC236}">
                  <a16:creationId xmlns:a16="http://schemas.microsoft.com/office/drawing/2014/main" id="{0DF6953F-AB79-40AB-BC55-9CE842625865}"/>
                </a:ext>
              </a:extLst>
            </p:cNvPr>
            <p:cNvSpPr/>
            <p:nvPr/>
          </p:nvSpPr>
          <p:spPr>
            <a:xfrm>
              <a:off x="8674805" y="3335689"/>
              <a:ext cx="55458" cy="15845"/>
            </a:xfrm>
            <a:custGeom>
              <a:avLst/>
              <a:gdLst>
                <a:gd name="connsiteX0" fmla="*/ 852 w 71550"/>
                <a:gd name="connsiteY0" fmla="*/ 2812 h 20442"/>
                <a:gd name="connsiteX1" fmla="*/ 75468 w 71550"/>
                <a:gd name="connsiteY1" fmla="*/ 26117 h 20442"/>
                <a:gd name="connsiteX2" fmla="*/ 76388 w 71550"/>
                <a:gd name="connsiteY2" fmla="*/ 23153 h 20442"/>
                <a:gd name="connsiteX3" fmla="*/ 2487 w 71550"/>
                <a:gd name="connsiteY3" fmla="*/ 154 h 20442"/>
                <a:gd name="connsiteX4" fmla="*/ 852 w 71550"/>
                <a:gd name="connsiteY4" fmla="*/ 2812 h 20442"/>
                <a:gd name="connsiteX5" fmla="*/ 852 w 71550"/>
                <a:gd name="connsiteY5" fmla="*/ 281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52" y="2812"/>
                  </a:moveTo>
                  <a:cubicBezTo>
                    <a:pt x="24770" y="13238"/>
                    <a:pt x="49710" y="21108"/>
                    <a:pt x="75468" y="26117"/>
                  </a:cubicBezTo>
                  <a:cubicBezTo>
                    <a:pt x="77513" y="26526"/>
                    <a:pt x="78433" y="23562"/>
                    <a:pt x="76388" y="23153"/>
                  </a:cubicBezTo>
                  <a:cubicBezTo>
                    <a:pt x="50835" y="18144"/>
                    <a:pt x="26201" y="10478"/>
                    <a:pt x="2487" y="154"/>
                  </a:cubicBezTo>
                  <a:cubicBezTo>
                    <a:pt x="647" y="-663"/>
                    <a:pt x="-1090" y="1994"/>
                    <a:pt x="852" y="2812"/>
                  </a:cubicBezTo>
                  <a:lnTo>
                    <a:pt x="852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6" name="任意多边形: 形状 865">
              <a:extLst>
                <a:ext uri="{FF2B5EF4-FFF2-40B4-BE49-F238E27FC236}">
                  <a16:creationId xmlns:a16="http://schemas.microsoft.com/office/drawing/2014/main" id="{0F836789-3BF2-4257-96EC-7320B0CA941A}"/>
                </a:ext>
              </a:extLst>
            </p:cNvPr>
            <p:cNvSpPr/>
            <p:nvPr/>
          </p:nvSpPr>
          <p:spPr>
            <a:xfrm>
              <a:off x="8714158" y="3118801"/>
              <a:ext cx="71304" cy="71304"/>
            </a:xfrm>
            <a:custGeom>
              <a:avLst/>
              <a:gdLst>
                <a:gd name="connsiteX0" fmla="*/ 677 w 91992"/>
                <a:gd name="connsiteY0" fmla="*/ 2973 h 91992"/>
                <a:gd name="connsiteX1" fmla="*/ 96963 w 91992"/>
                <a:gd name="connsiteY1" fmla="*/ 100077 h 91992"/>
                <a:gd name="connsiteX2" fmla="*/ 99825 w 91992"/>
                <a:gd name="connsiteY2" fmla="*/ 98646 h 91992"/>
                <a:gd name="connsiteX3" fmla="*/ 2313 w 91992"/>
                <a:gd name="connsiteY3" fmla="*/ 316 h 91992"/>
                <a:gd name="connsiteX4" fmla="*/ 677 w 91992"/>
                <a:gd name="connsiteY4" fmla="*/ 2973 h 91992"/>
                <a:gd name="connsiteX5" fmla="*/ 677 w 91992"/>
                <a:gd name="connsiteY5" fmla="*/ 297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677" y="2973"/>
                  </a:moveTo>
                  <a:cubicBezTo>
                    <a:pt x="37986" y="30367"/>
                    <a:pt x="70490" y="63075"/>
                    <a:pt x="96963" y="100077"/>
                  </a:cubicBezTo>
                  <a:cubicBezTo>
                    <a:pt x="98190" y="101713"/>
                    <a:pt x="101052" y="100282"/>
                    <a:pt x="99825" y="98646"/>
                  </a:cubicBezTo>
                  <a:cubicBezTo>
                    <a:pt x="72943" y="61134"/>
                    <a:pt x="40132" y="28118"/>
                    <a:pt x="2313" y="316"/>
                  </a:cubicBezTo>
                  <a:cubicBezTo>
                    <a:pt x="677" y="-911"/>
                    <a:pt x="-958" y="1747"/>
                    <a:pt x="677" y="2973"/>
                  </a:cubicBezTo>
                  <a:lnTo>
                    <a:pt x="67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7" name="任意多边形: 形状 866">
              <a:extLst>
                <a:ext uri="{FF2B5EF4-FFF2-40B4-BE49-F238E27FC236}">
                  <a16:creationId xmlns:a16="http://schemas.microsoft.com/office/drawing/2014/main" id="{62D1C662-1F39-4A86-875A-AF8BA463A335}"/>
                </a:ext>
              </a:extLst>
            </p:cNvPr>
            <p:cNvSpPr/>
            <p:nvPr/>
          </p:nvSpPr>
          <p:spPr>
            <a:xfrm>
              <a:off x="8725388" y="3135238"/>
              <a:ext cx="55458" cy="55458"/>
            </a:xfrm>
            <a:custGeom>
              <a:avLst/>
              <a:gdLst>
                <a:gd name="connsiteX0" fmla="*/ 499 w 71550"/>
                <a:gd name="connsiteY0" fmla="*/ 2618 h 71550"/>
                <a:gd name="connsiteX1" fmla="*/ 74809 w 71550"/>
                <a:gd name="connsiteY1" fmla="*/ 74577 h 71550"/>
                <a:gd name="connsiteX2" fmla="*/ 77160 w 71550"/>
                <a:gd name="connsiteY2" fmla="*/ 72431 h 71550"/>
                <a:gd name="connsiteX3" fmla="*/ 2850 w 71550"/>
                <a:gd name="connsiteY3" fmla="*/ 472 h 71550"/>
                <a:gd name="connsiteX4" fmla="*/ 499 w 71550"/>
                <a:gd name="connsiteY4" fmla="*/ 2618 h 71550"/>
                <a:gd name="connsiteX5" fmla="*/ 499 w 71550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499" y="2618"/>
                  </a:moveTo>
                  <a:cubicBezTo>
                    <a:pt x="26257" y="25719"/>
                    <a:pt x="50993" y="49739"/>
                    <a:pt x="74809" y="74577"/>
                  </a:cubicBezTo>
                  <a:cubicBezTo>
                    <a:pt x="76240" y="76008"/>
                    <a:pt x="78591" y="73862"/>
                    <a:pt x="77160" y="72431"/>
                  </a:cubicBezTo>
                  <a:cubicBezTo>
                    <a:pt x="53344" y="47593"/>
                    <a:pt x="28505" y="23572"/>
                    <a:pt x="2850" y="472"/>
                  </a:cubicBezTo>
                  <a:cubicBezTo>
                    <a:pt x="1316" y="-959"/>
                    <a:pt x="-1035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8" name="任意多边形: 形状 867">
              <a:extLst>
                <a:ext uri="{FF2B5EF4-FFF2-40B4-BE49-F238E27FC236}">
                  <a16:creationId xmlns:a16="http://schemas.microsoft.com/office/drawing/2014/main" id="{617688EB-2327-45E4-906A-0EEBD62EBEFB}"/>
                </a:ext>
              </a:extLst>
            </p:cNvPr>
            <p:cNvSpPr/>
            <p:nvPr/>
          </p:nvSpPr>
          <p:spPr>
            <a:xfrm>
              <a:off x="8716788" y="3143322"/>
              <a:ext cx="71304" cy="71304"/>
            </a:xfrm>
            <a:custGeom>
              <a:avLst/>
              <a:gdLst>
                <a:gd name="connsiteX0" fmla="*/ 554 w 91992"/>
                <a:gd name="connsiteY0" fmla="*/ 2513 h 91992"/>
                <a:gd name="connsiteX1" fmla="*/ 94898 w 91992"/>
                <a:gd name="connsiteY1" fmla="*/ 94710 h 91992"/>
                <a:gd name="connsiteX2" fmla="*/ 97249 w 91992"/>
                <a:gd name="connsiteY2" fmla="*/ 92564 h 91992"/>
                <a:gd name="connsiteX3" fmla="*/ 2905 w 91992"/>
                <a:gd name="connsiteY3" fmla="*/ 366 h 91992"/>
                <a:gd name="connsiteX4" fmla="*/ 554 w 91992"/>
                <a:gd name="connsiteY4" fmla="*/ 2513 h 91992"/>
                <a:gd name="connsiteX5" fmla="*/ 554 w 91992"/>
                <a:gd name="connsiteY5" fmla="*/ 251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554" y="2513"/>
                  </a:moveTo>
                  <a:cubicBezTo>
                    <a:pt x="35920" y="29497"/>
                    <a:pt x="67504" y="60468"/>
                    <a:pt x="94898" y="94710"/>
                  </a:cubicBezTo>
                  <a:cubicBezTo>
                    <a:pt x="96124" y="96243"/>
                    <a:pt x="98475" y="94097"/>
                    <a:pt x="97249" y="92564"/>
                  </a:cubicBezTo>
                  <a:cubicBezTo>
                    <a:pt x="69957" y="58220"/>
                    <a:pt x="38271" y="27351"/>
                    <a:pt x="2905" y="366"/>
                  </a:cubicBezTo>
                  <a:cubicBezTo>
                    <a:pt x="1269" y="-860"/>
                    <a:pt x="-1082" y="1286"/>
                    <a:pt x="554" y="2513"/>
                  </a:cubicBezTo>
                  <a:lnTo>
                    <a:pt x="554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9" name="任意多边形: 形状 868">
              <a:extLst>
                <a:ext uri="{FF2B5EF4-FFF2-40B4-BE49-F238E27FC236}">
                  <a16:creationId xmlns:a16="http://schemas.microsoft.com/office/drawing/2014/main" id="{0EAA5794-3365-4A5B-B974-4E1168289B9E}"/>
                </a:ext>
              </a:extLst>
            </p:cNvPr>
            <p:cNvSpPr/>
            <p:nvPr/>
          </p:nvSpPr>
          <p:spPr>
            <a:xfrm>
              <a:off x="8729034" y="3165697"/>
              <a:ext cx="39613" cy="39613"/>
            </a:xfrm>
            <a:custGeom>
              <a:avLst/>
              <a:gdLst>
                <a:gd name="connsiteX0" fmla="*/ 394 w 51107"/>
                <a:gd name="connsiteY0" fmla="*/ 2674 h 51107"/>
                <a:gd name="connsiteX1" fmla="*/ 55487 w 51107"/>
                <a:gd name="connsiteY1" fmla="*/ 58176 h 51107"/>
                <a:gd name="connsiteX2" fmla="*/ 57838 w 51107"/>
                <a:gd name="connsiteY2" fmla="*/ 56030 h 51107"/>
                <a:gd name="connsiteX3" fmla="*/ 2745 w 51107"/>
                <a:gd name="connsiteY3" fmla="*/ 527 h 51107"/>
                <a:gd name="connsiteX4" fmla="*/ 394 w 51107"/>
                <a:gd name="connsiteY4" fmla="*/ 2674 h 51107"/>
                <a:gd name="connsiteX5" fmla="*/ 394 w 51107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394" y="2674"/>
                  </a:moveTo>
                  <a:cubicBezTo>
                    <a:pt x="17668" y="22197"/>
                    <a:pt x="35965" y="40698"/>
                    <a:pt x="55487" y="58176"/>
                  </a:cubicBezTo>
                  <a:cubicBezTo>
                    <a:pt x="57021" y="59505"/>
                    <a:pt x="59372" y="57359"/>
                    <a:pt x="57838" y="56030"/>
                  </a:cubicBezTo>
                  <a:cubicBezTo>
                    <a:pt x="38418" y="38551"/>
                    <a:pt x="20019" y="20050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0" name="任意多边形: 形状 869">
              <a:extLst>
                <a:ext uri="{FF2B5EF4-FFF2-40B4-BE49-F238E27FC236}">
                  <a16:creationId xmlns:a16="http://schemas.microsoft.com/office/drawing/2014/main" id="{5AC465F2-C51D-4F3F-B2D1-DC17F8255A0C}"/>
                </a:ext>
              </a:extLst>
            </p:cNvPr>
            <p:cNvSpPr/>
            <p:nvPr/>
          </p:nvSpPr>
          <p:spPr>
            <a:xfrm>
              <a:off x="8731488" y="3186894"/>
              <a:ext cx="47536" cy="39613"/>
            </a:xfrm>
            <a:custGeom>
              <a:avLst/>
              <a:gdLst>
                <a:gd name="connsiteX0" fmla="*/ 499 w 61328"/>
                <a:gd name="connsiteY0" fmla="*/ 2619 h 51107"/>
                <a:gd name="connsiteX1" fmla="*/ 62134 w 61328"/>
                <a:gd name="connsiteY1" fmla="*/ 56996 h 51107"/>
                <a:gd name="connsiteX2" fmla="*/ 64485 w 61328"/>
                <a:gd name="connsiteY2" fmla="*/ 54850 h 51107"/>
                <a:gd name="connsiteX3" fmla="*/ 2850 w 61328"/>
                <a:gd name="connsiteY3" fmla="*/ 472 h 51107"/>
                <a:gd name="connsiteX4" fmla="*/ 499 w 61328"/>
                <a:gd name="connsiteY4" fmla="*/ 2619 h 51107"/>
                <a:gd name="connsiteX5" fmla="*/ 499 w 61328"/>
                <a:gd name="connsiteY5" fmla="*/ 26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499" y="2619"/>
                  </a:moveTo>
                  <a:cubicBezTo>
                    <a:pt x="21044" y="20710"/>
                    <a:pt x="41589" y="38802"/>
                    <a:pt x="62134" y="56996"/>
                  </a:cubicBezTo>
                  <a:cubicBezTo>
                    <a:pt x="63667" y="58325"/>
                    <a:pt x="66018" y="56179"/>
                    <a:pt x="64485" y="54850"/>
                  </a:cubicBezTo>
                  <a:cubicBezTo>
                    <a:pt x="43940" y="36758"/>
                    <a:pt x="23395" y="18666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1" name="任意多边形: 形状 870">
              <a:extLst>
                <a:ext uri="{FF2B5EF4-FFF2-40B4-BE49-F238E27FC236}">
                  <a16:creationId xmlns:a16="http://schemas.microsoft.com/office/drawing/2014/main" id="{7E047B4D-0735-48A0-B516-0690AD8C7474}"/>
                </a:ext>
              </a:extLst>
            </p:cNvPr>
            <p:cNvSpPr/>
            <p:nvPr/>
          </p:nvSpPr>
          <p:spPr>
            <a:xfrm>
              <a:off x="8723612" y="3194183"/>
              <a:ext cx="47536" cy="39613"/>
            </a:xfrm>
            <a:custGeom>
              <a:avLst/>
              <a:gdLst>
                <a:gd name="connsiteX0" fmla="*/ 541 w 61328"/>
                <a:gd name="connsiteY0" fmla="*/ 2618 h 51107"/>
                <a:gd name="connsiteX1" fmla="*/ 60949 w 61328"/>
                <a:gd name="connsiteY1" fmla="*/ 55463 h 51107"/>
                <a:gd name="connsiteX2" fmla="*/ 63300 w 61328"/>
                <a:gd name="connsiteY2" fmla="*/ 53317 h 51107"/>
                <a:gd name="connsiteX3" fmla="*/ 2892 w 61328"/>
                <a:gd name="connsiteY3" fmla="*/ 472 h 51107"/>
                <a:gd name="connsiteX4" fmla="*/ 541 w 61328"/>
                <a:gd name="connsiteY4" fmla="*/ 2618 h 51107"/>
                <a:gd name="connsiteX5" fmla="*/ 541 w 61328"/>
                <a:gd name="connsiteY5" fmla="*/ 261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541" y="2618"/>
                  </a:moveTo>
                  <a:cubicBezTo>
                    <a:pt x="20677" y="20199"/>
                    <a:pt x="40813" y="37882"/>
                    <a:pt x="60949" y="55463"/>
                  </a:cubicBezTo>
                  <a:cubicBezTo>
                    <a:pt x="62483" y="56792"/>
                    <a:pt x="64833" y="54645"/>
                    <a:pt x="63300" y="53317"/>
                  </a:cubicBezTo>
                  <a:cubicBezTo>
                    <a:pt x="43164" y="35736"/>
                    <a:pt x="23028" y="18053"/>
                    <a:pt x="2892" y="472"/>
                  </a:cubicBezTo>
                  <a:cubicBezTo>
                    <a:pt x="1358" y="-959"/>
                    <a:pt x="-1095" y="1188"/>
                    <a:pt x="541" y="2618"/>
                  </a:cubicBezTo>
                  <a:lnTo>
                    <a:pt x="541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2" name="任意多边形: 形状 871">
              <a:extLst>
                <a:ext uri="{FF2B5EF4-FFF2-40B4-BE49-F238E27FC236}">
                  <a16:creationId xmlns:a16="http://schemas.microsoft.com/office/drawing/2014/main" id="{1858BA50-10EC-4DBC-8180-D69A5A6099A3}"/>
                </a:ext>
              </a:extLst>
            </p:cNvPr>
            <p:cNvSpPr/>
            <p:nvPr/>
          </p:nvSpPr>
          <p:spPr>
            <a:xfrm>
              <a:off x="8727052" y="3209473"/>
              <a:ext cx="39613" cy="31691"/>
            </a:xfrm>
            <a:custGeom>
              <a:avLst/>
              <a:gdLst>
                <a:gd name="connsiteX0" fmla="*/ 498 w 51107"/>
                <a:gd name="connsiteY0" fmla="*/ 2619 h 40885"/>
                <a:gd name="connsiteX1" fmla="*/ 52831 w 51107"/>
                <a:gd name="connsiteY1" fmla="*/ 42891 h 40885"/>
                <a:gd name="connsiteX2" fmla="*/ 54569 w 51107"/>
                <a:gd name="connsiteY2" fmla="*/ 40233 h 40885"/>
                <a:gd name="connsiteX3" fmla="*/ 2951 w 51107"/>
                <a:gd name="connsiteY3" fmla="*/ 472 h 40885"/>
                <a:gd name="connsiteX4" fmla="*/ 498 w 51107"/>
                <a:gd name="connsiteY4" fmla="*/ 2619 h 40885"/>
                <a:gd name="connsiteX5" fmla="*/ 498 w 51107"/>
                <a:gd name="connsiteY5" fmla="*/ 261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498" y="2619"/>
                  </a:moveTo>
                  <a:cubicBezTo>
                    <a:pt x="16545" y="17644"/>
                    <a:pt x="34024" y="31136"/>
                    <a:pt x="52831" y="42891"/>
                  </a:cubicBezTo>
                  <a:cubicBezTo>
                    <a:pt x="54569" y="44015"/>
                    <a:pt x="56307" y="41358"/>
                    <a:pt x="54569" y="40233"/>
                  </a:cubicBezTo>
                  <a:cubicBezTo>
                    <a:pt x="35966" y="28581"/>
                    <a:pt x="18692" y="15293"/>
                    <a:pt x="2951" y="472"/>
                  </a:cubicBezTo>
                  <a:cubicBezTo>
                    <a:pt x="1315" y="-959"/>
                    <a:pt x="-1036" y="1187"/>
                    <a:pt x="498" y="2619"/>
                  </a:cubicBezTo>
                  <a:lnTo>
                    <a:pt x="498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3" name="任意多边形: 形状 872">
              <a:extLst>
                <a:ext uri="{FF2B5EF4-FFF2-40B4-BE49-F238E27FC236}">
                  <a16:creationId xmlns:a16="http://schemas.microsoft.com/office/drawing/2014/main" id="{F2CA2DDA-6CC7-476F-9787-E06ABC9F1946}"/>
                </a:ext>
              </a:extLst>
            </p:cNvPr>
            <p:cNvSpPr/>
            <p:nvPr/>
          </p:nvSpPr>
          <p:spPr>
            <a:xfrm>
              <a:off x="9710845" y="1862233"/>
              <a:ext cx="110917" cy="134685"/>
            </a:xfrm>
            <a:custGeom>
              <a:avLst/>
              <a:gdLst>
                <a:gd name="connsiteX0" fmla="*/ 344 w 143100"/>
                <a:gd name="connsiteY0" fmla="*/ 2717 h 173764"/>
                <a:gd name="connsiteX1" fmla="*/ 146818 w 143100"/>
                <a:gd name="connsiteY1" fmla="*/ 178526 h 173764"/>
                <a:gd name="connsiteX2" fmla="*/ 149169 w 143100"/>
                <a:gd name="connsiteY2" fmla="*/ 176379 h 173764"/>
                <a:gd name="connsiteX3" fmla="*/ 2695 w 143100"/>
                <a:gd name="connsiteY3" fmla="*/ 570 h 173764"/>
                <a:gd name="connsiteX4" fmla="*/ 344 w 143100"/>
                <a:gd name="connsiteY4" fmla="*/ 2717 h 173764"/>
                <a:gd name="connsiteX5" fmla="*/ 344 w 143100"/>
                <a:gd name="connsiteY5" fmla="*/ 271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73764">
                  <a:moveTo>
                    <a:pt x="344" y="2717"/>
                  </a:moveTo>
                  <a:cubicBezTo>
                    <a:pt x="49203" y="61286"/>
                    <a:pt x="98061" y="119957"/>
                    <a:pt x="146818" y="178526"/>
                  </a:cubicBezTo>
                  <a:cubicBezTo>
                    <a:pt x="148146" y="180059"/>
                    <a:pt x="150497" y="177912"/>
                    <a:pt x="149169" y="176379"/>
                  </a:cubicBezTo>
                  <a:cubicBezTo>
                    <a:pt x="100310" y="117810"/>
                    <a:pt x="51554" y="5913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4" name="任意多边形: 形状 873">
              <a:extLst>
                <a:ext uri="{FF2B5EF4-FFF2-40B4-BE49-F238E27FC236}">
                  <a16:creationId xmlns:a16="http://schemas.microsoft.com/office/drawing/2014/main" id="{B2645D65-B199-46E5-A769-FF86A812A9B5}"/>
                </a:ext>
              </a:extLst>
            </p:cNvPr>
            <p:cNvSpPr/>
            <p:nvPr/>
          </p:nvSpPr>
          <p:spPr>
            <a:xfrm>
              <a:off x="9735959" y="1876483"/>
              <a:ext cx="95071" cy="102994"/>
            </a:xfrm>
            <a:custGeom>
              <a:avLst/>
              <a:gdLst>
                <a:gd name="connsiteX0" fmla="*/ 344 w 122657"/>
                <a:gd name="connsiteY0" fmla="*/ 2731 h 132878"/>
                <a:gd name="connsiteX1" fmla="*/ 124637 w 122657"/>
                <a:gd name="connsiteY1" fmla="*/ 138983 h 132878"/>
                <a:gd name="connsiteX2" fmla="*/ 126988 w 122657"/>
                <a:gd name="connsiteY2" fmla="*/ 136836 h 132878"/>
                <a:gd name="connsiteX3" fmla="*/ 2695 w 122657"/>
                <a:gd name="connsiteY3" fmla="*/ 585 h 132878"/>
                <a:gd name="connsiteX4" fmla="*/ 344 w 122657"/>
                <a:gd name="connsiteY4" fmla="*/ 2731 h 132878"/>
                <a:gd name="connsiteX5" fmla="*/ 344 w 122657"/>
                <a:gd name="connsiteY5" fmla="*/ 2731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32878">
                  <a:moveTo>
                    <a:pt x="344" y="2731"/>
                  </a:moveTo>
                  <a:cubicBezTo>
                    <a:pt x="37959" y="51181"/>
                    <a:pt x="79458" y="96768"/>
                    <a:pt x="124637" y="138983"/>
                  </a:cubicBezTo>
                  <a:cubicBezTo>
                    <a:pt x="126170" y="140414"/>
                    <a:pt x="128521" y="138267"/>
                    <a:pt x="126988" y="136836"/>
                  </a:cubicBezTo>
                  <a:cubicBezTo>
                    <a:pt x="81809" y="94622"/>
                    <a:pt x="40208" y="49034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5" name="任意多边形: 形状 874">
              <a:extLst>
                <a:ext uri="{FF2B5EF4-FFF2-40B4-BE49-F238E27FC236}">
                  <a16:creationId xmlns:a16="http://schemas.microsoft.com/office/drawing/2014/main" id="{5D762E56-62BA-483E-8A6B-86E94C6B756B}"/>
                </a:ext>
              </a:extLst>
            </p:cNvPr>
            <p:cNvSpPr/>
            <p:nvPr/>
          </p:nvSpPr>
          <p:spPr>
            <a:xfrm>
              <a:off x="9746894" y="1881122"/>
              <a:ext cx="79226" cy="79226"/>
            </a:xfrm>
            <a:custGeom>
              <a:avLst/>
              <a:gdLst>
                <a:gd name="connsiteX0" fmla="*/ 445 w 102214"/>
                <a:gd name="connsiteY0" fmla="*/ 2674 h 102214"/>
                <a:gd name="connsiteX1" fmla="*/ 105624 w 102214"/>
                <a:gd name="connsiteY1" fmla="*/ 111635 h 102214"/>
                <a:gd name="connsiteX2" fmla="*/ 107975 w 102214"/>
                <a:gd name="connsiteY2" fmla="*/ 109488 h 102214"/>
                <a:gd name="connsiteX3" fmla="*/ 2796 w 102214"/>
                <a:gd name="connsiteY3" fmla="*/ 528 h 102214"/>
                <a:gd name="connsiteX4" fmla="*/ 445 w 102214"/>
                <a:gd name="connsiteY4" fmla="*/ 2674 h 102214"/>
                <a:gd name="connsiteX5" fmla="*/ 445 w 102214"/>
                <a:gd name="connsiteY5" fmla="*/ 2674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45" y="2674"/>
                  </a:moveTo>
                  <a:cubicBezTo>
                    <a:pt x="34074" y="40187"/>
                    <a:pt x="69133" y="76575"/>
                    <a:pt x="105624" y="111635"/>
                  </a:cubicBezTo>
                  <a:cubicBezTo>
                    <a:pt x="107055" y="113066"/>
                    <a:pt x="109406" y="110919"/>
                    <a:pt x="107975" y="109488"/>
                  </a:cubicBezTo>
                  <a:cubicBezTo>
                    <a:pt x="71485" y="74326"/>
                    <a:pt x="36425" y="38040"/>
                    <a:pt x="2796" y="528"/>
                  </a:cubicBezTo>
                  <a:cubicBezTo>
                    <a:pt x="1365" y="-1006"/>
                    <a:pt x="-986" y="1141"/>
                    <a:pt x="445" y="2674"/>
                  </a:cubicBezTo>
                  <a:lnTo>
                    <a:pt x="445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6" name="任意多边形: 形状 875">
              <a:extLst>
                <a:ext uri="{FF2B5EF4-FFF2-40B4-BE49-F238E27FC236}">
                  <a16:creationId xmlns:a16="http://schemas.microsoft.com/office/drawing/2014/main" id="{109B2073-E455-4DA0-A7AA-E29CBC26E5F6}"/>
                </a:ext>
              </a:extLst>
            </p:cNvPr>
            <p:cNvSpPr/>
            <p:nvPr/>
          </p:nvSpPr>
          <p:spPr>
            <a:xfrm>
              <a:off x="9760836" y="1885592"/>
              <a:ext cx="71304" cy="71304"/>
            </a:xfrm>
            <a:custGeom>
              <a:avLst/>
              <a:gdLst>
                <a:gd name="connsiteX0" fmla="*/ 446 w 91992"/>
                <a:gd name="connsiteY0" fmla="*/ 2530 h 91992"/>
                <a:gd name="connsiteX1" fmla="*/ 46852 w 91992"/>
                <a:gd name="connsiteY1" fmla="*/ 46891 h 91992"/>
                <a:gd name="connsiteX2" fmla="*/ 95812 w 91992"/>
                <a:gd name="connsiteY2" fmla="*/ 92274 h 91992"/>
                <a:gd name="connsiteX3" fmla="*/ 93053 w 91992"/>
                <a:gd name="connsiteY3" fmla="*/ 90639 h 91992"/>
                <a:gd name="connsiteX4" fmla="*/ 92746 w 91992"/>
                <a:gd name="connsiteY4" fmla="*/ 90945 h 91992"/>
                <a:gd name="connsiteX5" fmla="*/ 92950 w 91992"/>
                <a:gd name="connsiteY5" fmla="*/ 92785 h 91992"/>
                <a:gd name="connsiteX6" fmla="*/ 95506 w 91992"/>
                <a:gd name="connsiteY6" fmla="*/ 93603 h 91992"/>
                <a:gd name="connsiteX7" fmla="*/ 96732 w 91992"/>
                <a:gd name="connsiteY7" fmla="*/ 92172 h 91992"/>
                <a:gd name="connsiteX8" fmla="*/ 93257 w 91992"/>
                <a:gd name="connsiteY8" fmla="*/ 86959 h 91992"/>
                <a:gd name="connsiteX9" fmla="*/ 80787 w 91992"/>
                <a:gd name="connsiteY9" fmla="*/ 75102 h 91992"/>
                <a:gd name="connsiteX10" fmla="*/ 54722 w 91992"/>
                <a:gd name="connsiteY10" fmla="*/ 50264 h 91992"/>
                <a:gd name="connsiteX11" fmla="*/ 2695 w 91992"/>
                <a:gd name="connsiteY11" fmla="*/ 588 h 91992"/>
                <a:gd name="connsiteX12" fmla="*/ 446 w 91992"/>
                <a:gd name="connsiteY12" fmla="*/ 2530 h 91992"/>
                <a:gd name="connsiteX13" fmla="*/ 446 w 91992"/>
                <a:gd name="connsiteY13" fmla="*/ 2530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992" h="91992">
                  <a:moveTo>
                    <a:pt x="446" y="2530"/>
                  </a:moveTo>
                  <a:cubicBezTo>
                    <a:pt x="15881" y="17351"/>
                    <a:pt x="31417" y="32070"/>
                    <a:pt x="46852" y="46891"/>
                  </a:cubicBezTo>
                  <a:cubicBezTo>
                    <a:pt x="50940" y="50775"/>
                    <a:pt x="95404" y="92683"/>
                    <a:pt x="95812" y="92274"/>
                  </a:cubicBezTo>
                  <a:cubicBezTo>
                    <a:pt x="97141" y="90741"/>
                    <a:pt x="94279" y="89106"/>
                    <a:pt x="93053" y="90639"/>
                  </a:cubicBezTo>
                  <a:cubicBezTo>
                    <a:pt x="92950" y="90741"/>
                    <a:pt x="92848" y="90843"/>
                    <a:pt x="92746" y="90945"/>
                  </a:cubicBezTo>
                  <a:cubicBezTo>
                    <a:pt x="92337" y="91457"/>
                    <a:pt x="92542" y="92377"/>
                    <a:pt x="92950" y="92785"/>
                  </a:cubicBezTo>
                  <a:cubicBezTo>
                    <a:pt x="93768" y="93603"/>
                    <a:pt x="94279" y="93808"/>
                    <a:pt x="95506" y="93603"/>
                  </a:cubicBezTo>
                  <a:cubicBezTo>
                    <a:pt x="96221" y="93501"/>
                    <a:pt x="96732" y="92785"/>
                    <a:pt x="96732" y="92172"/>
                  </a:cubicBezTo>
                  <a:cubicBezTo>
                    <a:pt x="96732" y="89719"/>
                    <a:pt x="95097" y="88697"/>
                    <a:pt x="93257" y="86959"/>
                  </a:cubicBezTo>
                  <a:cubicBezTo>
                    <a:pt x="89169" y="82973"/>
                    <a:pt x="84978" y="78986"/>
                    <a:pt x="80787" y="75102"/>
                  </a:cubicBezTo>
                  <a:cubicBezTo>
                    <a:pt x="72099" y="66823"/>
                    <a:pt x="63411" y="58543"/>
                    <a:pt x="54722" y="50264"/>
                  </a:cubicBezTo>
                  <a:cubicBezTo>
                    <a:pt x="37346" y="33705"/>
                    <a:pt x="20072" y="17147"/>
                    <a:pt x="2695" y="588"/>
                  </a:cubicBezTo>
                  <a:cubicBezTo>
                    <a:pt x="1366" y="-1048"/>
                    <a:pt x="-985" y="1099"/>
                    <a:pt x="446" y="2530"/>
                  </a:cubicBezTo>
                  <a:lnTo>
                    <a:pt x="446" y="253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7" name="任意多边形: 形状 876">
              <a:extLst>
                <a:ext uri="{FF2B5EF4-FFF2-40B4-BE49-F238E27FC236}">
                  <a16:creationId xmlns:a16="http://schemas.microsoft.com/office/drawing/2014/main" id="{3BB29053-32BE-49A1-AA0E-72F3B8EA35FA}"/>
                </a:ext>
              </a:extLst>
            </p:cNvPr>
            <p:cNvSpPr/>
            <p:nvPr/>
          </p:nvSpPr>
          <p:spPr>
            <a:xfrm>
              <a:off x="9787695" y="1900022"/>
              <a:ext cx="47536" cy="31691"/>
            </a:xfrm>
            <a:custGeom>
              <a:avLst/>
              <a:gdLst>
                <a:gd name="connsiteX0" fmla="*/ 445 w 61328"/>
                <a:gd name="connsiteY0" fmla="*/ 2618 h 40885"/>
                <a:gd name="connsiteX1" fmla="*/ 59525 w 61328"/>
                <a:gd name="connsiteY1" fmla="*/ 50557 h 40885"/>
                <a:gd name="connsiteX2" fmla="*/ 61263 w 61328"/>
                <a:gd name="connsiteY2" fmla="*/ 47899 h 40885"/>
                <a:gd name="connsiteX3" fmla="*/ 2796 w 61328"/>
                <a:gd name="connsiteY3" fmla="*/ 472 h 40885"/>
                <a:gd name="connsiteX4" fmla="*/ 445 w 61328"/>
                <a:gd name="connsiteY4" fmla="*/ 2618 h 40885"/>
                <a:gd name="connsiteX5" fmla="*/ 445 w 61328"/>
                <a:gd name="connsiteY5" fmla="*/ 261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445" y="2618"/>
                  </a:moveTo>
                  <a:cubicBezTo>
                    <a:pt x="18640" y="20302"/>
                    <a:pt x="38367" y="36247"/>
                    <a:pt x="59525" y="50557"/>
                  </a:cubicBezTo>
                  <a:cubicBezTo>
                    <a:pt x="61263" y="51681"/>
                    <a:pt x="62898" y="49024"/>
                    <a:pt x="61263" y="47899"/>
                  </a:cubicBezTo>
                  <a:cubicBezTo>
                    <a:pt x="40309" y="33794"/>
                    <a:pt x="20786" y="17951"/>
                    <a:pt x="2796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8" name="任意多边形: 形状 877">
              <a:extLst>
                <a:ext uri="{FF2B5EF4-FFF2-40B4-BE49-F238E27FC236}">
                  <a16:creationId xmlns:a16="http://schemas.microsoft.com/office/drawing/2014/main" id="{DC37ECDA-CD87-4FE9-BC62-2B1FC2AB0655}"/>
                </a:ext>
              </a:extLst>
            </p:cNvPr>
            <p:cNvSpPr/>
            <p:nvPr/>
          </p:nvSpPr>
          <p:spPr>
            <a:xfrm>
              <a:off x="9781791" y="1883780"/>
              <a:ext cx="55458" cy="47536"/>
            </a:xfrm>
            <a:custGeom>
              <a:avLst/>
              <a:gdLst>
                <a:gd name="connsiteX0" fmla="*/ 499 w 71550"/>
                <a:gd name="connsiteY0" fmla="*/ 2618 h 61328"/>
                <a:gd name="connsiteX1" fmla="*/ 76853 w 71550"/>
                <a:gd name="connsiteY1" fmla="*/ 63538 h 61328"/>
                <a:gd name="connsiteX2" fmla="*/ 78591 w 71550"/>
                <a:gd name="connsiteY2" fmla="*/ 60881 h 61328"/>
                <a:gd name="connsiteX3" fmla="*/ 2850 w 71550"/>
                <a:gd name="connsiteY3" fmla="*/ 472 h 61328"/>
                <a:gd name="connsiteX4" fmla="*/ 499 w 71550"/>
                <a:gd name="connsiteY4" fmla="*/ 2618 h 61328"/>
                <a:gd name="connsiteX5" fmla="*/ 499 w 71550"/>
                <a:gd name="connsiteY5" fmla="*/ 261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61328">
                  <a:moveTo>
                    <a:pt x="499" y="2618"/>
                  </a:moveTo>
                  <a:cubicBezTo>
                    <a:pt x="24008" y="25003"/>
                    <a:pt x="49562" y="45344"/>
                    <a:pt x="76853" y="63538"/>
                  </a:cubicBezTo>
                  <a:cubicBezTo>
                    <a:pt x="78591" y="64663"/>
                    <a:pt x="80226" y="62005"/>
                    <a:pt x="78591" y="60881"/>
                  </a:cubicBezTo>
                  <a:cubicBezTo>
                    <a:pt x="51504" y="42891"/>
                    <a:pt x="26257" y="22652"/>
                    <a:pt x="2850" y="472"/>
                  </a:cubicBezTo>
                  <a:cubicBezTo>
                    <a:pt x="1316" y="-959"/>
                    <a:pt x="-1034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9" name="任意多边形: 形状 878">
              <a:extLst>
                <a:ext uri="{FF2B5EF4-FFF2-40B4-BE49-F238E27FC236}">
                  <a16:creationId xmlns:a16="http://schemas.microsoft.com/office/drawing/2014/main" id="{EF68C757-26A4-426F-839E-E0B917589340}"/>
                </a:ext>
              </a:extLst>
            </p:cNvPr>
            <p:cNvSpPr/>
            <p:nvPr/>
          </p:nvSpPr>
          <p:spPr>
            <a:xfrm>
              <a:off x="9801678" y="1890477"/>
              <a:ext cx="39613" cy="23768"/>
            </a:xfrm>
            <a:custGeom>
              <a:avLst/>
              <a:gdLst>
                <a:gd name="connsiteX0" fmla="*/ 498 w 51107"/>
                <a:gd name="connsiteY0" fmla="*/ 2565 h 30664"/>
                <a:gd name="connsiteX1" fmla="*/ 53854 w 51107"/>
                <a:gd name="connsiteY1" fmla="*/ 39055 h 30664"/>
                <a:gd name="connsiteX2" fmla="*/ 55591 w 51107"/>
                <a:gd name="connsiteY2" fmla="*/ 36398 h 30664"/>
                <a:gd name="connsiteX3" fmla="*/ 2951 w 51107"/>
                <a:gd name="connsiteY3" fmla="*/ 418 h 30664"/>
                <a:gd name="connsiteX4" fmla="*/ 498 w 51107"/>
                <a:gd name="connsiteY4" fmla="*/ 2565 h 30664"/>
                <a:gd name="connsiteX5" fmla="*/ 498 w 51107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498" y="2565"/>
                  </a:moveTo>
                  <a:cubicBezTo>
                    <a:pt x="16545" y="16875"/>
                    <a:pt x="34331" y="29140"/>
                    <a:pt x="53854" y="39055"/>
                  </a:cubicBezTo>
                  <a:cubicBezTo>
                    <a:pt x="55693" y="39975"/>
                    <a:pt x="57431" y="37318"/>
                    <a:pt x="55591" y="36398"/>
                  </a:cubicBezTo>
                  <a:cubicBezTo>
                    <a:pt x="36375" y="26585"/>
                    <a:pt x="18794" y="14524"/>
                    <a:pt x="2951" y="418"/>
                  </a:cubicBezTo>
                  <a:cubicBezTo>
                    <a:pt x="1315" y="-911"/>
                    <a:pt x="-1036" y="1236"/>
                    <a:pt x="498" y="2565"/>
                  </a:cubicBezTo>
                  <a:lnTo>
                    <a:pt x="498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0" name="任意多边形: 形状 879">
              <a:extLst>
                <a:ext uri="{FF2B5EF4-FFF2-40B4-BE49-F238E27FC236}">
                  <a16:creationId xmlns:a16="http://schemas.microsoft.com/office/drawing/2014/main" id="{6A46B323-B633-4C50-9691-10D713F74FFE}"/>
                </a:ext>
              </a:extLst>
            </p:cNvPr>
            <p:cNvSpPr/>
            <p:nvPr/>
          </p:nvSpPr>
          <p:spPr>
            <a:xfrm>
              <a:off x="9803943" y="1880297"/>
              <a:ext cx="55458" cy="31691"/>
            </a:xfrm>
            <a:custGeom>
              <a:avLst/>
              <a:gdLst>
                <a:gd name="connsiteX0" fmla="*/ 539 w 71550"/>
                <a:gd name="connsiteY0" fmla="*/ 2513 h 40885"/>
                <a:gd name="connsiteX1" fmla="*/ 69125 w 71550"/>
                <a:gd name="connsiteY1" fmla="*/ 49634 h 40885"/>
                <a:gd name="connsiteX2" fmla="*/ 70863 w 71550"/>
                <a:gd name="connsiteY2" fmla="*/ 46976 h 40885"/>
                <a:gd name="connsiteX3" fmla="*/ 2993 w 71550"/>
                <a:gd name="connsiteY3" fmla="*/ 366 h 40885"/>
                <a:gd name="connsiteX4" fmla="*/ 539 w 71550"/>
                <a:gd name="connsiteY4" fmla="*/ 2513 h 40885"/>
                <a:gd name="connsiteX5" fmla="*/ 539 w 71550"/>
                <a:gd name="connsiteY5" fmla="*/ 251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40885">
                  <a:moveTo>
                    <a:pt x="539" y="2513"/>
                  </a:moveTo>
                  <a:cubicBezTo>
                    <a:pt x="22516" y="19276"/>
                    <a:pt x="45411" y="35017"/>
                    <a:pt x="69125" y="49634"/>
                  </a:cubicBezTo>
                  <a:cubicBezTo>
                    <a:pt x="70863" y="50758"/>
                    <a:pt x="72601" y="48100"/>
                    <a:pt x="70863" y="46976"/>
                  </a:cubicBezTo>
                  <a:cubicBezTo>
                    <a:pt x="47456" y="32564"/>
                    <a:pt x="24764" y="17027"/>
                    <a:pt x="2993" y="366"/>
                  </a:cubicBezTo>
                  <a:cubicBezTo>
                    <a:pt x="1357" y="-860"/>
                    <a:pt x="-1096" y="1286"/>
                    <a:pt x="539" y="2513"/>
                  </a:cubicBezTo>
                  <a:lnTo>
                    <a:pt x="539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1" name="任意多边形: 形状 880">
              <a:extLst>
                <a:ext uri="{FF2B5EF4-FFF2-40B4-BE49-F238E27FC236}">
                  <a16:creationId xmlns:a16="http://schemas.microsoft.com/office/drawing/2014/main" id="{D270D10E-801A-49F6-8022-EBB6EC4D6D4A}"/>
                </a:ext>
              </a:extLst>
            </p:cNvPr>
            <p:cNvSpPr/>
            <p:nvPr/>
          </p:nvSpPr>
          <p:spPr>
            <a:xfrm>
              <a:off x="8696877" y="3041348"/>
              <a:ext cx="285215" cy="285215"/>
            </a:xfrm>
            <a:custGeom>
              <a:avLst/>
              <a:gdLst>
                <a:gd name="connsiteX0" fmla="*/ 3552 w 367971"/>
                <a:gd name="connsiteY0" fmla="*/ 43309 h 367971"/>
                <a:gd name="connsiteX1" fmla="*/ 690 w 367971"/>
                <a:gd name="connsiteY1" fmla="*/ 60787 h 367971"/>
                <a:gd name="connsiteX2" fmla="*/ 11524 w 367971"/>
                <a:gd name="connsiteY2" fmla="*/ 74075 h 367971"/>
                <a:gd name="connsiteX3" fmla="*/ 135817 w 367971"/>
                <a:gd name="connsiteY3" fmla="*/ 215438 h 367971"/>
                <a:gd name="connsiteX4" fmla="*/ 150945 w 367971"/>
                <a:gd name="connsiteY4" fmla="*/ 293939 h 367971"/>
                <a:gd name="connsiteX5" fmla="*/ 271353 w 367971"/>
                <a:gd name="connsiteY5" fmla="*/ 165455 h 367971"/>
                <a:gd name="connsiteX6" fmla="*/ 296907 w 367971"/>
                <a:gd name="connsiteY6" fmla="*/ 155540 h 367971"/>
                <a:gd name="connsiteX7" fmla="*/ 218917 w 367971"/>
                <a:gd name="connsiteY7" fmla="*/ 265932 h 367971"/>
                <a:gd name="connsiteX8" fmla="*/ 177623 w 367971"/>
                <a:gd name="connsiteY8" fmla="*/ 313973 h 367971"/>
                <a:gd name="connsiteX9" fmla="*/ 162495 w 367971"/>
                <a:gd name="connsiteY9" fmla="*/ 372746 h 367971"/>
                <a:gd name="connsiteX10" fmla="*/ 365493 w 367971"/>
                <a:gd name="connsiteY10" fmla="*/ 150634 h 367971"/>
                <a:gd name="connsiteX11" fmla="*/ 372750 w 367971"/>
                <a:gd name="connsiteY11" fmla="*/ 139595 h 367971"/>
                <a:gd name="connsiteX12" fmla="*/ 362529 w 367971"/>
                <a:gd name="connsiteY12" fmla="*/ 119868 h 367971"/>
                <a:gd name="connsiteX13" fmla="*/ 338815 w 367971"/>
                <a:gd name="connsiteY13" fmla="*/ 113223 h 367971"/>
                <a:gd name="connsiteX14" fmla="*/ 152069 w 367971"/>
                <a:gd name="connsiteY14" fmla="*/ 57619 h 367971"/>
                <a:gd name="connsiteX15" fmla="*/ 66618 w 367971"/>
                <a:gd name="connsiteY15" fmla="*/ 12031 h 367971"/>
                <a:gd name="connsiteX16" fmla="*/ 32274 w 367971"/>
                <a:gd name="connsiteY16" fmla="*/ 3445 h 367971"/>
                <a:gd name="connsiteX17" fmla="*/ 3552 w 367971"/>
                <a:gd name="connsiteY17" fmla="*/ 43309 h 36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971" h="367971">
                  <a:moveTo>
                    <a:pt x="3552" y="43309"/>
                  </a:moveTo>
                  <a:cubicBezTo>
                    <a:pt x="996" y="48828"/>
                    <a:pt x="-1150" y="55063"/>
                    <a:pt x="690" y="60787"/>
                  </a:cubicBezTo>
                  <a:cubicBezTo>
                    <a:pt x="2325" y="66205"/>
                    <a:pt x="7027" y="70294"/>
                    <a:pt x="11524" y="74075"/>
                  </a:cubicBezTo>
                  <a:cubicBezTo>
                    <a:pt x="59974" y="115063"/>
                    <a:pt x="101984" y="162900"/>
                    <a:pt x="135817" y="215438"/>
                  </a:cubicBezTo>
                  <a:cubicBezTo>
                    <a:pt x="151149" y="239254"/>
                    <a:pt x="164846" y="269407"/>
                    <a:pt x="150945" y="293939"/>
                  </a:cubicBezTo>
                  <a:cubicBezTo>
                    <a:pt x="186720" y="247636"/>
                    <a:pt x="227095" y="204603"/>
                    <a:pt x="271353" y="165455"/>
                  </a:cubicBezTo>
                  <a:cubicBezTo>
                    <a:pt x="278406" y="159220"/>
                    <a:pt x="287708" y="152576"/>
                    <a:pt x="296907" y="155540"/>
                  </a:cubicBezTo>
                  <a:cubicBezTo>
                    <a:pt x="273091" y="193666"/>
                    <a:pt x="249173" y="232099"/>
                    <a:pt x="218917" y="265932"/>
                  </a:cubicBezTo>
                  <a:cubicBezTo>
                    <a:pt x="204812" y="281673"/>
                    <a:pt x="189275" y="296494"/>
                    <a:pt x="177623" y="313973"/>
                  </a:cubicBezTo>
                  <a:cubicBezTo>
                    <a:pt x="165970" y="331451"/>
                    <a:pt x="158509" y="352507"/>
                    <a:pt x="162495" y="372746"/>
                  </a:cubicBezTo>
                  <a:cubicBezTo>
                    <a:pt x="230161" y="298743"/>
                    <a:pt x="297827" y="224739"/>
                    <a:pt x="365493" y="150634"/>
                  </a:cubicBezTo>
                  <a:cubicBezTo>
                    <a:pt x="368559" y="147363"/>
                    <a:pt x="371626" y="143888"/>
                    <a:pt x="372750" y="139595"/>
                  </a:cubicBezTo>
                  <a:cubicBezTo>
                    <a:pt x="374794" y="132031"/>
                    <a:pt x="369479" y="124058"/>
                    <a:pt x="362529" y="119868"/>
                  </a:cubicBezTo>
                  <a:cubicBezTo>
                    <a:pt x="355476" y="115677"/>
                    <a:pt x="347094" y="114450"/>
                    <a:pt x="338815" y="113223"/>
                  </a:cubicBezTo>
                  <a:cubicBezTo>
                    <a:pt x="274215" y="103104"/>
                    <a:pt x="211149" y="84297"/>
                    <a:pt x="152069" y="57619"/>
                  </a:cubicBezTo>
                  <a:cubicBezTo>
                    <a:pt x="122529" y="44331"/>
                    <a:pt x="93909" y="29101"/>
                    <a:pt x="66618" y="12031"/>
                  </a:cubicBezTo>
                  <a:cubicBezTo>
                    <a:pt x="51899" y="2832"/>
                    <a:pt x="47504" y="-4630"/>
                    <a:pt x="32274" y="3445"/>
                  </a:cubicBezTo>
                  <a:cubicBezTo>
                    <a:pt x="19599" y="10294"/>
                    <a:pt x="8969" y="31350"/>
                    <a:pt x="3552" y="4330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2" name="任意多边形: 形状 881">
              <a:extLst>
                <a:ext uri="{FF2B5EF4-FFF2-40B4-BE49-F238E27FC236}">
                  <a16:creationId xmlns:a16="http://schemas.microsoft.com/office/drawing/2014/main" id="{885C659C-1759-4396-B37A-923C102697AD}"/>
                </a:ext>
              </a:extLst>
            </p:cNvPr>
            <p:cNvSpPr/>
            <p:nvPr/>
          </p:nvSpPr>
          <p:spPr>
            <a:xfrm>
              <a:off x="9630612" y="1863468"/>
              <a:ext cx="332751" cy="269369"/>
            </a:xfrm>
            <a:custGeom>
              <a:avLst/>
              <a:gdLst>
                <a:gd name="connsiteX0" fmla="*/ 100995 w 429300"/>
                <a:gd name="connsiteY0" fmla="*/ 0 h 347529"/>
                <a:gd name="connsiteX1" fmla="*/ 178473 w 429300"/>
                <a:gd name="connsiteY1" fmla="*/ 94242 h 347529"/>
                <a:gd name="connsiteX2" fmla="*/ 242664 w 429300"/>
                <a:gd name="connsiteY2" fmla="*/ 154548 h 347529"/>
                <a:gd name="connsiteX3" fmla="*/ 328729 w 429300"/>
                <a:gd name="connsiteY3" fmla="*/ 155673 h 347529"/>
                <a:gd name="connsiteX4" fmla="*/ 254214 w 429300"/>
                <a:gd name="connsiteY4" fmla="*/ 252878 h 347529"/>
                <a:gd name="connsiteX5" fmla="*/ 250330 w 429300"/>
                <a:gd name="connsiteY5" fmla="*/ 279352 h 347529"/>
                <a:gd name="connsiteX6" fmla="*/ 355611 w 429300"/>
                <a:gd name="connsiteY6" fmla="*/ 169676 h 347529"/>
                <a:gd name="connsiteX7" fmla="*/ 366241 w 429300"/>
                <a:gd name="connsiteY7" fmla="*/ 161294 h 347529"/>
                <a:gd name="connsiteX8" fmla="*/ 380245 w 429300"/>
                <a:gd name="connsiteY8" fmla="*/ 159659 h 347529"/>
                <a:gd name="connsiteX9" fmla="*/ 437178 w 429300"/>
                <a:gd name="connsiteY9" fmla="*/ 160783 h 347529"/>
                <a:gd name="connsiteX10" fmla="*/ 283448 w 429300"/>
                <a:gd name="connsiteY10" fmla="*/ 350902 h 347529"/>
                <a:gd name="connsiteX11" fmla="*/ 185628 w 429300"/>
                <a:gd name="connsiteY11" fmla="*/ 301533 h 347529"/>
                <a:gd name="connsiteX12" fmla="*/ 65424 w 429300"/>
                <a:gd name="connsiteY12" fmla="*/ 229062 h 347529"/>
                <a:gd name="connsiteX13" fmla="*/ 4198 w 429300"/>
                <a:gd name="connsiteY13" fmla="*/ 116013 h 347529"/>
                <a:gd name="connsiteX14" fmla="*/ 100995 w 429300"/>
                <a:gd name="connsiteY14" fmla="*/ 0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300" h="347529">
                  <a:moveTo>
                    <a:pt x="100995" y="0"/>
                  </a:moveTo>
                  <a:cubicBezTo>
                    <a:pt x="126855" y="31380"/>
                    <a:pt x="152715" y="62862"/>
                    <a:pt x="178473" y="94242"/>
                  </a:cubicBezTo>
                  <a:cubicBezTo>
                    <a:pt x="197076" y="116933"/>
                    <a:pt x="216395" y="140136"/>
                    <a:pt x="242664" y="154548"/>
                  </a:cubicBezTo>
                  <a:cubicBezTo>
                    <a:pt x="268933" y="168960"/>
                    <a:pt x="304197" y="172538"/>
                    <a:pt x="328729" y="155673"/>
                  </a:cubicBezTo>
                  <a:cubicBezTo>
                    <a:pt x="303890" y="188075"/>
                    <a:pt x="279052" y="220476"/>
                    <a:pt x="254214" y="252878"/>
                  </a:cubicBezTo>
                  <a:cubicBezTo>
                    <a:pt x="248081" y="260851"/>
                    <a:pt x="242357" y="273015"/>
                    <a:pt x="250330" y="279352"/>
                  </a:cubicBezTo>
                  <a:cubicBezTo>
                    <a:pt x="285390" y="242759"/>
                    <a:pt x="320551" y="206269"/>
                    <a:pt x="355611" y="169676"/>
                  </a:cubicBezTo>
                  <a:cubicBezTo>
                    <a:pt x="358677" y="166405"/>
                    <a:pt x="361948" y="163134"/>
                    <a:pt x="366241" y="161294"/>
                  </a:cubicBezTo>
                  <a:cubicBezTo>
                    <a:pt x="370636" y="159454"/>
                    <a:pt x="375543" y="159557"/>
                    <a:pt x="380245" y="159659"/>
                  </a:cubicBezTo>
                  <a:cubicBezTo>
                    <a:pt x="399256" y="160068"/>
                    <a:pt x="418166" y="160477"/>
                    <a:pt x="437178" y="160783"/>
                  </a:cubicBezTo>
                  <a:cubicBezTo>
                    <a:pt x="382596" y="221703"/>
                    <a:pt x="331284" y="285178"/>
                    <a:pt x="283448" y="350902"/>
                  </a:cubicBezTo>
                  <a:cubicBezTo>
                    <a:pt x="250841" y="334446"/>
                    <a:pt x="218235" y="317989"/>
                    <a:pt x="185628" y="301533"/>
                  </a:cubicBezTo>
                  <a:cubicBezTo>
                    <a:pt x="143618" y="280272"/>
                    <a:pt x="101199" y="258807"/>
                    <a:pt x="65424" y="229062"/>
                  </a:cubicBezTo>
                  <a:cubicBezTo>
                    <a:pt x="36906" y="205247"/>
                    <a:pt x="-15121" y="154855"/>
                    <a:pt x="4198" y="116013"/>
                  </a:cubicBezTo>
                  <a:cubicBezTo>
                    <a:pt x="11148" y="102521"/>
                    <a:pt x="102732" y="2249"/>
                    <a:pt x="100995" y="0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3" name="任意多边形: 形状 882">
              <a:extLst>
                <a:ext uri="{FF2B5EF4-FFF2-40B4-BE49-F238E27FC236}">
                  <a16:creationId xmlns:a16="http://schemas.microsoft.com/office/drawing/2014/main" id="{AADC1A93-3A32-4980-8DF7-A9DDE9A75758}"/>
                </a:ext>
              </a:extLst>
            </p:cNvPr>
            <p:cNvSpPr/>
            <p:nvPr/>
          </p:nvSpPr>
          <p:spPr>
            <a:xfrm>
              <a:off x="8567400" y="3874308"/>
              <a:ext cx="617965" cy="459513"/>
            </a:xfrm>
            <a:custGeom>
              <a:avLst/>
              <a:gdLst>
                <a:gd name="connsiteX0" fmla="*/ 56015 w 797272"/>
                <a:gd name="connsiteY0" fmla="*/ 597038 h 592843"/>
                <a:gd name="connsiteX1" fmla="*/ 45486 w 797272"/>
                <a:gd name="connsiteY1" fmla="*/ 530497 h 592843"/>
                <a:gd name="connsiteX2" fmla="*/ 47531 w 797272"/>
                <a:gd name="connsiteY2" fmla="*/ 512302 h 592843"/>
                <a:gd name="connsiteX3" fmla="*/ 56526 w 797272"/>
                <a:gd name="connsiteY3" fmla="*/ 505863 h 592843"/>
                <a:gd name="connsiteX4" fmla="*/ 111517 w 797272"/>
                <a:gd name="connsiteY4" fmla="*/ 481638 h 592843"/>
                <a:gd name="connsiteX5" fmla="*/ 146883 w 797272"/>
                <a:gd name="connsiteY5" fmla="*/ 311655 h 592843"/>
                <a:gd name="connsiteX6" fmla="*/ 153425 w 797272"/>
                <a:gd name="connsiteY6" fmla="*/ 298265 h 592843"/>
                <a:gd name="connsiteX7" fmla="*/ 107633 w 797272"/>
                <a:gd name="connsiteY7" fmla="*/ 242865 h 592843"/>
                <a:gd name="connsiteX8" fmla="*/ 138910 w 797272"/>
                <a:gd name="connsiteY8" fmla="*/ 191962 h 592843"/>
                <a:gd name="connsiteX9" fmla="*/ 188178 w 797272"/>
                <a:gd name="connsiteY9" fmla="*/ 217720 h 592843"/>
                <a:gd name="connsiteX10" fmla="*/ 194209 w 797272"/>
                <a:gd name="connsiteY10" fmla="*/ 219151 h 592843"/>
                <a:gd name="connsiteX11" fmla="*/ 199115 w 797272"/>
                <a:gd name="connsiteY11" fmla="*/ 216289 h 592843"/>
                <a:gd name="connsiteX12" fmla="*/ 372879 w 797272"/>
                <a:gd name="connsiteY12" fmla="*/ 123172 h 592843"/>
                <a:gd name="connsiteX13" fmla="*/ 379728 w 797272"/>
                <a:gd name="connsiteY13" fmla="*/ 59697 h 592843"/>
                <a:gd name="connsiteX14" fmla="*/ 425724 w 797272"/>
                <a:gd name="connsiteY14" fmla="*/ 51724 h 592843"/>
                <a:gd name="connsiteX15" fmla="*/ 454855 w 797272"/>
                <a:gd name="connsiteY15" fmla="*/ 105898 h 592843"/>
                <a:gd name="connsiteX16" fmla="*/ 660408 w 797272"/>
                <a:gd name="connsiteY16" fmla="*/ 145455 h 592843"/>
                <a:gd name="connsiteX17" fmla="*/ 708654 w 797272"/>
                <a:gd name="connsiteY17" fmla="*/ 108760 h 592843"/>
                <a:gd name="connsiteX18" fmla="*/ 784395 w 797272"/>
                <a:gd name="connsiteY18" fmla="*/ 158129 h 592843"/>
                <a:gd name="connsiteX19" fmla="*/ 805553 w 797272"/>
                <a:gd name="connsiteY19" fmla="*/ 116017 h 592843"/>
                <a:gd name="connsiteX20" fmla="*/ 729608 w 797272"/>
                <a:gd name="connsiteY20" fmla="*/ 68385 h 592843"/>
                <a:gd name="connsiteX21" fmla="*/ 717751 w 797272"/>
                <a:gd name="connsiteY21" fmla="*/ 60617 h 592843"/>
                <a:gd name="connsiteX22" fmla="*/ 682078 w 797272"/>
                <a:gd name="connsiteY22" fmla="*/ 77584 h 592843"/>
                <a:gd name="connsiteX23" fmla="*/ 613390 w 797272"/>
                <a:gd name="connsiteY23" fmla="*/ 81366 h 592843"/>
                <a:gd name="connsiteX24" fmla="*/ 515060 w 797272"/>
                <a:gd name="connsiteY24" fmla="*/ 61332 h 592843"/>
                <a:gd name="connsiteX25" fmla="*/ 451687 w 797272"/>
                <a:gd name="connsiteY25" fmla="*/ 20038 h 592843"/>
                <a:gd name="connsiteX26" fmla="*/ 445247 w 797272"/>
                <a:gd name="connsiteY26" fmla="*/ 2048 h 592843"/>
                <a:gd name="connsiteX27" fmla="*/ 428688 w 797272"/>
                <a:gd name="connsiteY27" fmla="*/ 1332 h 592843"/>
                <a:gd name="connsiteX28" fmla="*/ 350597 w 797272"/>
                <a:gd name="connsiteY28" fmla="*/ 19833 h 592843"/>
                <a:gd name="connsiteX29" fmla="*/ 340375 w 797272"/>
                <a:gd name="connsiteY29" fmla="*/ 60208 h 592843"/>
                <a:gd name="connsiteX30" fmla="*/ 333220 w 797272"/>
                <a:gd name="connsiteY30" fmla="*/ 77380 h 592843"/>
                <a:gd name="connsiteX31" fmla="*/ 321670 w 797272"/>
                <a:gd name="connsiteY31" fmla="*/ 86579 h 592843"/>
                <a:gd name="connsiteX32" fmla="*/ 197275 w 797272"/>
                <a:gd name="connsiteY32" fmla="*/ 166102 h 592843"/>
                <a:gd name="connsiteX33" fmla="*/ 122045 w 797272"/>
                <a:gd name="connsiteY33" fmla="*/ 153836 h 592843"/>
                <a:gd name="connsiteX34" fmla="*/ 60921 w 797272"/>
                <a:gd name="connsiteY34" fmla="*/ 239799 h 592843"/>
                <a:gd name="connsiteX35" fmla="*/ 95367 w 797272"/>
                <a:gd name="connsiteY35" fmla="*/ 298265 h 592843"/>
                <a:gd name="connsiteX36" fmla="*/ 92505 w 797272"/>
                <a:gd name="connsiteY36" fmla="*/ 316459 h 592843"/>
                <a:gd name="connsiteX37" fmla="*/ 64294 w 797272"/>
                <a:gd name="connsiteY37" fmla="*/ 439321 h 592843"/>
                <a:gd name="connsiteX38" fmla="*/ 13289 w 797272"/>
                <a:gd name="connsiteY38" fmla="*/ 464772 h 592843"/>
                <a:gd name="connsiteX39" fmla="*/ 1739 w 797272"/>
                <a:gd name="connsiteY39" fmla="*/ 473665 h 592843"/>
                <a:gd name="connsiteX40" fmla="*/ 1023 w 797272"/>
                <a:gd name="connsiteY40" fmla="*/ 489406 h 592843"/>
                <a:gd name="connsiteX41" fmla="*/ 7974 w 797272"/>
                <a:gd name="connsiteY41" fmla="*/ 526612 h 592843"/>
                <a:gd name="connsiteX42" fmla="*/ 20137 w 797272"/>
                <a:gd name="connsiteY42" fmla="*/ 566987 h 592843"/>
                <a:gd name="connsiteX43" fmla="*/ 56015 w 797272"/>
                <a:gd name="connsiteY43" fmla="*/ 597038 h 592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97272" h="592843">
                  <a:moveTo>
                    <a:pt x="56015" y="597038"/>
                  </a:moveTo>
                  <a:cubicBezTo>
                    <a:pt x="52539" y="574858"/>
                    <a:pt x="48962" y="552677"/>
                    <a:pt x="45486" y="530497"/>
                  </a:cubicBezTo>
                  <a:cubicBezTo>
                    <a:pt x="44464" y="524364"/>
                    <a:pt x="43749" y="517413"/>
                    <a:pt x="47531" y="512302"/>
                  </a:cubicBezTo>
                  <a:cubicBezTo>
                    <a:pt x="49779" y="509338"/>
                    <a:pt x="53255" y="507600"/>
                    <a:pt x="56526" y="505863"/>
                  </a:cubicBezTo>
                  <a:cubicBezTo>
                    <a:pt x="74413" y="496868"/>
                    <a:pt x="92710" y="488793"/>
                    <a:pt x="111517" y="481638"/>
                  </a:cubicBezTo>
                  <a:cubicBezTo>
                    <a:pt x="100273" y="423478"/>
                    <a:pt x="113152" y="361434"/>
                    <a:pt x="146883" y="311655"/>
                  </a:cubicBezTo>
                  <a:cubicBezTo>
                    <a:pt x="149745" y="307465"/>
                    <a:pt x="152709" y="303171"/>
                    <a:pt x="153425" y="298265"/>
                  </a:cubicBezTo>
                  <a:cubicBezTo>
                    <a:pt x="155367" y="283137"/>
                    <a:pt x="117037" y="255028"/>
                    <a:pt x="107633" y="242865"/>
                  </a:cubicBezTo>
                  <a:cubicBezTo>
                    <a:pt x="111721" y="225488"/>
                    <a:pt x="127156" y="206068"/>
                    <a:pt x="138910" y="191962"/>
                  </a:cubicBezTo>
                  <a:cubicBezTo>
                    <a:pt x="149132" y="197788"/>
                    <a:pt x="173663" y="211281"/>
                    <a:pt x="188178" y="217720"/>
                  </a:cubicBezTo>
                  <a:cubicBezTo>
                    <a:pt x="190120" y="218538"/>
                    <a:pt x="192062" y="219458"/>
                    <a:pt x="194209" y="219151"/>
                  </a:cubicBezTo>
                  <a:cubicBezTo>
                    <a:pt x="196151" y="218845"/>
                    <a:pt x="197684" y="217516"/>
                    <a:pt x="199115" y="216289"/>
                  </a:cubicBezTo>
                  <a:cubicBezTo>
                    <a:pt x="247871" y="172541"/>
                    <a:pt x="308075" y="140242"/>
                    <a:pt x="372879" y="123172"/>
                  </a:cubicBezTo>
                  <a:cubicBezTo>
                    <a:pt x="373493" y="103853"/>
                    <a:pt x="379012" y="79015"/>
                    <a:pt x="379728" y="59697"/>
                  </a:cubicBezTo>
                  <a:cubicBezTo>
                    <a:pt x="394447" y="54688"/>
                    <a:pt x="410085" y="52031"/>
                    <a:pt x="425724" y="51724"/>
                  </a:cubicBezTo>
                  <a:cubicBezTo>
                    <a:pt x="434515" y="70225"/>
                    <a:pt x="444225" y="88214"/>
                    <a:pt x="454855" y="105898"/>
                  </a:cubicBezTo>
                  <a:cubicBezTo>
                    <a:pt x="524770" y="106511"/>
                    <a:pt x="596831" y="117959"/>
                    <a:pt x="660408" y="145455"/>
                  </a:cubicBezTo>
                  <a:cubicBezTo>
                    <a:pt x="674514" y="131042"/>
                    <a:pt x="690766" y="118674"/>
                    <a:pt x="708654" y="108760"/>
                  </a:cubicBezTo>
                  <a:cubicBezTo>
                    <a:pt x="732368" y="125523"/>
                    <a:pt x="760681" y="141366"/>
                    <a:pt x="784395" y="158129"/>
                  </a:cubicBezTo>
                  <a:cubicBezTo>
                    <a:pt x="791447" y="144126"/>
                    <a:pt x="798500" y="130020"/>
                    <a:pt x="805553" y="116017"/>
                  </a:cubicBezTo>
                  <a:cubicBezTo>
                    <a:pt x="777648" y="104262"/>
                    <a:pt x="751891" y="88112"/>
                    <a:pt x="729608" y="68385"/>
                  </a:cubicBezTo>
                  <a:cubicBezTo>
                    <a:pt x="726030" y="65216"/>
                    <a:pt x="722350" y="61945"/>
                    <a:pt x="717751" y="60617"/>
                  </a:cubicBezTo>
                  <a:cubicBezTo>
                    <a:pt x="704463" y="56733"/>
                    <a:pt x="693526" y="70225"/>
                    <a:pt x="682078" y="77584"/>
                  </a:cubicBezTo>
                  <a:cubicBezTo>
                    <a:pt x="662555" y="90259"/>
                    <a:pt x="636490" y="86068"/>
                    <a:pt x="613390" y="81366"/>
                  </a:cubicBezTo>
                  <a:cubicBezTo>
                    <a:pt x="580579" y="74722"/>
                    <a:pt x="547870" y="67976"/>
                    <a:pt x="515060" y="61332"/>
                  </a:cubicBezTo>
                  <a:cubicBezTo>
                    <a:pt x="488382" y="55915"/>
                    <a:pt x="456389" y="45489"/>
                    <a:pt x="451687" y="20038"/>
                  </a:cubicBezTo>
                  <a:cubicBezTo>
                    <a:pt x="450460" y="13598"/>
                    <a:pt x="450869" y="5932"/>
                    <a:pt x="445247" y="2048"/>
                  </a:cubicBezTo>
                  <a:cubicBezTo>
                    <a:pt x="440647" y="-1121"/>
                    <a:pt x="434310" y="3"/>
                    <a:pt x="428688" y="1332"/>
                  </a:cubicBezTo>
                  <a:cubicBezTo>
                    <a:pt x="402624" y="7465"/>
                    <a:pt x="376661" y="13700"/>
                    <a:pt x="350597" y="19833"/>
                  </a:cubicBezTo>
                  <a:cubicBezTo>
                    <a:pt x="347223" y="33325"/>
                    <a:pt x="343748" y="46715"/>
                    <a:pt x="340375" y="60208"/>
                  </a:cubicBezTo>
                  <a:cubicBezTo>
                    <a:pt x="338842" y="66238"/>
                    <a:pt x="337206" y="72474"/>
                    <a:pt x="333220" y="77380"/>
                  </a:cubicBezTo>
                  <a:cubicBezTo>
                    <a:pt x="330154" y="81162"/>
                    <a:pt x="325861" y="83922"/>
                    <a:pt x="321670" y="86579"/>
                  </a:cubicBezTo>
                  <a:cubicBezTo>
                    <a:pt x="280171" y="113052"/>
                    <a:pt x="238672" y="139526"/>
                    <a:pt x="197275" y="166102"/>
                  </a:cubicBezTo>
                  <a:cubicBezTo>
                    <a:pt x="173152" y="158129"/>
                    <a:pt x="147599" y="154041"/>
                    <a:pt x="122045" y="153836"/>
                  </a:cubicBezTo>
                  <a:cubicBezTo>
                    <a:pt x="98536" y="180310"/>
                    <a:pt x="77991" y="209134"/>
                    <a:pt x="60921" y="239799"/>
                  </a:cubicBezTo>
                  <a:cubicBezTo>
                    <a:pt x="77684" y="256357"/>
                    <a:pt x="95572" y="275369"/>
                    <a:pt x="95367" y="298265"/>
                  </a:cubicBezTo>
                  <a:cubicBezTo>
                    <a:pt x="95367" y="304398"/>
                    <a:pt x="93936" y="310429"/>
                    <a:pt x="92505" y="316459"/>
                  </a:cubicBezTo>
                  <a:cubicBezTo>
                    <a:pt x="83101" y="357447"/>
                    <a:pt x="73698" y="398333"/>
                    <a:pt x="64294" y="439321"/>
                  </a:cubicBezTo>
                  <a:cubicBezTo>
                    <a:pt x="47326" y="447805"/>
                    <a:pt x="30359" y="456289"/>
                    <a:pt x="13289" y="464772"/>
                  </a:cubicBezTo>
                  <a:cubicBezTo>
                    <a:pt x="8792" y="467021"/>
                    <a:pt x="4090" y="469474"/>
                    <a:pt x="1739" y="473665"/>
                  </a:cubicBezTo>
                  <a:cubicBezTo>
                    <a:pt x="-919" y="478367"/>
                    <a:pt x="1" y="484091"/>
                    <a:pt x="1023" y="489406"/>
                  </a:cubicBezTo>
                  <a:cubicBezTo>
                    <a:pt x="3374" y="501774"/>
                    <a:pt x="5623" y="514244"/>
                    <a:pt x="7974" y="526612"/>
                  </a:cubicBezTo>
                  <a:cubicBezTo>
                    <a:pt x="10529" y="540411"/>
                    <a:pt x="13289" y="554517"/>
                    <a:pt x="20137" y="566987"/>
                  </a:cubicBezTo>
                  <a:cubicBezTo>
                    <a:pt x="27088" y="579457"/>
                    <a:pt x="41296" y="594789"/>
                    <a:pt x="56015" y="59703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4" name="任意多边形: 形状 883">
              <a:extLst>
                <a:ext uri="{FF2B5EF4-FFF2-40B4-BE49-F238E27FC236}">
                  <a16:creationId xmlns:a16="http://schemas.microsoft.com/office/drawing/2014/main" id="{BCD74832-AF73-4B9C-AE5E-396AA866F359}"/>
                </a:ext>
              </a:extLst>
            </p:cNvPr>
            <p:cNvSpPr/>
            <p:nvPr/>
          </p:nvSpPr>
          <p:spPr>
            <a:xfrm>
              <a:off x="8719951" y="4066751"/>
              <a:ext cx="475358" cy="404054"/>
            </a:xfrm>
            <a:custGeom>
              <a:avLst/>
              <a:gdLst>
                <a:gd name="connsiteX0" fmla="*/ 49421 w 613286"/>
                <a:gd name="connsiteY0" fmla="*/ 424497 h 521293"/>
                <a:gd name="connsiteX1" fmla="*/ 127922 w 613286"/>
                <a:gd name="connsiteY1" fmla="*/ 509948 h 521293"/>
                <a:gd name="connsiteX2" fmla="*/ 122913 w 613286"/>
                <a:gd name="connsiteY2" fmla="*/ 482861 h 521293"/>
                <a:gd name="connsiteX3" fmla="*/ 204685 w 613286"/>
                <a:gd name="connsiteY3" fmla="*/ 518534 h 521293"/>
                <a:gd name="connsiteX4" fmla="*/ 268364 w 613286"/>
                <a:gd name="connsiteY4" fmla="*/ 525689 h 521293"/>
                <a:gd name="connsiteX5" fmla="*/ 444275 w 613286"/>
                <a:gd name="connsiteY5" fmla="*/ 498704 h 521293"/>
                <a:gd name="connsiteX6" fmla="*/ 506626 w 613286"/>
                <a:gd name="connsiteY6" fmla="*/ 453730 h 521293"/>
                <a:gd name="connsiteX7" fmla="*/ 571021 w 613286"/>
                <a:gd name="connsiteY7" fmla="*/ 388108 h 521293"/>
                <a:gd name="connsiteX8" fmla="*/ 615689 w 613286"/>
                <a:gd name="connsiteY8" fmla="*/ 212811 h 521293"/>
                <a:gd name="connsiteX9" fmla="*/ 611601 w 613286"/>
                <a:gd name="connsiteY9" fmla="*/ 151891 h 521293"/>
                <a:gd name="connsiteX10" fmla="*/ 506013 w 613286"/>
                <a:gd name="connsiteY10" fmla="*/ 0 h 521293"/>
                <a:gd name="connsiteX11" fmla="*/ 573986 w 613286"/>
                <a:gd name="connsiteY11" fmla="*/ 134412 h 521293"/>
                <a:gd name="connsiteX12" fmla="*/ 579403 w 613286"/>
                <a:gd name="connsiteY12" fmla="*/ 195127 h 521293"/>
                <a:gd name="connsiteX13" fmla="*/ 499369 w 613286"/>
                <a:gd name="connsiteY13" fmla="*/ 389233 h 521293"/>
                <a:gd name="connsiteX14" fmla="*/ 303015 w 613286"/>
                <a:gd name="connsiteY14" fmla="*/ 479897 h 521293"/>
                <a:gd name="connsiteX15" fmla="*/ 245162 w 613286"/>
                <a:gd name="connsiteY15" fmla="*/ 477955 h 521293"/>
                <a:gd name="connsiteX16" fmla="*/ 143152 w 613286"/>
                <a:gd name="connsiteY16" fmla="*/ 459045 h 521293"/>
                <a:gd name="connsiteX17" fmla="*/ 69046 w 613286"/>
                <a:gd name="connsiteY17" fmla="*/ 404769 h 521293"/>
                <a:gd name="connsiteX18" fmla="*/ 26627 w 613286"/>
                <a:gd name="connsiteY18" fmla="*/ 359386 h 521293"/>
                <a:gd name="connsiteX19" fmla="*/ 358 w 613286"/>
                <a:gd name="connsiteY19" fmla="*/ 311447 h 521293"/>
                <a:gd name="connsiteX20" fmla="*/ 49421 w 613286"/>
                <a:gd name="connsiteY20" fmla="*/ 424497 h 52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3286" h="521293">
                  <a:moveTo>
                    <a:pt x="49421" y="424497"/>
                  </a:moveTo>
                  <a:cubicBezTo>
                    <a:pt x="77837" y="451890"/>
                    <a:pt x="118211" y="472742"/>
                    <a:pt x="127922" y="509948"/>
                  </a:cubicBezTo>
                  <a:cubicBezTo>
                    <a:pt x="129455" y="500748"/>
                    <a:pt x="127615" y="491038"/>
                    <a:pt x="122913" y="482861"/>
                  </a:cubicBezTo>
                  <a:cubicBezTo>
                    <a:pt x="147138" y="499931"/>
                    <a:pt x="175247" y="512197"/>
                    <a:pt x="204685" y="518534"/>
                  </a:cubicBezTo>
                  <a:cubicBezTo>
                    <a:pt x="225537" y="523031"/>
                    <a:pt x="247002" y="524667"/>
                    <a:pt x="268364" y="525689"/>
                  </a:cubicBezTo>
                  <a:cubicBezTo>
                    <a:pt x="328466" y="528551"/>
                    <a:pt x="391635" y="526404"/>
                    <a:pt x="444275" y="498704"/>
                  </a:cubicBezTo>
                  <a:cubicBezTo>
                    <a:pt x="467172" y="486643"/>
                    <a:pt x="487103" y="470289"/>
                    <a:pt x="506626" y="453730"/>
                  </a:cubicBezTo>
                  <a:cubicBezTo>
                    <a:pt x="530136" y="433696"/>
                    <a:pt x="553543" y="413049"/>
                    <a:pt x="571021" y="388108"/>
                  </a:cubicBezTo>
                  <a:cubicBezTo>
                    <a:pt x="606694" y="337308"/>
                    <a:pt x="614871" y="273833"/>
                    <a:pt x="615689" y="212811"/>
                  </a:cubicBezTo>
                  <a:cubicBezTo>
                    <a:pt x="615996" y="192470"/>
                    <a:pt x="615485" y="171925"/>
                    <a:pt x="611601" y="151891"/>
                  </a:cubicBezTo>
                  <a:cubicBezTo>
                    <a:pt x="599846" y="90971"/>
                    <a:pt x="557120" y="38637"/>
                    <a:pt x="506013" y="0"/>
                  </a:cubicBezTo>
                  <a:cubicBezTo>
                    <a:pt x="524207" y="46712"/>
                    <a:pt x="561004" y="86167"/>
                    <a:pt x="573986" y="134412"/>
                  </a:cubicBezTo>
                  <a:cubicBezTo>
                    <a:pt x="579301" y="154140"/>
                    <a:pt x="580323" y="174787"/>
                    <a:pt x="579403" y="195127"/>
                  </a:cubicBezTo>
                  <a:cubicBezTo>
                    <a:pt x="576336" y="265860"/>
                    <a:pt x="548943" y="336081"/>
                    <a:pt x="499369" y="389233"/>
                  </a:cubicBezTo>
                  <a:cubicBezTo>
                    <a:pt x="449795" y="442282"/>
                    <a:pt x="377836" y="477137"/>
                    <a:pt x="303015" y="479897"/>
                  </a:cubicBezTo>
                  <a:cubicBezTo>
                    <a:pt x="283697" y="480612"/>
                    <a:pt x="264480" y="479284"/>
                    <a:pt x="245162" y="477955"/>
                  </a:cubicBezTo>
                  <a:cubicBezTo>
                    <a:pt x="210409" y="475604"/>
                    <a:pt x="174736" y="472946"/>
                    <a:pt x="143152" y="459045"/>
                  </a:cubicBezTo>
                  <a:cubicBezTo>
                    <a:pt x="114634" y="446473"/>
                    <a:pt x="91431" y="425621"/>
                    <a:pt x="69046" y="404769"/>
                  </a:cubicBezTo>
                  <a:cubicBezTo>
                    <a:pt x="53816" y="390561"/>
                    <a:pt x="38791" y="375945"/>
                    <a:pt x="26627" y="359386"/>
                  </a:cubicBezTo>
                  <a:cubicBezTo>
                    <a:pt x="18552" y="348347"/>
                    <a:pt x="10682" y="316762"/>
                    <a:pt x="358" y="311447"/>
                  </a:cubicBezTo>
                  <a:cubicBezTo>
                    <a:pt x="-3219" y="351618"/>
                    <a:pt x="20494" y="396592"/>
                    <a:pt x="49421" y="424497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5" name="任意多边形: 形状 884">
              <a:extLst>
                <a:ext uri="{FF2B5EF4-FFF2-40B4-BE49-F238E27FC236}">
                  <a16:creationId xmlns:a16="http://schemas.microsoft.com/office/drawing/2014/main" id="{4209D454-F64D-4F05-866C-D9F6ACD50E63}"/>
                </a:ext>
              </a:extLst>
            </p:cNvPr>
            <p:cNvSpPr/>
            <p:nvPr/>
          </p:nvSpPr>
          <p:spPr>
            <a:xfrm>
              <a:off x="9100435" y="4389290"/>
              <a:ext cx="451590" cy="332751"/>
            </a:xfrm>
            <a:custGeom>
              <a:avLst/>
              <a:gdLst>
                <a:gd name="connsiteX0" fmla="*/ 548892 w 582622"/>
                <a:gd name="connsiteY0" fmla="*/ 76240 h 429300"/>
                <a:gd name="connsiteX1" fmla="*/ 538261 w 582622"/>
                <a:gd name="connsiteY1" fmla="*/ 75115 h 429300"/>
                <a:gd name="connsiteX2" fmla="*/ 526609 w 582622"/>
                <a:gd name="connsiteY2" fmla="*/ 82372 h 429300"/>
                <a:gd name="connsiteX3" fmla="*/ 504837 w 582622"/>
                <a:gd name="connsiteY3" fmla="*/ 102815 h 429300"/>
                <a:gd name="connsiteX4" fmla="*/ 499624 w 582622"/>
                <a:gd name="connsiteY4" fmla="*/ 105984 h 429300"/>
                <a:gd name="connsiteX5" fmla="*/ 492980 w 582622"/>
                <a:gd name="connsiteY5" fmla="*/ 104042 h 429300"/>
                <a:gd name="connsiteX6" fmla="*/ 349165 w 582622"/>
                <a:gd name="connsiteY6" fmla="*/ 69289 h 429300"/>
                <a:gd name="connsiteX7" fmla="*/ 325758 w 582622"/>
                <a:gd name="connsiteY7" fmla="*/ 34434 h 429300"/>
                <a:gd name="connsiteX8" fmla="*/ 291413 w 582622"/>
                <a:gd name="connsiteY8" fmla="*/ 38931 h 429300"/>
                <a:gd name="connsiteX9" fmla="*/ 286916 w 582622"/>
                <a:gd name="connsiteY9" fmla="*/ 76648 h 429300"/>
                <a:gd name="connsiteX10" fmla="*/ 168858 w 582622"/>
                <a:gd name="connsiteY10" fmla="*/ 144519 h 429300"/>
                <a:gd name="connsiteX11" fmla="*/ 153220 w 582622"/>
                <a:gd name="connsiteY11" fmla="*/ 153412 h 429300"/>
                <a:gd name="connsiteX12" fmla="*/ 140954 w 582622"/>
                <a:gd name="connsiteY12" fmla="*/ 150447 h 429300"/>
                <a:gd name="connsiteX13" fmla="*/ 113663 w 582622"/>
                <a:gd name="connsiteY13" fmla="*/ 145132 h 429300"/>
                <a:gd name="connsiteX14" fmla="*/ 91278 w 582622"/>
                <a:gd name="connsiteY14" fmla="*/ 159033 h 429300"/>
                <a:gd name="connsiteX15" fmla="*/ 97615 w 582622"/>
                <a:gd name="connsiteY15" fmla="*/ 186734 h 429300"/>
                <a:gd name="connsiteX16" fmla="*/ 117444 w 582622"/>
                <a:gd name="connsiteY16" fmla="*/ 209527 h 429300"/>
                <a:gd name="connsiteX17" fmla="*/ 76354 w 582622"/>
                <a:gd name="connsiteY17" fmla="*/ 335149 h 429300"/>
                <a:gd name="connsiteX18" fmla="*/ 75332 w 582622"/>
                <a:gd name="connsiteY18" fmla="*/ 344859 h 429300"/>
                <a:gd name="connsiteX19" fmla="*/ 56627 w 582622"/>
                <a:gd name="connsiteY19" fmla="*/ 354978 h 429300"/>
                <a:gd name="connsiteX20" fmla="*/ 30767 w 582622"/>
                <a:gd name="connsiteY20" fmla="*/ 387687 h 429300"/>
                <a:gd name="connsiteX21" fmla="*/ 31584 w 582622"/>
                <a:gd name="connsiteY21" fmla="*/ 430004 h 429300"/>
                <a:gd name="connsiteX22" fmla="*/ 0 w 582622"/>
                <a:gd name="connsiteY22" fmla="*/ 352321 h 429300"/>
                <a:gd name="connsiteX23" fmla="*/ 45894 w 582622"/>
                <a:gd name="connsiteY23" fmla="*/ 316546 h 429300"/>
                <a:gd name="connsiteX24" fmla="*/ 51107 w 582622"/>
                <a:gd name="connsiteY24" fmla="*/ 285677 h 429300"/>
                <a:gd name="connsiteX25" fmla="*/ 73288 w 582622"/>
                <a:gd name="connsiteY25" fmla="*/ 221691 h 429300"/>
                <a:gd name="connsiteX26" fmla="*/ 76661 w 582622"/>
                <a:gd name="connsiteY26" fmla="*/ 213003 h 429300"/>
                <a:gd name="connsiteX27" fmla="*/ 73492 w 582622"/>
                <a:gd name="connsiteY27" fmla="*/ 205848 h 429300"/>
                <a:gd name="connsiteX28" fmla="*/ 48041 w 582622"/>
                <a:gd name="connsiteY28" fmla="*/ 168437 h 429300"/>
                <a:gd name="connsiteX29" fmla="*/ 91380 w 582622"/>
                <a:gd name="connsiteY29" fmla="*/ 108131 h 429300"/>
                <a:gd name="connsiteX30" fmla="*/ 140443 w 582622"/>
                <a:gd name="connsiteY30" fmla="*/ 104757 h 429300"/>
                <a:gd name="connsiteX31" fmla="*/ 167632 w 582622"/>
                <a:gd name="connsiteY31" fmla="*/ 94945 h 429300"/>
                <a:gd name="connsiteX32" fmla="*/ 235502 w 582622"/>
                <a:gd name="connsiteY32" fmla="*/ 65200 h 429300"/>
                <a:gd name="connsiteX33" fmla="*/ 252163 w 582622"/>
                <a:gd name="connsiteY33" fmla="*/ 53548 h 429300"/>
                <a:gd name="connsiteX34" fmla="*/ 257274 w 582622"/>
                <a:gd name="connsiteY34" fmla="*/ 23804 h 429300"/>
                <a:gd name="connsiteX35" fmla="*/ 292844 w 582622"/>
                <a:gd name="connsiteY35" fmla="*/ 5507 h 429300"/>
                <a:gd name="connsiteX36" fmla="*/ 325246 w 582622"/>
                <a:gd name="connsiteY36" fmla="*/ 703 h 429300"/>
                <a:gd name="connsiteX37" fmla="*/ 339454 w 582622"/>
                <a:gd name="connsiteY37" fmla="*/ 1214 h 429300"/>
                <a:gd name="connsiteX38" fmla="*/ 359079 w 582622"/>
                <a:gd name="connsiteY38" fmla="*/ 30959 h 429300"/>
                <a:gd name="connsiteX39" fmla="*/ 369710 w 582622"/>
                <a:gd name="connsiteY39" fmla="*/ 34638 h 429300"/>
                <a:gd name="connsiteX40" fmla="*/ 478364 w 582622"/>
                <a:gd name="connsiteY40" fmla="*/ 56921 h 429300"/>
                <a:gd name="connsiteX41" fmla="*/ 490016 w 582622"/>
                <a:gd name="connsiteY41" fmla="*/ 57841 h 429300"/>
                <a:gd name="connsiteX42" fmla="*/ 499726 w 582622"/>
                <a:gd name="connsiteY42" fmla="*/ 53446 h 429300"/>
                <a:gd name="connsiteX43" fmla="*/ 525178 w 582622"/>
                <a:gd name="connsiteY43" fmla="*/ 38114 h 429300"/>
                <a:gd name="connsiteX44" fmla="*/ 576387 w 582622"/>
                <a:gd name="connsiteY44" fmla="*/ 67858 h 429300"/>
                <a:gd name="connsiteX45" fmla="*/ 548892 w 582622"/>
                <a:gd name="connsiteY45" fmla="*/ 76240 h 42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2622" h="429300">
                  <a:moveTo>
                    <a:pt x="548892" y="76240"/>
                  </a:moveTo>
                  <a:cubicBezTo>
                    <a:pt x="545416" y="75320"/>
                    <a:pt x="541737" y="74502"/>
                    <a:pt x="538261" y="75115"/>
                  </a:cubicBezTo>
                  <a:cubicBezTo>
                    <a:pt x="533662" y="75933"/>
                    <a:pt x="529982" y="79306"/>
                    <a:pt x="526609" y="82372"/>
                  </a:cubicBezTo>
                  <a:cubicBezTo>
                    <a:pt x="519352" y="89221"/>
                    <a:pt x="512094" y="95967"/>
                    <a:pt x="504837" y="102815"/>
                  </a:cubicBezTo>
                  <a:cubicBezTo>
                    <a:pt x="503304" y="104246"/>
                    <a:pt x="501668" y="105678"/>
                    <a:pt x="499624" y="105984"/>
                  </a:cubicBezTo>
                  <a:cubicBezTo>
                    <a:pt x="497273" y="106393"/>
                    <a:pt x="495025" y="105166"/>
                    <a:pt x="492980" y="104042"/>
                  </a:cubicBezTo>
                  <a:cubicBezTo>
                    <a:pt x="449641" y="80226"/>
                    <a:pt x="399250" y="68062"/>
                    <a:pt x="349165" y="69289"/>
                  </a:cubicBezTo>
                  <a:cubicBezTo>
                    <a:pt x="341396" y="57637"/>
                    <a:pt x="333526" y="46086"/>
                    <a:pt x="325758" y="34434"/>
                  </a:cubicBezTo>
                  <a:cubicBezTo>
                    <a:pt x="314309" y="35865"/>
                    <a:pt x="302861" y="37398"/>
                    <a:pt x="291413" y="38931"/>
                  </a:cubicBezTo>
                  <a:cubicBezTo>
                    <a:pt x="289880" y="51504"/>
                    <a:pt x="288449" y="64076"/>
                    <a:pt x="286916" y="76648"/>
                  </a:cubicBezTo>
                  <a:cubicBezTo>
                    <a:pt x="242964" y="90856"/>
                    <a:pt x="202385" y="114161"/>
                    <a:pt x="168858" y="144519"/>
                  </a:cubicBezTo>
                  <a:cubicBezTo>
                    <a:pt x="164361" y="148607"/>
                    <a:pt x="159455" y="153003"/>
                    <a:pt x="153220" y="153412"/>
                  </a:cubicBezTo>
                  <a:cubicBezTo>
                    <a:pt x="149029" y="153718"/>
                    <a:pt x="144940" y="151981"/>
                    <a:pt x="140954" y="150447"/>
                  </a:cubicBezTo>
                  <a:cubicBezTo>
                    <a:pt x="132266" y="147074"/>
                    <a:pt x="122964" y="144315"/>
                    <a:pt x="113663" y="145132"/>
                  </a:cubicBezTo>
                  <a:cubicBezTo>
                    <a:pt x="104259" y="145950"/>
                    <a:pt x="94855" y="150856"/>
                    <a:pt x="91278" y="159033"/>
                  </a:cubicBezTo>
                  <a:cubicBezTo>
                    <a:pt x="87291" y="168130"/>
                    <a:pt x="91482" y="178761"/>
                    <a:pt x="97615" y="186734"/>
                  </a:cubicBezTo>
                  <a:cubicBezTo>
                    <a:pt x="103748" y="194706"/>
                    <a:pt x="111823" y="201248"/>
                    <a:pt x="117444" y="209527"/>
                  </a:cubicBezTo>
                  <a:cubicBezTo>
                    <a:pt x="88722" y="245098"/>
                    <a:pt x="73901" y="290481"/>
                    <a:pt x="76354" y="335149"/>
                  </a:cubicBezTo>
                  <a:cubicBezTo>
                    <a:pt x="76559" y="338420"/>
                    <a:pt x="76763" y="341895"/>
                    <a:pt x="75332" y="344859"/>
                  </a:cubicBezTo>
                  <a:cubicBezTo>
                    <a:pt x="72266" y="351197"/>
                    <a:pt x="63475" y="352423"/>
                    <a:pt x="56627" y="354978"/>
                  </a:cubicBezTo>
                  <a:cubicBezTo>
                    <a:pt x="42624" y="360191"/>
                    <a:pt x="33731" y="373786"/>
                    <a:pt x="30767" y="387687"/>
                  </a:cubicBezTo>
                  <a:cubicBezTo>
                    <a:pt x="27802" y="401588"/>
                    <a:pt x="29642" y="416000"/>
                    <a:pt x="31584" y="430004"/>
                  </a:cubicBezTo>
                  <a:cubicBezTo>
                    <a:pt x="13186" y="407823"/>
                    <a:pt x="2044" y="380430"/>
                    <a:pt x="0" y="352321"/>
                  </a:cubicBezTo>
                  <a:cubicBezTo>
                    <a:pt x="19114" y="345473"/>
                    <a:pt x="38433" y="334536"/>
                    <a:pt x="45894" y="316546"/>
                  </a:cubicBezTo>
                  <a:cubicBezTo>
                    <a:pt x="49881" y="306835"/>
                    <a:pt x="49983" y="296103"/>
                    <a:pt x="51107" y="285677"/>
                  </a:cubicBezTo>
                  <a:cubicBezTo>
                    <a:pt x="53560" y="263190"/>
                    <a:pt x="61124" y="241214"/>
                    <a:pt x="73288" y="221691"/>
                  </a:cubicBezTo>
                  <a:cubicBezTo>
                    <a:pt x="74923" y="219033"/>
                    <a:pt x="76763" y="216171"/>
                    <a:pt x="76661" y="213003"/>
                  </a:cubicBezTo>
                  <a:cubicBezTo>
                    <a:pt x="76559" y="210345"/>
                    <a:pt x="74923" y="207994"/>
                    <a:pt x="73492" y="205848"/>
                  </a:cubicBezTo>
                  <a:cubicBezTo>
                    <a:pt x="65008" y="193377"/>
                    <a:pt x="56525" y="180907"/>
                    <a:pt x="48041" y="168437"/>
                  </a:cubicBezTo>
                  <a:cubicBezTo>
                    <a:pt x="62453" y="148301"/>
                    <a:pt x="76968" y="128267"/>
                    <a:pt x="91380" y="108131"/>
                  </a:cubicBezTo>
                  <a:cubicBezTo>
                    <a:pt x="107734" y="106393"/>
                    <a:pt x="124497" y="108233"/>
                    <a:pt x="140443" y="104757"/>
                  </a:cubicBezTo>
                  <a:cubicBezTo>
                    <a:pt x="149949" y="102713"/>
                    <a:pt x="158841" y="98829"/>
                    <a:pt x="167632" y="94945"/>
                  </a:cubicBezTo>
                  <a:cubicBezTo>
                    <a:pt x="190221" y="85030"/>
                    <a:pt x="212913" y="75115"/>
                    <a:pt x="235502" y="65200"/>
                  </a:cubicBezTo>
                  <a:cubicBezTo>
                    <a:pt x="241839" y="62441"/>
                    <a:pt x="248688" y="59272"/>
                    <a:pt x="252163" y="53548"/>
                  </a:cubicBezTo>
                  <a:cubicBezTo>
                    <a:pt x="257581" y="44758"/>
                    <a:pt x="253390" y="33207"/>
                    <a:pt x="257274" y="23804"/>
                  </a:cubicBezTo>
                  <a:cubicBezTo>
                    <a:pt x="262487" y="11334"/>
                    <a:pt x="278841" y="7552"/>
                    <a:pt x="292844" y="5507"/>
                  </a:cubicBezTo>
                  <a:cubicBezTo>
                    <a:pt x="303679" y="3872"/>
                    <a:pt x="314412" y="2339"/>
                    <a:pt x="325246" y="703"/>
                  </a:cubicBezTo>
                  <a:cubicBezTo>
                    <a:pt x="329948" y="-12"/>
                    <a:pt x="335059" y="-626"/>
                    <a:pt x="339454" y="1214"/>
                  </a:cubicBezTo>
                  <a:cubicBezTo>
                    <a:pt x="351005" y="6223"/>
                    <a:pt x="348756" y="24008"/>
                    <a:pt x="359079" y="30959"/>
                  </a:cubicBezTo>
                  <a:cubicBezTo>
                    <a:pt x="362146" y="33003"/>
                    <a:pt x="365928" y="33821"/>
                    <a:pt x="369710" y="34638"/>
                  </a:cubicBezTo>
                  <a:cubicBezTo>
                    <a:pt x="405894" y="42100"/>
                    <a:pt x="442077" y="49460"/>
                    <a:pt x="478364" y="56921"/>
                  </a:cubicBezTo>
                  <a:cubicBezTo>
                    <a:pt x="482146" y="57739"/>
                    <a:pt x="486132" y="58454"/>
                    <a:pt x="490016" y="57841"/>
                  </a:cubicBezTo>
                  <a:cubicBezTo>
                    <a:pt x="493594" y="57228"/>
                    <a:pt x="496660" y="55286"/>
                    <a:pt x="499726" y="53446"/>
                  </a:cubicBezTo>
                  <a:cubicBezTo>
                    <a:pt x="508210" y="48335"/>
                    <a:pt x="516694" y="43224"/>
                    <a:pt x="525178" y="38114"/>
                  </a:cubicBezTo>
                  <a:cubicBezTo>
                    <a:pt x="533048" y="33412"/>
                    <a:pt x="570663" y="62645"/>
                    <a:pt x="576387" y="67858"/>
                  </a:cubicBezTo>
                  <a:cubicBezTo>
                    <a:pt x="602350" y="91163"/>
                    <a:pt x="563815" y="79919"/>
                    <a:pt x="548892" y="7624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6" name="任意多边形: 形状 885">
              <a:extLst>
                <a:ext uri="{FF2B5EF4-FFF2-40B4-BE49-F238E27FC236}">
                  <a16:creationId xmlns:a16="http://schemas.microsoft.com/office/drawing/2014/main" id="{17351A2D-0047-47F2-87B9-F0C3E2B90C1F}"/>
                </a:ext>
              </a:extLst>
            </p:cNvPr>
            <p:cNvSpPr/>
            <p:nvPr/>
          </p:nvSpPr>
          <p:spPr>
            <a:xfrm>
              <a:off x="9220859" y="4562470"/>
              <a:ext cx="348596" cy="261447"/>
            </a:xfrm>
            <a:custGeom>
              <a:avLst/>
              <a:gdLst>
                <a:gd name="connsiteX0" fmla="*/ 450561 w 449743"/>
                <a:gd name="connsiteY0" fmla="*/ 154446 h 337307"/>
                <a:gd name="connsiteX1" fmla="*/ 432060 w 449743"/>
                <a:gd name="connsiteY1" fmla="*/ 225178 h 337307"/>
                <a:gd name="connsiteX2" fmla="*/ 345280 w 449743"/>
                <a:gd name="connsiteY2" fmla="*/ 313390 h 337307"/>
                <a:gd name="connsiteX3" fmla="*/ 221805 w 449743"/>
                <a:gd name="connsiteY3" fmla="*/ 346201 h 337307"/>
                <a:gd name="connsiteX4" fmla="*/ 84327 w 449743"/>
                <a:gd name="connsiteY4" fmla="*/ 317682 h 337307"/>
                <a:gd name="connsiteX5" fmla="*/ 0 w 449743"/>
                <a:gd name="connsiteY5" fmla="*/ 213628 h 337307"/>
                <a:gd name="connsiteX6" fmla="*/ 140136 w 449743"/>
                <a:gd name="connsiteY6" fmla="*/ 299897 h 337307"/>
                <a:gd name="connsiteX7" fmla="*/ 242964 w 449743"/>
                <a:gd name="connsiteY7" fmla="*/ 317887 h 337307"/>
                <a:gd name="connsiteX8" fmla="*/ 281703 w 449743"/>
                <a:gd name="connsiteY8" fmla="*/ 302555 h 337307"/>
                <a:gd name="connsiteX9" fmla="*/ 382895 w 449743"/>
                <a:gd name="connsiteY9" fmla="*/ 229471 h 337307"/>
                <a:gd name="connsiteX10" fmla="*/ 408449 w 449743"/>
                <a:gd name="connsiteY10" fmla="*/ 159557 h 337307"/>
                <a:gd name="connsiteX11" fmla="*/ 415502 w 449743"/>
                <a:gd name="connsiteY11" fmla="*/ 77172 h 337307"/>
                <a:gd name="connsiteX12" fmla="*/ 412231 w 449743"/>
                <a:gd name="connsiteY12" fmla="*/ 0 h 337307"/>
                <a:gd name="connsiteX13" fmla="*/ 450561 w 449743"/>
                <a:gd name="connsiteY13" fmla="*/ 154446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9743" h="337307">
                  <a:moveTo>
                    <a:pt x="450561" y="154446"/>
                  </a:moveTo>
                  <a:cubicBezTo>
                    <a:pt x="448517" y="178773"/>
                    <a:pt x="442793" y="202998"/>
                    <a:pt x="432060" y="225178"/>
                  </a:cubicBezTo>
                  <a:cubicBezTo>
                    <a:pt x="414173" y="262282"/>
                    <a:pt x="382589" y="292947"/>
                    <a:pt x="345280" y="313390"/>
                  </a:cubicBezTo>
                  <a:cubicBezTo>
                    <a:pt x="307870" y="333832"/>
                    <a:pt x="264940" y="344156"/>
                    <a:pt x="221805" y="346201"/>
                  </a:cubicBezTo>
                  <a:cubicBezTo>
                    <a:pt x="174275" y="348347"/>
                    <a:pt x="125519" y="340170"/>
                    <a:pt x="84327" y="317682"/>
                  </a:cubicBezTo>
                  <a:cubicBezTo>
                    <a:pt x="43135" y="295195"/>
                    <a:pt x="10221" y="257580"/>
                    <a:pt x="0" y="213628"/>
                  </a:cubicBezTo>
                  <a:cubicBezTo>
                    <a:pt x="32709" y="257274"/>
                    <a:pt x="87802" y="279659"/>
                    <a:pt x="140136" y="299897"/>
                  </a:cubicBezTo>
                  <a:cubicBezTo>
                    <a:pt x="172947" y="312572"/>
                    <a:pt x="208517" y="325553"/>
                    <a:pt x="242964" y="317887"/>
                  </a:cubicBezTo>
                  <a:cubicBezTo>
                    <a:pt x="256660" y="314821"/>
                    <a:pt x="269233" y="308585"/>
                    <a:pt x="281703" y="302555"/>
                  </a:cubicBezTo>
                  <a:cubicBezTo>
                    <a:pt x="319829" y="283849"/>
                    <a:pt x="359692" y="263611"/>
                    <a:pt x="382895" y="229471"/>
                  </a:cubicBezTo>
                  <a:cubicBezTo>
                    <a:pt x="397103" y="208620"/>
                    <a:pt x="403951" y="183986"/>
                    <a:pt x="408449" y="159557"/>
                  </a:cubicBezTo>
                  <a:cubicBezTo>
                    <a:pt x="413457" y="132368"/>
                    <a:pt x="415808" y="104770"/>
                    <a:pt x="415502" y="77172"/>
                  </a:cubicBezTo>
                  <a:cubicBezTo>
                    <a:pt x="415399" y="63373"/>
                    <a:pt x="403031" y="6440"/>
                    <a:pt x="412231" y="0"/>
                  </a:cubicBezTo>
                  <a:cubicBezTo>
                    <a:pt x="445348" y="39966"/>
                    <a:pt x="454752" y="105281"/>
                    <a:pt x="450561" y="15444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7" name="任意多边形: 形状 886">
              <a:extLst>
                <a:ext uri="{FF2B5EF4-FFF2-40B4-BE49-F238E27FC236}">
                  <a16:creationId xmlns:a16="http://schemas.microsoft.com/office/drawing/2014/main" id="{DDC1A12B-E973-42E9-8885-AF1C6FBC3373}"/>
                </a:ext>
              </a:extLst>
            </p:cNvPr>
            <p:cNvSpPr/>
            <p:nvPr/>
          </p:nvSpPr>
          <p:spPr>
            <a:xfrm>
              <a:off x="8553378" y="3862426"/>
              <a:ext cx="768495" cy="728882"/>
            </a:xfrm>
            <a:custGeom>
              <a:avLst/>
              <a:gdLst>
                <a:gd name="connsiteX0" fmla="*/ 514854 w 991480"/>
                <a:gd name="connsiteY0" fmla="*/ 940986 h 940372"/>
                <a:gd name="connsiteX1" fmla="*/ 477546 w 991480"/>
                <a:gd name="connsiteY1" fmla="*/ 877716 h 940372"/>
                <a:gd name="connsiteX2" fmla="*/ 328824 w 991480"/>
                <a:gd name="connsiteY2" fmla="*/ 845722 h 940372"/>
                <a:gd name="connsiteX3" fmla="*/ 266269 w 991480"/>
                <a:gd name="connsiteY3" fmla="*/ 887426 h 940372"/>
                <a:gd name="connsiteX4" fmla="*/ 157921 w 991480"/>
                <a:gd name="connsiteY4" fmla="*/ 814751 h 940372"/>
                <a:gd name="connsiteX5" fmla="*/ 178875 w 991480"/>
                <a:gd name="connsiteY5" fmla="*/ 745143 h 940372"/>
                <a:gd name="connsiteX6" fmla="*/ 97717 w 991480"/>
                <a:gd name="connsiteY6" fmla="*/ 622997 h 940372"/>
                <a:gd name="connsiteX7" fmla="*/ 22283 w 991480"/>
                <a:gd name="connsiteY7" fmla="*/ 610629 h 940372"/>
                <a:gd name="connsiteX8" fmla="*/ 0 w 991480"/>
                <a:gd name="connsiteY8" fmla="*/ 486847 h 940372"/>
                <a:gd name="connsiteX9" fmla="*/ 66848 w 991480"/>
                <a:gd name="connsiteY9" fmla="*/ 451584 h 940372"/>
                <a:gd name="connsiteX10" fmla="*/ 100681 w 991480"/>
                <a:gd name="connsiteY10" fmla="*/ 310936 h 940372"/>
                <a:gd name="connsiteX11" fmla="*/ 56627 w 991480"/>
                <a:gd name="connsiteY11" fmla="*/ 251754 h 940372"/>
                <a:gd name="connsiteX12" fmla="*/ 133390 w 991480"/>
                <a:gd name="connsiteY12" fmla="*/ 149335 h 940372"/>
                <a:gd name="connsiteX13" fmla="*/ 206984 w 991480"/>
                <a:gd name="connsiteY13" fmla="*/ 169165 h 940372"/>
                <a:gd name="connsiteX14" fmla="*/ 336183 w 991480"/>
                <a:gd name="connsiteY14" fmla="*/ 92402 h 940372"/>
                <a:gd name="connsiteX15" fmla="*/ 349267 w 991480"/>
                <a:gd name="connsiteY15" fmla="*/ 21056 h 940372"/>
                <a:gd name="connsiteX16" fmla="*/ 480203 w 991480"/>
                <a:gd name="connsiteY16" fmla="*/ 0 h 940372"/>
                <a:gd name="connsiteX17" fmla="*/ 517512 w 991480"/>
                <a:gd name="connsiteY17" fmla="*/ 63271 h 940372"/>
                <a:gd name="connsiteX18" fmla="*/ 666234 w 991480"/>
                <a:gd name="connsiteY18" fmla="*/ 95264 h 940372"/>
                <a:gd name="connsiteX19" fmla="*/ 728789 w 991480"/>
                <a:gd name="connsiteY19" fmla="*/ 53561 h 940372"/>
                <a:gd name="connsiteX20" fmla="*/ 837136 w 991480"/>
                <a:gd name="connsiteY20" fmla="*/ 126235 h 940372"/>
                <a:gd name="connsiteX21" fmla="*/ 816182 w 991480"/>
                <a:gd name="connsiteY21" fmla="*/ 195843 h 940372"/>
                <a:gd name="connsiteX22" fmla="*/ 897341 w 991480"/>
                <a:gd name="connsiteY22" fmla="*/ 317989 h 940372"/>
                <a:gd name="connsiteX23" fmla="*/ 972775 w 991480"/>
                <a:gd name="connsiteY23" fmla="*/ 330357 h 940372"/>
                <a:gd name="connsiteX24" fmla="*/ 995058 w 991480"/>
                <a:gd name="connsiteY24" fmla="*/ 454139 h 940372"/>
                <a:gd name="connsiteX25" fmla="*/ 928209 w 991480"/>
                <a:gd name="connsiteY25" fmla="*/ 489403 h 940372"/>
                <a:gd name="connsiteX26" fmla="*/ 894376 w 991480"/>
                <a:gd name="connsiteY26" fmla="*/ 630050 h 940372"/>
                <a:gd name="connsiteX27" fmla="*/ 938431 w 991480"/>
                <a:gd name="connsiteY27" fmla="*/ 689232 h 940372"/>
                <a:gd name="connsiteX28" fmla="*/ 861668 w 991480"/>
                <a:gd name="connsiteY28" fmla="*/ 791651 h 940372"/>
                <a:gd name="connsiteX29" fmla="*/ 788073 w 991480"/>
                <a:gd name="connsiteY29" fmla="*/ 771821 h 940372"/>
                <a:gd name="connsiteX30" fmla="*/ 658874 w 991480"/>
                <a:gd name="connsiteY30" fmla="*/ 848584 h 940372"/>
                <a:gd name="connsiteX31" fmla="*/ 645791 w 991480"/>
                <a:gd name="connsiteY31" fmla="*/ 919930 h 940372"/>
                <a:gd name="connsiteX32" fmla="*/ 514854 w 991480"/>
                <a:gd name="connsiteY32" fmla="*/ 940986 h 940372"/>
                <a:gd name="connsiteX33" fmla="*/ 325144 w 991480"/>
                <a:gd name="connsiteY33" fmla="*/ 810254 h 940372"/>
                <a:gd name="connsiteX34" fmla="*/ 333730 w 991480"/>
                <a:gd name="connsiteY34" fmla="*/ 813934 h 940372"/>
                <a:gd name="connsiteX35" fmla="*/ 487767 w 991480"/>
                <a:gd name="connsiteY35" fmla="*/ 847051 h 940372"/>
                <a:gd name="connsiteX36" fmla="*/ 497171 w 991480"/>
                <a:gd name="connsiteY36" fmla="*/ 847256 h 940372"/>
                <a:gd name="connsiteX37" fmla="*/ 532231 w 991480"/>
                <a:gd name="connsiteY37" fmla="*/ 906744 h 940372"/>
                <a:gd name="connsiteX38" fmla="*/ 617375 w 991480"/>
                <a:gd name="connsiteY38" fmla="*/ 893048 h 940372"/>
                <a:gd name="connsiteX39" fmla="*/ 629641 w 991480"/>
                <a:gd name="connsiteY39" fmla="*/ 825893 h 940372"/>
                <a:gd name="connsiteX40" fmla="*/ 638431 w 991480"/>
                <a:gd name="connsiteY40" fmla="*/ 822826 h 940372"/>
                <a:gd name="connsiteX41" fmla="*/ 772230 w 991480"/>
                <a:gd name="connsiteY41" fmla="*/ 743303 h 940372"/>
                <a:gd name="connsiteX42" fmla="*/ 778976 w 991480"/>
                <a:gd name="connsiteY42" fmla="*/ 737171 h 940372"/>
                <a:gd name="connsiteX43" fmla="*/ 848175 w 991480"/>
                <a:gd name="connsiteY43" fmla="*/ 755774 h 940372"/>
                <a:gd name="connsiteX44" fmla="*/ 898158 w 991480"/>
                <a:gd name="connsiteY44" fmla="*/ 689130 h 940372"/>
                <a:gd name="connsiteX45" fmla="*/ 856659 w 991480"/>
                <a:gd name="connsiteY45" fmla="*/ 633525 h 940372"/>
                <a:gd name="connsiteX46" fmla="*/ 860543 w 991480"/>
                <a:gd name="connsiteY46" fmla="*/ 625450 h 940372"/>
                <a:gd name="connsiteX47" fmla="*/ 895603 w 991480"/>
                <a:gd name="connsiteY47" fmla="*/ 479693 h 940372"/>
                <a:gd name="connsiteX48" fmla="*/ 895807 w 991480"/>
                <a:gd name="connsiteY48" fmla="*/ 470800 h 940372"/>
                <a:gd name="connsiteX49" fmla="*/ 958669 w 991480"/>
                <a:gd name="connsiteY49" fmla="*/ 437682 h 940372"/>
                <a:gd name="connsiteX50" fmla="*/ 944155 w 991480"/>
                <a:gd name="connsiteY50" fmla="*/ 357137 h 940372"/>
                <a:gd name="connsiteX51" fmla="*/ 873218 w 991480"/>
                <a:gd name="connsiteY51" fmla="*/ 345485 h 940372"/>
                <a:gd name="connsiteX52" fmla="*/ 869947 w 991480"/>
                <a:gd name="connsiteY52" fmla="*/ 337206 h 940372"/>
                <a:gd name="connsiteX53" fmla="*/ 785825 w 991480"/>
                <a:gd name="connsiteY53" fmla="*/ 210664 h 940372"/>
                <a:gd name="connsiteX54" fmla="*/ 779385 w 991480"/>
                <a:gd name="connsiteY54" fmla="*/ 204225 h 940372"/>
                <a:gd name="connsiteX55" fmla="*/ 799112 w 991480"/>
                <a:gd name="connsiteY55" fmla="*/ 138705 h 940372"/>
                <a:gd name="connsiteX56" fmla="*/ 728585 w 991480"/>
                <a:gd name="connsiteY56" fmla="*/ 91482 h 940372"/>
                <a:gd name="connsiteX57" fmla="*/ 669811 w 991480"/>
                <a:gd name="connsiteY57" fmla="*/ 130732 h 940372"/>
                <a:gd name="connsiteX58" fmla="*/ 661225 w 991480"/>
                <a:gd name="connsiteY58" fmla="*/ 127053 h 940372"/>
                <a:gd name="connsiteX59" fmla="*/ 507188 w 991480"/>
                <a:gd name="connsiteY59" fmla="*/ 93935 h 940372"/>
                <a:gd name="connsiteX60" fmla="*/ 497784 w 991480"/>
                <a:gd name="connsiteY60" fmla="*/ 93731 h 940372"/>
                <a:gd name="connsiteX61" fmla="*/ 462725 w 991480"/>
                <a:gd name="connsiteY61" fmla="*/ 34242 h 940372"/>
                <a:gd name="connsiteX62" fmla="*/ 377478 w 991480"/>
                <a:gd name="connsiteY62" fmla="*/ 47939 h 940372"/>
                <a:gd name="connsiteX63" fmla="*/ 365212 w 991480"/>
                <a:gd name="connsiteY63" fmla="*/ 115094 h 940372"/>
                <a:gd name="connsiteX64" fmla="*/ 356422 w 991480"/>
                <a:gd name="connsiteY64" fmla="*/ 118160 h 940372"/>
                <a:gd name="connsiteX65" fmla="*/ 222623 w 991480"/>
                <a:gd name="connsiteY65" fmla="*/ 197683 h 940372"/>
                <a:gd name="connsiteX66" fmla="*/ 215877 w 991480"/>
                <a:gd name="connsiteY66" fmla="*/ 203816 h 940372"/>
                <a:gd name="connsiteX67" fmla="*/ 146678 w 991480"/>
                <a:gd name="connsiteY67" fmla="*/ 185213 h 940372"/>
                <a:gd name="connsiteX68" fmla="*/ 96695 w 991480"/>
                <a:gd name="connsiteY68" fmla="*/ 251857 h 940372"/>
                <a:gd name="connsiteX69" fmla="*/ 138194 w 991480"/>
                <a:gd name="connsiteY69" fmla="*/ 307461 h 940372"/>
                <a:gd name="connsiteX70" fmla="*/ 134310 w 991480"/>
                <a:gd name="connsiteY70" fmla="*/ 315536 h 940372"/>
                <a:gd name="connsiteX71" fmla="*/ 99250 w 991480"/>
                <a:gd name="connsiteY71" fmla="*/ 461294 h 940372"/>
                <a:gd name="connsiteX72" fmla="*/ 99046 w 991480"/>
                <a:gd name="connsiteY72" fmla="*/ 470186 h 940372"/>
                <a:gd name="connsiteX73" fmla="*/ 36082 w 991480"/>
                <a:gd name="connsiteY73" fmla="*/ 503304 h 940372"/>
                <a:gd name="connsiteX74" fmla="*/ 50596 w 991480"/>
                <a:gd name="connsiteY74" fmla="*/ 583849 h 940372"/>
                <a:gd name="connsiteX75" fmla="*/ 121533 w 991480"/>
                <a:gd name="connsiteY75" fmla="*/ 595501 h 940372"/>
                <a:gd name="connsiteX76" fmla="*/ 124804 w 991480"/>
                <a:gd name="connsiteY76" fmla="*/ 603781 h 940372"/>
                <a:gd name="connsiteX77" fmla="*/ 208926 w 991480"/>
                <a:gd name="connsiteY77" fmla="*/ 730322 h 940372"/>
                <a:gd name="connsiteX78" fmla="*/ 215366 w 991480"/>
                <a:gd name="connsiteY78" fmla="*/ 736762 h 940372"/>
                <a:gd name="connsiteX79" fmla="*/ 195741 w 991480"/>
                <a:gd name="connsiteY79" fmla="*/ 802281 h 940372"/>
                <a:gd name="connsiteX80" fmla="*/ 266269 w 991480"/>
                <a:gd name="connsiteY80" fmla="*/ 849504 h 940372"/>
                <a:gd name="connsiteX81" fmla="*/ 325144 w 991480"/>
                <a:gd name="connsiteY81" fmla="*/ 810254 h 940372"/>
                <a:gd name="connsiteX82" fmla="*/ 496864 w 991480"/>
                <a:gd name="connsiteY82" fmla="*/ 768346 h 940372"/>
                <a:gd name="connsiteX83" fmla="*/ 315434 w 991480"/>
                <a:gd name="connsiteY83" fmla="*/ 713457 h 940372"/>
                <a:gd name="connsiteX84" fmla="*/ 187155 w 991480"/>
                <a:gd name="connsiteY84" fmla="*/ 520578 h 940372"/>
                <a:gd name="connsiteX85" fmla="*/ 444633 w 991480"/>
                <a:gd name="connsiteY85" fmla="*/ 177138 h 940372"/>
                <a:gd name="connsiteX86" fmla="*/ 679522 w 991480"/>
                <a:gd name="connsiteY86" fmla="*/ 227734 h 940372"/>
                <a:gd name="connsiteX87" fmla="*/ 807801 w 991480"/>
                <a:gd name="connsiteY87" fmla="*/ 420613 h 940372"/>
                <a:gd name="connsiteX88" fmla="*/ 550323 w 991480"/>
                <a:gd name="connsiteY88" fmla="*/ 764053 h 940372"/>
                <a:gd name="connsiteX89" fmla="*/ 496864 w 991480"/>
                <a:gd name="connsiteY89" fmla="*/ 768346 h 940372"/>
                <a:gd name="connsiteX90" fmla="*/ 497682 w 991480"/>
                <a:gd name="connsiteY90" fmla="*/ 203816 h 940372"/>
                <a:gd name="connsiteX91" fmla="*/ 450255 w 991480"/>
                <a:gd name="connsiteY91" fmla="*/ 207597 h 940372"/>
                <a:gd name="connsiteX92" fmla="*/ 219557 w 991480"/>
                <a:gd name="connsiteY92" fmla="*/ 515263 h 940372"/>
                <a:gd name="connsiteX93" fmla="*/ 334446 w 991480"/>
                <a:gd name="connsiteY93" fmla="*/ 688108 h 940372"/>
                <a:gd name="connsiteX94" fmla="*/ 544905 w 991480"/>
                <a:gd name="connsiteY94" fmla="*/ 733491 h 940372"/>
                <a:gd name="connsiteX95" fmla="*/ 775603 w 991480"/>
                <a:gd name="connsiteY95" fmla="*/ 425825 h 940372"/>
                <a:gd name="connsiteX96" fmla="*/ 497682 w 991480"/>
                <a:gd name="connsiteY96" fmla="*/ 203816 h 94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91480" h="940372">
                  <a:moveTo>
                    <a:pt x="514854" y="940986"/>
                  </a:moveTo>
                  <a:lnTo>
                    <a:pt x="477546" y="877716"/>
                  </a:lnTo>
                  <a:cubicBezTo>
                    <a:pt x="426030" y="875569"/>
                    <a:pt x="376149" y="864734"/>
                    <a:pt x="328824" y="845722"/>
                  </a:cubicBezTo>
                  <a:lnTo>
                    <a:pt x="266269" y="887426"/>
                  </a:lnTo>
                  <a:lnTo>
                    <a:pt x="157921" y="814751"/>
                  </a:lnTo>
                  <a:lnTo>
                    <a:pt x="178875" y="745143"/>
                  </a:lnTo>
                  <a:cubicBezTo>
                    <a:pt x="144122" y="709266"/>
                    <a:pt x="116933" y="668176"/>
                    <a:pt x="97717" y="622997"/>
                  </a:cubicBezTo>
                  <a:lnTo>
                    <a:pt x="22283" y="610629"/>
                  </a:lnTo>
                  <a:lnTo>
                    <a:pt x="0" y="486847"/>
                  </a:lnTo>
                  <a:lnTo>
                    <a:pt x="66848" y="451584"/>
                  </a:lnTo>
                  <a:cubicBezTo>
                    <a:pt x="69199" y="402929"/>
                    <a:pt x="80545" y="355706"/>
                    <a:pt x="100681" y="310936"/>
                  </a:cubicBezTo>
                  <a:lnTo>
                    <a:pt x="56627" y="251754"/>
                  </a:lnTo>
                  <a:lnTo>
                    <a:pt x="133390" y="149335"/>
                  </a:lnTo>
                  <a:lnTo>
                    <a:pt x="206984" y="169165"/>
                  </a:lnTo>
                  <a:cubicBezTo>
                    <a:pt x="245008" y="136354"/>
                    <a:pt x="288347" y="110596"/>
                    <a:pt x="336183" y="92402"/>
                  </a:cubicBezTo>
                  <a:lnTo>
                    <a:pt x="349267" y="21056"/>
                  </a:lnTo>
                  <a:lnTo>
                    <a:pt x="480203" y="0"/>
                  </a:lnTo>
                  <a:lnTo>
                    <a:pt x="517512" y="63271"/>
                  </a:lnTo>
                  <a:cubicBezTo>
                    <a:pt x="569028" y="65417"/>
                    <a:pt x="618908" y="76252"/>
                    <a:pt x="666234" y="95264"/>
                  </a:cubicBezTo>
                  <a:lnTo>
                    <a:pt x="728789" y="53561"/>
                  </a:lnTo>
                  <a:lnTo>
                    <a:pt x="837136" y="126235"/>
                  </a:lnTo>
                  <a:lnTo>
                    <a:pt x="816182" y="195843"/>
                  </a:lnTo>
                  <a:cubicBezTo>
                    <a:pt x="850833" y="231720"/>
                    <a:pt x="878124" y="272810"/>
                    <a:pt x="897341" y="317989"/>
                  </a:cubicBezTo>
                  <a:lnTo>
                    <a:pt x="972775" y="330357"/>
                  </a:lnTo>
                  <a:lnTo>
                    <a:pt x="995058" y="454139"/>
                  </a:lnTo>
                  <a:lnTo>
                    <a:pt x="928209" y="489403"/>
                  </a:lnTo>
                  <a:cubicBezTo>
                    <a:pt x="925858" y="538057"/>
                    <a:pt x="914513" y="585280"/>
                    <a:pt x="894376" y="630050"/>
                  </a:cubicBezTo>
                  <a:lnTo>
                    <a:pt x="938431" y="689232"/>
                  </a:lnTo>
                  <a:lnTo>
                    <a:pt x="861668" y="791651"/>
                  </a:lnTo>
                  <a:lnTo>
                    <a:pt x="788073" y="771821"/>
                  </a:lnTo>
                  <a:cubicBezTo>
                    <a:pt x="750050" y="804632"/>
                    <a:pt x="706711" y="830390"/>
                    <a:pt x="658874" y="848584"/>
                  </a:cubicBezTo>
                  <a:lnTo>
                    <a:pt x="645791" y="919930"/>
                  </a:lnTo>
                  <a:lnTo>
                    <a:pt x="514854" y="940986"/>
                  </a:lnTo>
                  <a:close/>
                  <a:moveTo>
                    <a:pt x="325144" y="810254"/>
                  </a:moveTo>
                  <a:lnTo>
                    <a:pt x="333730" y="813934"/>
                  </a:lnTo>
                  <a:cubicBezTo>
                    <a:pt x="382384" y="834785"/>
                    <a:pt x="434309" y="845927"/>
                    <a:pt x="487767" y="847051"/>
                  </a:cubicBezTo>
                  <a:lnTo>
                    <a:pt x="497171" y="847256"/>
                  </a:lnTo>
                  <a:lnTo>
                    <a:pt x="532231" y="906744"/>
                  </a:lnTo>
                  <a:lnTo>
                    <a:pt x="617375" y="893048"/>
                  </a:lnTo>
                  <a:lnTo>
                    <a:pt x="629641" y="825893"/>
                  </a:lnTo>
                  <a:lnTo>
                    <a:pt x="638431" y="822826"/>
                  </a:lnTo>
                  <a:cubicBezTo>
                    <a:pt x="688517" y="804939"/>
                    <a:pt x="733593" y="778159"/>
                    <a:pt x="772230" y="743303"/>
                  </a:cubicBezTo>
                  <a:lnTo>
                    <a:pt x="778976" y="737171"/>
                  </a:lnTo>
                  <a:lnTo>
                    <a:pt x="848175" y="755774"/>
                  </a:lnTo>
                  <a:lnTo>
                    <a:pt x="898158" y="689130"/>
                  </a:lnTo>
                  <a:lnTo>
                    <a:pt x="856659" y="633525"/>
                  </a:lnTo>
                  <a:lnTo>
                    <a:pt x="860543" y="625450"/>
                  </a:lnTo>
                  <a:cubicBezTo>
                    <a:pt x="882622" y="579352"/>
                    <a:pt x="894376" y="530391"/>
                    <a:pt x="895603" y="479693"/>
                  </a:cubicBezTo>
                  <a:lnTo>
                    <a:pt x="895807" y="470800"/>
                  </a:lnTo>
                  <a:lnTo>
                    <a:pt x="958669" y="437682"/>
                  </a:lnTo>
                  <a:lnTo>
                    <a:pt x="944155" y="357137"/>
                  </a:lnTo>
                  <a:lnTo>
                    <a:pt x="873218" y="345485"/>
                  </a:lnTo>
                  <a:lnTo>
                    <a:pt x="869947" y="337206"/>
                  </a:lnTo>
                  <a:cubicBezTo>
                    <a:pt x="851037" y="289778"/>
                    <a:pt x="822724" y="247257"/>
                    <a:pt x="785825" y="210664"/>
                  </a:cubicBezTo>
                  <a:lnTo>
                    <a:pt x="779385" y="204225"/>
                  </a:lnTo>
                  <a:lnTo>
                    <a:pt x="799112" y="138705"/>
                  </a:lnTo>
                  <a:lnTo>
                    <a:pt x="728585" y="91482"/>
                  </a:lnTo>
                  <a:lnTo>
                    <a:pt x="669811" y="130732"/>
                  </a:lnTo>
                  <a:lnTo>
                    <a:pt x="661225" y="127053"/>
                  </a:lnTo>
                  <a:cubicBezTo>
                    <a:pt x="612571" y="106201"/>
                    <a:pt x="560646" y="95060"/>
                    <a:pt x="507188" y="93935"/>
                  </a:cubicBezTo>
                  <a:lnTo>
                    <a:pt x="497784" y="93731"/>
                  </a:lnTo>
                  <a:lnTo>
                    <a:pt x="462725" y="34242"/>
                  </a:lnTo>
                  <a:lnTo>
                    <a:pt x="377478" y="47939"/>
                  </a:lnTo>
                  <a:lnTo>
                    <a:pt x="365212" y="115094"/>
                  </a:lnTo>
                  <a:lnTo>
                    <a:pt x="356422" y="118160"/>
                  </a:lnTo>
                  <a:cubicBezTo>
                    <a:pt x="306337" y="136047"/>
                    <a:pt x="261260" y="162828"/>
                    <a:pt x="222623" y="197683"/>
                  </a:cubicBezTo>
                  <a:lnTo>
                    <a:pt x="215877" y="203816"/>
                  </a:lnTo>
                  <a:lnTo>
                    <a:pt x="146678" y="185213"/>
                  </a:lnTo>
                  <a:lnTo>
                    <a:pt x="96695" y="251857"/>
                  </a:lnTo>
                  <a:lnTo>
                    <a:pt x="138194" y="307461"/>
                  </a:lnTo>
                  <a:lnTo>
                    <a:pt x="134310" y="315536"/>
                  </a:lnTo>
                  <a:cubicBezTo>
                    <a:pt x="112231" y="361635"/>
                    <a:pt x="100477" y="410596"/>
                    <a:pt x="99250" y="461294"/>
                  </a:cubicBezTo>
                  <a:lnTo>
                    <a:pt x="99046" y="470186"/>
                  </a:lnTo>
                  <a:lnTo>
                    <a:pt x="36082" y="503304"/>
                  </a:lnTo>
                  <a:lnTo>
                    <a:pt x="50596" y="583849"/>
                  </a:lnTo>
                  <a:lnTo>
                    <a:pt x="121533" y="595501"/>
                  </a:lnTo>
                  <a:lnTo>
                    <a:pt x="124804" y="603781"/>
                  </a:lnTo>
                  <a:cubicBezTo>
                    <a:pt x="143714" y="651208"/>
                    <a:pt x="172027" y="693730"/>
                    <a:pt x="208926" y="730322"/>
                  </a:cubicBezTo>
                  <a:lnTo>
                    <a:pt x="215366" y="736762"/>
                  </a:lnTo>
                  <a:lnTo>
                    <a:pt x="195741" y="802281"/>
                  </a:lnTo>
                  <a:lnTo>
                    <a:pt x="266269" y="849504"/>
                  </a:lnTo>
                  <a:lnTo>
                    <a:pt x="325144" y="810254"/>
                  </a:lnTo>
                  <a:close/>
                  <a:moveTo>
                    <a:pt x="496864" y="768346"/>
                  </a:moveTo>
                  <a:cubicBezTo>
                    <a:pt x="432265" y="768346"/>
                    <a:pt x="369301" y="749539"/>
                    <a:pt x="315434" y="713457"/>
                  </a:cubicBezTo>
                  <a:cubicBezTo>
                    <a:pt x="246848" y="667460"/>
                    <a:pt x="201260" y="598977"/>
                    <a:pt x="187155" y="520578"/>
                  </a:cubicBezTo>
                  <a:cubicBezTo>
                    <a:pt x="158024" y="358773"/>
                    <a:pt x="273526" y="204736"/>
                    <a:pt x="444633" y="177138"/>
                  </a:cubicBezTo>
                  <a:cubicBezTo>
                    <a:pt x="527529" y="163748"/>
                    <a:pt x="610936" y="181737"/>
                    <a:pt x="679522" y="227734"/>
                  </a:cubicBezTo>
                  <a:cubicBezTo>
                    <a:pt x="748107" y="273730"/>
                    <a:pt x="793695" y="342214"/>
                    <a:pt x="807801" y="420613"/>
                  </a:cubicBezTo>
                  <a:cubicBezTo>
                    <a:pt x="836932" y="582418"/>
                    <a:pt x="721430" y="736455"/>
                    <a:pt x="550323" y="764053"/>
                  </a:cubicBezTo>
                  <a:cubicBezTo>
                    <a:pt x="532537" y="766915"/>
                    <a:pt x="514650" y="768346"/>
                    <a:pt x="496864" y="768346"/>
                  </a:cubicBezTo>
                  <a:close/>
                  <a:moveTo>
                    <a:pt x="497682" y="203816"/>
                  </a:moveTo>
                  <a:cubicBezTo>
                    <a:pt x="482043" y="203816"/>
                    <a:pt x="466200" y="205042"/>
                    <a:pt x="450255" y="207597"/>
                  </a:cubicBezTo>
                  <a:cubicBezTo>
                    <a:pt x="296933" y="232334"/>
                    <a:pt x="193492" y="370323"/>
                    <a:pt x="219557" y="515263"/>
                  </a:cubicBezTo>
                  <a:cubicBezTo>
                    <a:pt x="232231" y="585484"/>
                    <a:pt x="273015" y="646915"/>
                    <a:pt x="334446" y="688108"/>
                  </a:cubicBezTo>
                  <a:cubicBezTo>
                    <a:pt x="395877" y="729300"/>
                    <a:pt x="470697" y="745450"/>
                    <a:pt x="544905" y="733491"/>
                  </a:cubicBezTo>
                  <a:cubicBezTo>
                    <a:pt x="698227" y="708755"/>
                    <a:pt x="801668" y="570766"/>
                    <a:pt x="775603" y="425825"/>
                  </a:cubicBezTo>
                  <a:cubicBezTo>
                    <a:pt x="752196" y="295911"/>
                    <a:pt x="632605" y="203816"/>
                    <a:pt x="497682" y="203816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8" name="任意多边形: 形状 887">
              <a:extLst>
                <a:ext uri="{FF2B5EF4-FFF2-40B4-BE49-F238E27FC236}">
                  <a16:creationId xmlns:a16="http://schemas.microsoft.com/office/drawing/2014/main" id="{CFAA703C-28D0-40A0-BA28-CEDC6C87728D}"/>
                </a:ext>
              </a:extLst>
            </p:cNvPr>
            <p:cNvSpPr/>
            <p:nvPr/>
          </p:nvSpPr>
          <p:spPr>
            <a:xfrm>
              <a:off x="9087997" y="4371930"/>
              <a:ext cx="578352" cy="546662"/>
            </a:xfrm>
            <a:custGeom>
              <a:avLst/>
              <a:gdLst>
                <a:gd name="connsiteX0" fmla="*/ 384940 w 746165"/>
                <a:gd name="connsiteY0" fmla="*/ 707733 h 705279"/>
                <a:gd name="connsiteX1" fmla="*/ 356933 w 746165"/>
                <a:gd name="connsiteY1" fmla="*/ 660203 h 705279"/>
                <a:gd name="connsiteX2" fmla="*/ 249505 w 746165"/>
                <a:gd name="connsiteY2" fmla="*/ 637103 h 705279"/>
                <a:gd name="connsiteX3" fmla="*/ 202487 w 746165"/>
                <a:gd name="connsiteY3" fmla="*/ 668380 h 705279"/>
                <a:gd name="connsiteX4" fmla="*/ 117138 w 746165"/>
                <a:gd name="connsiteY4" fmla="*/ 611141 h 705279"/>
                <a:gd name="connsiteX5" fmla="*/ 132879 w 746165"/>
                <a:gd name="connsiteY5" fmla="*/ 558908 h 705279"/>
                <a:gd name="connsiteX6" fmla="*/ 74208 w 746165"/>
                <a:gd name="connsiteY6" fmla="*/ 470698 h 705279"/>
                <a:gd name="connsiteX7" fmla="*/ 17581 w 746165"/>
                <a:gd name="connsiteY7" fmla="*/ 461396 h 705279"/>
                <a:gd name="connsiteX8" fmla="*/ 0 w 746165"/>
                <a:gd name="connsiteY8" fmla="*/ 363883 h 705279"/>
                <a:gd name="connsiteX9" fmla="*/ 50187 w 746165"/>
                <a:gd name="connsiteY9" fmla="*/ 337410 h 705279"/>
                <a:gd name="connsiteX10" fmla="*/ 74617 w 746165"/>
                <a:gd name="connsiteY10" fmla="*/ 235809 h 705279"/>
                <a:gd name="connsiteX11" fmla="*/ 41499 w 746165"/>
                <a:gd name="connsiteY11" fmla="*/ 191345 h 705279"/>
                <a:gd name="connsiteX12" fmla="*/ 102010 w 746165"/>
                <a:gd name="connsiteY12" fmla="*/ 110698 h 705279"/>
                <a:gd name="connsiteX13" fmla="*/ 157308 w 746165"/>
                <a:gd name="connsiteY13" fmla="*/ 125520 h 705279"/>
                <a:gd name="connsiteX14" fmla="*/ 250630 w 746165"/>
                <a:gd name="connsiteY14" fmla="*/ 70119 h 705279"/>
                <a:gd name="connsiteX15" fmla="*/ 260442 w 746165"/>
                <a:gd name="connsiteY15" fmla="*/ 16559 h 705279"/>
                <a:gd name="connsiteX16" fmla="*/ 363577 w 746165"/>
                <a:gd name="connsiteY16" fmla="*/ 0 h 705279"/>
                <a:gd name="connsiteX17" fmla="*/ 391583 w 746165"/>
                <a:gd name="connsiteY17" fmla="*/ 47530 h 705279"/>
                <a:gd name="connsiteX18" fmla="*/ 499011 w 746165"/>
                <a:gd name="connsiteY18" fmla="*/ 70630 h 705279"/>
                <a:gd name="connsiteX19" fmla="*/ 546030 w 746165"/>
                <a:gd name="connsiteY19" fmla="*/ 39353 h 705279"/>
                <a:gd name="connsiteX20" fmla="*/ 631379 w 746165"/>
                <a:gd name="connsiteY20" fmla="*/ 96593 h 705279"/>
                <a:gd name="connsiteX21" fmla="*/ 615638 w 746165"/>
                <a:gd name="connsiteY21" fmla="*/ 148825 h 705279"/>
                <a:gd name="connsiteX22" fmla="*/ 674309 w 746165"/>
                <a:gd name="connsiteY22" fmla="*/ 237035 h 705279"/>
                <a:gd name="connsiteX23" fmla="*/ 730935 w 746165"/>
                <a:gd name="connsiteY23" fmla="*/ 246337 h 705279"/>
                <a:gd name="connsiteX24" fmla="*/ 748516 w 746165"/>
                <a:gd name="connsiteY24" fmla="*/ 343850 h 705279"/>
                <a:gd name="connsiteX25" fmla="*/ 698329 w 746165"/>
                <a:gd name="connsiteY25" fmla="*/ 370323 h 705279"/>
                <a:gd name="connsiteX26" fmla="*/ 673900 w 746165"/>
                <a:gd name="connsiteY26" fmla="*/ 471924 h 705279"/>
                <a:gd name="connsiteX27" fmla="*/ 707017 w 746165"/>
                <a:gd name="connsiteY27" fmla="*/ 516388 h 705279"/>
                <a:gd name="connsiteX28" fmla="*/ 646506 w 746165"/>
                <a:gd name="connsiteY28" fmla="*/ 597035 h 705279"/>
                <a:gd name="connsiteX29" fmla="*/ 591208 w 746165"/>
                <a:gd name="connsiteY29" fmla="*/ 582214 h 705279"/>
                <a:gd name="connsiteX30" fmla="*/ 497886 w 746165"/>
                <a:gd name="connsiteY30" fmla="*/ 637614 h 705279"/>
                <a:gd name="connsiteX31" fmla="*/ 488074 w 746165"/>
                <a:gd name="connsiteY31" fmla="*/ 691174 h 705279"/>
                <a:gd name="connsiteX32" fmla="*/ 384940 w 746165"/>
                <a:gd name="connsiteY32" fmla="*/ 707733 h 705279"/>
                <a:gd name="connsiteX33" fmla="*/ 245826 w 746165"/>
                <a:gd name="connsiteY33" fmla="*/ 601634 h 705279"/>
                <a:gd name="connsiteX34" fmla="*/ 254412 w 746165"/>
                <a:gd name="connsiteY34" fmla="*/ 605314 h 705279"/>
                <a:gd name="connsiteX35" fmla="*/ 367256 w 746165"/>
                <a:gd name="connsiteY35" fmla="*/ 629641 h 705279"/>
                <a:gd name="connsiteX36" fmla="*/ 376660 w 746165"/>
                <a:gd name="connsiteY36" fmla="*/ 629845 h 705279"/>
                <a:gd name="connsiteX37" fmla="*/ 402418 w 746165"/>
                <a:gd name="connsiteY37" fmla="*/ 673593 h 705279"/>
                <a:gd name="connsiteX38" fmla="*/ 459863 w 746165"/>
                <a:gd name="connsiteY38" fmla="*/ 664394 h 705279"/>
                <a:gd name="connsiteX39" fmla="*/ 468858 w 746165"/>
                <a:gd name="connsiteY39" fmla="*/ 615025 h 705279"/>
                <a:gd name="connsiteX40" fmla="*/ 477648 w 746165"/>
                <a:gd name="connsiteY40" fmla="*/ 611958 h 705279"/>
                <a:gd name="connsiteX41" fmla="*/ 575569 w 746165"/>
                <a:gd name="connsiteY41" fmla="*/ 553696 h 705279"/>
                <a:gd name="connsiteX42" fmla="*/ 582316 w 746165"/>
                <a:gd name="connsiteY42" fmla="*/ 547563 h 705279"/>
                <a:gd name="connsiteX43" fmla="*/ 633218 w 746165"/>
                <a:gd name="connsiteY43" fmla="*/ 561260 h 705279"/>
                <a:gd name="connsiteX44" fmla="*/ 666949 w 746165"/>
                <a:gd name="connsiteY44" fmla="*/ 516285 h 705279"/>
                <a:gd name="connsiteX45" fmla="*/ 636489 w 746165"/>
                <a:gd name="connsiteY45" fmla="*/ 475399 h 705279"/>
                <a:gd name="connsiteX46" fmla="*/ 640373 w 746165"/>
                <a:gd name="connsiteY46" fmla="*/ 467324 h 705279"/>
                <a:gd name="connsiteX47" fmla="*/ 666029 w 746165"/>
                <a:gd name="connsiteY47" fmla="*/ 360613 h 705279"/>
                <a:gd name="connsiteX48" fmla="*/ 666234 w 746165"/>
                <a:gd name="connsiteY48" fmla="*/ 351720 h 705279"/>
                <a:gd name="connsiteX49" fmla="*/ 712435 w 746165"/>
                <a:gd name="connsiteY49" fmla="*/ 327393 h 705279"/>
                <a:gd name="connsiteX50" fmla="*/ 702622 w 746165"/>
                <a:gd name="connsiteY50" fmla="*/ 273117 h 705279"/>
                <a:gd name="connsiteX51" fmla="*/ 650493 w 746165"/>
                <a:gd name="connsiteY51" fmla="*/ 264633 h 705279"/>
                <a:gd name="connsiteX52" fmla="*/ 647222 w 746165"/>
                <a:gd name="connsiteY52" fmla="*/ 256354 h 705279"/>
                <a:gd name="connsiteX53" fmla="*/ 585689 w 746165"/>
                <a:gd name="connsiteY53" fmla="*/ 163748 h 705279"/>
                <a:gd name="connsiteX54" fmla="*/ 579249 w 746165"/>
                <a:gd name="connsiteY54" fmla="*/ 157308 h 705279"/>
                <a:gd name="connsiteX55" fmla="*/ 593764 w 746165"/>
                <a:gd name="connsiteY55" fmla="*/ 109165 h 705279"/>
                <a:gd name="connsiteX56" fmla="*/ 546234 w 746165"/>
                <a:gd name="connsiteY56" fmla="*/ 77274 h 705279"/>
                <a:gd name="connsiteX57" fmla="*/ 502997 w 746165"/>
                <a:gd name="connsiteY57" fmla="*/ 106099 h 705279"/>
                <a:gd name="connsiteX58" fmla="*/ 494411 w 746165"/>
                <a:gd name="connsiteY58" fmla="*/ 102419 h 705279"/>
                <a:gd name="connsiteX59" fmla="*/ 381567 w 746165"/>
                <a:gd name="connsiteY59" fmla="*/ 78092 h 705279"/>
                <a:gd name="connsiteX60" fmla="*/ 372163 w 746165"/>
                <a:gd name="connsiteY60" fmla="*/ 77888 h 705279"/>
                <a:gd name="connsiteX61" fmla="*/ 346405 w 746165"/>
                <a:gd name="connsiteY61" fmla="*/ 34140 h 705279"/>
                <a:gd name="connsiteX62" fmla="*/ 289062 w 746165"/>
                <a:gd name="connsiteY62" fmla="*/ 43339 h 705279"/>
                <a:gd name="connsiteX63" fmla="*/ 280068 w 746165"/>
                <a:gd name="connsiteY63" fmla="*/ 92709 h 705279"/>
                <a:gd name="connsiteX64" fmla="*/ 271277 w 746165"/>
                <a:gd name="connsiteY64" fmla="*/ 95775 h 705279"/>
                <a:gd name="connsiteX65" fmla="*/ 173356 w 746165"/>
                <a:gd name="connsiteY65" fmla="*/ 154037 h 705279"/>
                <a:gd name="connsiteX66" fmla="*/ 166610 w 746165"/>
                <a:gd name="connsiteY66" fmla="*/ 160170 h 705279"/>
                <a:gd name="connsiteX67" fmla="*/ 115707 w 746165"/>
                <a:gd name="connsiteY67" fmla="*/ 146473 h 705279"/>
                <a:gd name="connsiteX68" fmla="*/ 81976 w 746165"/>
                <a:gd name="connsiteY68" fmla="*/ 191448 h 705279"/>
                <a:gd name="connsiteX69" fmla="*/ 112436 w 746165"/>
                <a:gd name="connsiteY69" fmla="*/ 232334 h 705279"/>
                <a:gd name="connsiteX70" fmla="*/ 108552 w 746165"/>
                <a:gd name="connsiteY70" fmla="*/ 240409 h 705279"/>
                <a:gd name="connsiteX71" fmla="*/ 82896 w 746165"/>
                <a:gd name="connsiteY71" fmla="*/ 347120 h 705279"/>
                <a:gd name="connsiteX72" fmla="*/ 82691 w 746165"/>
                <a:gd name="connsiteY72" fmla="*/ 356013 h 705279"/>
                <a:gd name="connsiteX73" fmla="*/ 36490 w 746165"/>
                <a:gd name="connsiteY73" fmla="*/ 380340 h 705279"/>
                <a:gd name="connsiteX74" fmla="*/ 46303 w 746165"/>
                <a:gd name="connsiteY74" fmla="*/ 434616 h 705279"/>
                <a:gd name="connsiteX75" fmla="*/ 98433 w 746165"/>
                <a:gd name="connsiteY75" fmla="*/ 443100 h 705279"/>
                <a:gd name="connsiteX76" fmla="*/ 101703 w 746165"/>
                <a:gd name="connsiteY76" fmla="*/ 451379 h 705279"/>
                <a:gd name="connsiteX77" fmla="*/ 163236 w 746165"/>
                <a:gd name="connsiteY77" fmla="*/ 543986 h 705279"/>
                <a:gd name="connsiteX78" fmla="*/ 169676 w 746165"/>
                <a:gd name="connsiteY78" fmla="*/ 550425 h 705279"/>
                <a:gd name="connsiteX79" fmla="*/ 155264 w 746165"/>
                <a:gd name="connsiteY79" fmla="*/ 598568 h 705279"/>
                <a:gd name="connsiteX80" fmla="*/ 202691 w 746165"/>
                <a:gd name="connsiteY80" fmla="*/ 630459 h 705279"/>
                <a:gd name="connsiteX81" fmla="*/ 245826 w 746165"/>
                <a:gd name="connsiteY81" fmla="*/ 601634 h 705279"/>
                <a:gd name="connsiteX82" fmla="*/ 373798 w 746165"/>
                <a:gd name="connsiteY82" fmla="*/ 579045 h 705279"/>
                <a:gd name="connsiteX83" fmla="*/ 236626 w 746165"/>
                <a:gd name="connsiteY83" fmla="*/ 537546 h 705279"/>
                <a:gd name="connsiteX84" fmla="*/ 139625 w 746165"/>
                <a:gd name="connsiteY84" fmla="*/ 391686 h 705279"/>
                <a:gd name="connsiteX85" fmla="*/ 180102 w 746165"/>
                <a:gd name="connsiteY85" fmla="*/ 223645 h 705279"/>
                <a:gd name="connsiteX86" fmla="*/ 334343 w 746165"/>
                <a:gd name="connsiteY86" fmla="*/ 131959 h 705279"/>
                <a:gd name="connsiteX87" fmla="*/ 511992 w 746165"/>
                <a:gd name="connsiteY87" fmla="*/ 170187 h 705279"/>
                <a:gd name="connsiteX88" fmla="*/ 608994 w 746165"/>
                <a:gd name="connsiteY88" fmla="*/ 316047 h 705279"/>
                <a:gd name="connsiteX89" fmla="*/ 608994 w 746165"/>
                <a:gd name="connsiteY89" fmla="*/ 316047 h 705279"/>
                <a:gd name="connsiteX90" fmla="*/ 414275 w 746165"/>
                <a:gd name="connsiteY90" fmla="*/ 575774 h 705279"/>
                <a:gd name="connsiteX91" fmla="*/ 373798 w 746165"/>
                <a:gd name="connsiteY91" fmla="*/ 579045 h 705279"/>
                <a:gd name="connsiteX92" fmla="*/ 374718 w 746165"/>
                <a:gd name="connsiteY92" fmla="*/ 159659 h 705279"/>
                <a:gd name="connsiteX93" fmla="*/ 339863 w 746165"/>
                <a:gd name="connsiteY93" fmla="*/ 162419 h 705279"/>
                <a:gd name="connsiteX94" fmla="*/ 206882 w 746165"/>
                <a:gd name="connsiteY94" fmla="*/ 241533 h 705279"/>
                <a:gd name="connsiteX95" fmla="*/ 172027 w 746165"/>
                <a:gd name="connsiteY95" fmla="*/ 386371 h 705279"/>
                <a:gd name="connsiteX96" fmla="*/ 255638 w 746165"/>
                <a:gd name="connsiteY96" fmla="*/ 512094 h 705279"/>
                <a:gd name="connsiteX97" fmla="*/ 408858 w 746165"/>
                <a:gd name="connsiteY97" fmla="*/ 545110 h 705279"/>
                <a:gd name="connsiteX98" fmla="*/ 576796 w 746165"/>
                <a:gd name="connsiteY98" fmla="*/ 321158 h 705279"/>
                <a:gd name="connsiteX99" fmla="*/ 576796 w 746165"/>
                <a:gd name="connsiteY99" fmla="*/ 321158 h 705279"/>
                <a:gd name="connsiteX100" fmla="*/ 493185 w 746165"/>
                <a:gd name="connsiteY100" fmla="*/ 195332 h 705279"/>
                <a:gd name="connsiteX101" fmla="*/ 374718 w 746165"/>
                <a:gd name="connsiteY101" fmla="*/ 159659 h 70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746165" h="705279">
                  <a:moveTo>
                    <a:pt x="384940" y="707733"/>
                  </a:moveTo>
                  <a:lnTo>
                    <a:pt x="356933" y="660203"/>
                  </a:lnTo>
                  <a:cubicBezTo>
                    <a:pt x="319829" y="658364"/>
                    <a:pt x="283747" y="650595"/>
                    <a:pt x="249505" y="637103"/>
                  </a:cubicBezTo>
                  <a:lnTo>
                    <a:pt x="202487" y="668380"/>
                  </a:lnTo>
                  <a:lnTo>
                    <a:pt x="117138" y="611141"/>
                  </a:lnTo>
                  <a:lnTo>
                    <a:pt x="132879" y="558908"/>
                  </a:lnTo>
                  <a:cubicBezTo>
                    <a:pt x="108041" y="532844"/>
                    <a:pt x="88313" y="503202"/>
                    <a:pt x="74208" y="470698"/>
                  </a:cubicBezTo>
                  <a:lnTo>
                    <a:pt x="17581" y="461396"/>
                  </a:lnTo>
                  <a:lnTo>
                    <a:pt x="0" y="363883"/>
                  </a:lnTo>
                  <a:lnTo>
                    <a:pt x="50187" y="337410"/>
                  </a:lnTo>
                  <a:cubicBezTo>
                    <a:pt x="52129" y="302350"/>
                    <a:pt x="60306" y="268211"/>
                    <a:pt x="74617" y="235809"/>
                  </a:cubicBezTo>
                  <a:lnTo>
                    <a:pt x="41499" y="191345"/>
                  </a:lnTo>
                  <a:lnTo>
                    <a:pt x="102010" y="110698"/>
                  </a:lnTo>
                  <a:lnTo>
                    <a:pt x="157308" y="125520"/>
                  </a:lnTo>
                  <a:cubicBezTo>
                    <a:pt x="184906" y="102010"/>
                    <a:pt x="216183" y="83407"/>
                    <a:pt x="250630" y="70119"/>
                  </a:cubicBezTo>
                  <a:lnTo>
                    <a:pt x="260442" y="16559"/>
                  </a:lnTo>
                  <a:lnTo>
                    <a:pt x="363577" y="0"/>
                  </a:lnTo>
                  <a:lnTo>
                    <a:pt x="391583" y="47530"/>
                  </a:lnTo>
                  <a:cubicBezTo>
                    <a:pt x="428687" y="49370"/>
                    <a:pt x="464769" y="57138"/>
                    <a:pt x="499011" y="70630"/>
                  </a:cubicBezTo>
                  <a:lnTo>
                    <a:pt x="546030" y="39353"/>
                  </a:lnTo>
                  <a:lnTo>
                    <a:pt x="631379" y="96593"/>
                  </a:lnTo>
                  <a:lnTo>
                    <a:pt x="615638" y="148825"/>
                  </a:lnTo>
                  <a:cubicBezTo>
                    <a:pt x="640476" y="174889"/>
                    <a:pt x="660203" y="204531"/>
                    <a:pt x="674309" y="237035"/>
                  </a:cubicBezTo>
                  <a:lnTo>
                    <a:pt x="730935" y="246337"/>
                  </a:lnTo>
                  <a:lnTo>
                    <a:pt x="748516" y="343850"/>
                  </a:lnTo>
                  <a:lnTo>
                    <a:pt x="698329" y="370323"/>
                  </a:lnTo>
                  <a:cubicBezTo>
                    <a:pt x="696387" y="405382"/>
                    <a:pt x="688210" y="439522"/>
                    <a:pt x="673900" y="471924"/>
                  </a:cubicBezTo>
                  <a:lnTo>
                    <a:pt x="707017" y="516388"/>
                  </a:lnTo>
                  <a:lnTo>
                    <a:pt x="646506" y="597035"/>
                  </a:lnTo>
                  <a:lnTo>
                    <a:pt x="591208" y="582214"/>
                  </a:lnTo>
                  <a:cubicBezTo>
                    <a:pt x="563610" y="605723"/>
                    <a:pt x="532333" y="624326"/>
                    <a:pt x="497886" y="637614"/>
                  </a:cubicBezTo>
                  <a:lnTo>
                    <a:pt x="488074" y="691174"/>
                  </a:lnTo>
                  <a:lnTo>
                    <a:pt x="384940" y="707733"/>
                  </a:lnTo>
                  <a:close/>
                  <a:moveTo>
                    <a:pt x="245826" y="601634"/>
                  </a:moveTo>
                  <a:lnTo>
                    <a:pt x="254412" y="605314"/>
                  </a:lnTo>
                  <a:cubicBezTo>
                    <a:pt x="290085" y="620544"/>
                    <a:pt x="328006" y="628721"/>
                    <a:pt x="367256" y="629641"/>
                  </a:cubicBezTo>
                  <a:lnTo>
                    <a:pt x="376660" y="629845"/>
                  </a:lnTo>
                  <a:lnTo>
                    <a:pt x="402418" y="673593"/>
                  </a:lnTo>
                  <a:lnTo>
                    <a:pt x="459863" y="664394"/>
                  </a:lnTo>
                  <a:lnTo>
                    <a:pt x="468858" y="615025"/>
                  </a:lnTo>
                  <a:lnTo>
                    <a:pt x="477648" y="611958"/>
                  </a:lnTo>
                  <a:cubicBezTo>
                    <a:pt x="514343" y="598875"/>
                    <a:pt x="547358" y="579250"/>
                    <a:pt x="575569" y="553696"/>
                  </a:cubicBezTo>
                  <a:lnTo>
                    <a:pt x="582316" y="547563"/>
                  </a:lnTo>
                  <a:lnTo>
                    <a:pt x="633218" y="561260"/>
                  </a:lnTo>
                  <a:lnTo>
                    <a:pt x="666949" y="516285"/>
                  </a:lnTo>
                  <a:lnTo>
                    <a:pt x="636489" y="475399"/>
                  </a:lnTo>
                  <a:lnTo>
                    <a:pt x="640373" y="467324"/>
                  </a:lnTo>
                  <a:cubicBezTo>
                    <a:pt x="656523" y="433594"/>
                    <a:pt x="665109" y="397716"/>
                    <a:pt x="666029" y="360613"/>
                  </a:cubicBezTo>
                  <a:lnTo>
                    <a:pt x="666234" y="351720"/>
                  </a:lnTo>
                  <a:lnTo>
                    <a:pt x="712435" y="327393"/>
                  </a:lnTo>
                  <a:lnTo>
                    <a:pt x="702622" y="273117"/>
                  </a:lnTo>
                  <a:lnTo>
                    <a:pt x="650493" y="264633"/>
                  </a:lnTo>
                  <a:lnTo>
                    <a:pt x="647222" y="256354"/>
                  </a:lnTo>
                  <a:cubicBezTo>
                    <a:pt x="633423" y="221703"/>
                    <a:pt x="612673" y="190528"/>
                    <a:pt x="585689" y="163748"/>
                  </a:cubicBezTo>
                  <a:lnTo>
                    <a:pt x="579249" y="157308"/>
                  </a:lnTo>
                  <a:lnTo>
                    <a:pt x="593764" y="109165"/>
                  </a:lnTo>
                  <a:lnTo>
                    <a:pt x="546234" y="77274"/>
                  </a:lnTo>
                  <a:lnTo>
                    <a:pt x="502997" y="106099"/>
                  </a:lnTo>
                  <a:lnTo>
                    <a:pt x="494411" y="102419"/>
                  </a:lnTo>
                  <a:cubicBezTo>
                    <a:pt x="458738" y="87189"/>
                    <a:pt x="420817" y="79012"/>
                    <a:pt x="381567" y="78092"/>
                  </a:cubicBezTo>
                  <a:lnTo>
                    <a:pt x="372163" y="77888"/>
                  </a:lnTo>
                  <a:lnTo>
                    <a:pt x="346405" y="34140"/>
                  </a:lnTo>
                  <a:lnTo>
                    <a:pt x="289062" y="43339"/>
                  </a:lnTo>
                  <a:lnTo>
                    <a:pt x="280068" y="92709"/>
                  </a:lnTo>
                  <a:lnTo>
                    <a:pt x="271277" y="95775"/>
                  </a:lnTo>
                  <a:cubicBezTo>
                    <a:pt x="234582" y="108859"/>
                    <a:pt x="201669" y="128484"/>
                    <a:pt x="173356" y="154037"/>
                  </a:cubicBezTo>
                  <a:lnTo>
                    <a:pt x="166610" y="160170"/>
                  </a:lnTo>
                  <a:lnTo>
                    <a:pt x="115707" y="146473"/>
                  </a:lnTo>
                  <a:lnTo>
                    <a:pt x="81976" y="191448"/>
                  </a:lnTo>
                  <a:lnTo>
                    <a:pt x="112436" y="232334"/>
                  </a:lnTo>
                  <a:lnTo>
                    <a:pt x="108552" y="240409"/>
                  </a:lnTo>
                  <a:cubicBezTo>
                    <a:pt x="92402" y="274139"/>
                    <a:pt x="83816" y="310017"/>
                    <a:pt x="82896" y="347120"/>
                  </a:cubicBezTo>
                  <a:lnTo>
                    <a:pt x="82691" y="356013"/>
                  </a:lnTo>
                  <a:lnTo>
                    <a:pt x="36490" y="380340"/>
                  </a:lnTo>
                  <a:lnTo>
                    <a:pt x="46303" y="434616"/>
                  </a:lnTo>
                  <a:lnTo>
                    <a:pt x="98433" y="443100"/>
                  </a:lnTo>
                  <a:lnTo>
                    <a:pt x="101703" y="451379"/>
                  </a:lnTo>
                  <a:cubicBezTo>
                    <a:pt x="115502" y="486030"/>
                    <a:pt x="136252" y="517205"/>
                    <a:pt x="163236" y="543986"/>
                  </a:cubicBezTo>
                  <a:lnTo>
                    <a:pt x="169676" y="550425"/>
                  </a:lnTo>
                  <a:lnTo>
                    <a:pt x="155264" y="598568"/>
                  </a:lnTo>
                  <a:lnTo>
                    <a:pt x="202691" y="630459"/>
                  </a:lnTo>
                  <a:lnTo>
                    <a:pt x="245826" y="601634"/>
                  </a:lnTo>
                  <a:close/>
                  <a:moveTo>
                    <a:pt x="373798" y="579045"/>
                  </a:moveTo>
                  <a:cubicBezTo>
                    <a:pt x="324940" y="579045"/>
                    <a:pt x="277308" y="564837"/>
                    <a:pt x="236626" y="537546"/>
                  </a:cubicBezTo>
                  <a:cubicBezTo>
                    <a:pt x="184804" y="502793"/>
                    <a:pt x="150255" y="450970"/>
                    <a:pt x="139625" y="391686"/>
                  </a:cubicBezTo>
                  <a:cubicBezTo>
                    <a:pt x="128995" y="332402"/>
                    <a:pt x="143305" y="272708"/>
                    <a:pt x="180102" y="223645"/>
                  </a:cubicBezTo>
                  <a:cubicBezTo>
                    <a:pt x="216899" y="174582"/>
                    <a:pt x="271686" y="141976"/>
                    <a:pt x="334343" y="131959"/>
                  </a:cubicBezTo>
                  <a:cubicBezTo>
                    <a:pt x="397001" y="121840"/>
                    <a:pt x="460169" y="135434"/>
                    <a:pt x="511992" y="170187"/>
                  </a:cubicBezTo>
                  <a:cubicBezTo>
                    <a:pt x="563815" y="204940"/>
                    <a:pt x="598363" y="256763"/>
                    <a:pt x="608994" y="316047"/>
                  </a:cubicBezTo>
                  <a:lnTo>
                    <a:pt x="608994" y="316047"/>
                  </a:lnTo>
                  <a:cubicBezTo>
                    <a:pt x="630970" y="438398"/>
                    <a:pt x="543679" y="554923"/>
                    <a:pt x="414275" y="575774"/>
                  </a:cubicBezTo>
                  <a:cubicBezTo>
                    <a:pt x="400681" y="577921"/>
                    <a:pt x="387188" y="579045"/>
                    <a:pt x="373798" y="579045"/>
                  </a:cubicBezTo>
                  <a:close/>
                  <a:moveTo>
                    <a:pt x="374718" y="159659"/>
                  </a:moveTo>
                  <a:cubicBezTo>
                    <a:pt x="363168" y="159659"/>
                    <a:pt x="351515" y="160579"/>
                    <a:pt x="339863" y="162419"/>
                  </a:cubicBezTo>
                  <a:cubicBezTo>
                    <a:pt x="285791" y="171107"/>
                    <a:pt x="238568" y="199216"/>
                    <a:pt x="206882" y="241533"/>
                  </a:cubicBezTo>
                  <a:cubicBezTo>
                    <a:pt x="175196" y="283850"/>
                    <a:pt x="162725" y="335264"/>
                    <a:pt x="172027" y="386371"/>
                  </a:cubicBezTo>
                  <a:cubicBezTo>
                    <a:pt x="181226" y="437478"/>
                    <a:pt x="210971" y="482146"/>
                    <a:pt x="255638" y="512094"/>
                  </a:cubicBezTo>
                  <a:cubicBezTo>
                    <a:pt x="300408" y="542043"/>
                    <a:pt x="354786" y="553900"/>
                    <a:pt x="408858" y="545110"/>
                  </a:cubicBezTo>
                  <a:cubicBezTo>
                    <a:pt x="520476" y="527120"/>
                    <a:pt x="595808" y="426643"/>
                    <a:pt x="576796" y="321158"/>
                  </a:cubicBezTo>
                  <a:lnTo>
                    <a:pt x="576796" y="321158"/>
                  </a:lnTo>
                  <a:cubicBezTo>
                    <a:pt x="567597" y="270051"/>
                    <a:pt x="537852" y="225383"/>
                    <a:pt x="493185" y="195332"/>
                  </a:cubicBezTo>
                  <a:cubicBezTo>
                    <a:pt x="457921" y="172027"/>
                    <a:pt x="416830" y="159659"/>
                    <a:pt x="374718" y="15965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9" name="任意多边形: 形状 888">
              <a:extLst>
                <a:ext uri="{FF2B5EF4-FFF2-40B4-BE49-F238E27FC236}">
                  <a16:creationId xmlns:a16="http://schemas.microsoft.com/office/drawing/2014/main" id="{F15CD16C-463B-46E3-A3F0-67D22678E3FA}"/>
                </a:ext>
              </a:extLst>
            </p:cNvPr>
            <p:cNvSpPr/>
            <p:nvPr/>
          </p:nvSpPr>
          <p:spPr>
            <a:xfrm>
              <a:off x="8592234" y="4253656"/>
              <a:ext cx="7922" cy="55458"/>
            </a:xfrm>
            <a:custGeom>
              <a:avLst/>
              <a:gdLst>
                <a:gd name="connsiteX0" fmla="*/ 56 w 10221"/>
                <a:gd name="connsiteY0" fmla="*/ 1928 h 71550"/>
                <a:gd name="connsiteX1" fmla="*/ 14774 w 10221"/>
                <a:gd name="connsiteY1" fmla="*/ 75216 h 71550"/>
                <a:gd name="connsiteX2" fmla="*/ 18045 w 10221"/>
                <a:gd name="connsiteY2" fmla="*/ 75216 h 71550"/>
                <a:gd name="connsiteX3" fmla="*/ 3224 w 10221"/>
                <a:gd name="connsiteY3" fmla="*/ 1111 h 71550"/>
                <a:gd name="connsiteX4" fmla="*/ 56 w 10221"/>
                <a:gd name="connsiteY4" fmla="*/ 1928 h 71550"/>
                <a:gd name="connsiteX5" fmla="*/ 56 w 10221"/>
                <a:gd name="connsiteY5" fmla="*/ 19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71550">
                  <a:moveTo>
                    <a:pt x="56" y="1928"/>
                  </a:moveTo>
                  <a:cubicBezTo>
                    <a:pt x="6393" y="26051"/>
                    <a:pt x="11299" y="50480"/>
                    <a:pt x="14774" y="75216"/>
                  </a:cubicBezTo>
                  <a:cubicBezTo>
                    <a:pt x="15081" y="77158"/>
                    <a:pt x="18352" y="77158"/>
                    <a:pt x="18045" y="75216"/>
                  </a:cubicBezTo>
                  <a:cubicBezTo>
                    <a:pt x="14570" y="50276"/>
                    <a:pt x="9664" y="25540"/>
                    <a:pt x="3224" y="1111"/>
                  </a:cubicBezTo>
                  <a:cubicBezTo>
                    <a:pt x="2713" y="-832"/>
                    <a:pt x="-456" y="-14"/>
                    <a:pt x="56" y="1928"/>
                  </a:cubicBezTo>
                  <a:lnTo>
                    <a:pt x="56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0" name="任意多边形: 形状 889">
              <a:extLst>
                <a:ext uri="{FF2B5EF4-FFF2-40B4-BE49-F238E27FC236}">
                  <a16:creationId xmlns:a16="http://schemas.microsoft.com/office/drawing/2014/main" id="{C3F70E93-D25A-4A99-B3FA-D0711E5727B9}"/>
                </a:ext>
              </a:extLst>
            </p:cNvPr>
            <p:cNvSpPr/>
            <p:nvPr/>
          </p:nvSpPr>
          <p:spPr>
            <a:xfrm>
              <a:off x="8595402" y="4253656"/>
              <a:ext cx="7922" cy="39613"/>
            </a:xfrm>
            <a:custGeom>
              <a:avLst/>
              <a:gdLst>
                <a:gd name="connsiteX0" fmla="*/ 57 w 10221"/>
                <a:gd name="connsiteY0" fmla="*/ 1928 h 51107"/>
                <a:gd name="connsiteX1" fmla="*/ 16105 w 10221"/>
                <a:gd name="connsiteY1" fmla="*/ 54977 h 51107"/>
                <a:gd name="connsiteX2" fmla="*/ 19273 w 10221"/>
                <a:gd name="connsiteY2" fmla="*/ 54160 h 51107"/>
                <a:gd name="connsiteX3" fmla="*/ 3226 w 10221"/>
                <a:gd name="connsiteY3" fmla="*/ 1111 h 51107"/>
                <a:gd name="connsiteX4" fmla="*/ 57 w 10221"/>
                <a:gd name="connsiteY4" fmla="*/ 1928 h 51107"/>
                <a:gd name="connsiteX5" fmla="*/ 57 w 10221"/>
                <a:gd name="connsiteY5" fmla="*/ 192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57" y="1928"/>
                  </a:moveTo>
                  <a:cubicBezTo>
                    <a:pt x="5372" y="19611"/>
                    <a:pt x="10790" y="37294"/>
                    <a:pt x="16105" y="54977"/>
                  </a:cubicBezTo>
                  <a:cubicBezTo>
                    <a:pt x="16718" y="56920"/>
                    <a:pt x="19887" y="56102"/>
                    <a:pt x="19273" y="54160"/>
                  </a:cubicBezTo>
                  <a:cubicBezTo>
                    <a:pt x="13958" y="36477"/>
                    <a:pt x="8541" y="18793"/>
                    <a:pt x="3226" y="1111"/>
                  </a:cubicBezTo>
                  <a:cubicBezTo>
                    <a:pt x="2613" y="-832"/>
                    <a:pt x="-454" y="-14"/>
                    <a:pt x="57" y="1928"/>
                  </a:cubicBezTo>
                  <a:lnTo>
                    <a:pt x="57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1" name="任意多边形: 形状 890">
              <a:extLst>
                <a:ext uri="{FF2B5EF4-FFF2-40B4-BE49-F238E27FC236}">
                  <a16:creationId xmlns:a16="http://schemas.microsoft.com/office/drawing/2014/main" id="{D0DA009A-A826-4110-B324-0E5CADB75787}"/>
                </a:ext>
              </a:extLst>
            </p:cNvPr>
            <p:cNvSpPr/>
            <p:nvPr/>
          </p:nvSpPr>
          <p:spPr>
            <a:xfrm>
              <a:off x="8600774" y="4254686"/>
              <a:ext cx="7922" cy="31691"/>
            </a:xfrm>
            <a:custGeom>
              <a:avLst/>
              <a:gdLst>
                <a:gd name="connsiteX0" fmla="*/ 78 w 10221"/>
                <a:gd name="connsiteY0" fmla="*/ 1928 h 40885"/>
                <a:gd name="connsiteX1" fmla="*/ 13264 w 10221"/>
                <a:gd name="connsiteY1" fmla="*/ 40769 h 40885"/>
                <a:gd name="connsiteX2" fmla="*/ 16433 w 10221"/>
                <a:gd name="connsiteY2" fmla="*/ 39952 h 40885"/>
                <a:gd name="connsiteX3" fmla="*/ 3247 w 10221"/>
                <a:gd name="connsiteY3" fmla="*/ 1111 h 40885"/>
                <a:gd name="connsiteX4" fmla="*/ 78 w 10221"/>
                <a:gd name="connsiteY4" fmla="*/ 1928 h 40885"/>
                <a:gd name="connsiteX5" fmla="*/ 78 w 10221"/>
                <a:gd name="connsiteY5" fmla="*/ 192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78" y="1928"/>
                  </a:moveTo>
                  <a:cubicBezTo>
                    <a:pt x="4065" y="15012"/>
                    <a:pt x="8460" y="27993"/>
                    <a:pt x="13264" y="40769"/>
                  </a:cubicBezTo>
                  <a:cubicBezTo>
                    <a:pt x="13979" y="42610"/>
                    <a:pt x="17148" y="41792"/>
                    <a:pt x="16433" y="39952"/>
                  </a:cubicBezTo>
                  <a:cubicBezTo>
                    <a:pt x="11629" y="27175"/>
                    <a:pt x="7131" y="14194"/>
                    <a:pt x="3247" y="1111"/>
                  </a:cubicBezTo>
                  <a:cubicBezTo>
                    <a:pt x="2634" y="-832"/>
                    <a:pt x="-535" y="-14"/>
                    <a:pt x="78" y="1928"/>
                  </a:cubicBezTo>
                  <a:lnTo>
                    <a:pt x="78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2" name="任意多边形: 形状 891">
              <a:extLst>
                <a:ext uri="{FF2B5EF4-FFF2-40B4-BE49-F238E27FC236}">
                  <a16:creationId xmlns:a16="http://schemas.microsoft.com/office/drawing/2014/main" id="{F3DE1AC0-0B25-4D98-9785-E0542EBA548A}"/>
                </a:ext>
              </a:extLst>
            </p:cNvPr>
            <p:cNvSpPr/>
            <p:nvPr/>
          </p:nvSpPr>
          <p:spPr>
            <a:xfrm>
              <a:off x="8611211" y="4265756"/>
              <a:ext cx="7922" cy="15845"/>
            </a:xfrm>
            <a:custGeom>
              <a:avLst/>
              <a:gdLst>
                <a:gd name="connsiteX0" fmla="*/ 105 w 10221"/>
                <a:gd name="connsiteY0" fmla="*/ 1855 h 20442"/>
                <a:gd name="connsiteX1" fmla="*/ 11144 w 10221"/>
                <a:gd name="connsiteY1" fmla="*/ 28942 h 20442"/>
                <a:gd name="connsiteX2" fmla="*/ 14312 w 10221"/>
                <a:gd name="connsiteY2" fmla="*/ 28124 h 20442"/>
                <a:gd name="connsiteX3" fmla="*/ 3171 w 10221"/>
                <a:gd name="connsiteY3" fmla="*/ 1037 h 20442"/>
                <a:gd name="connsiteX4" fmla="*/ 105 w 10221"/>
                <a:gd name="connsiteY4" fmla="*/ 1855 h 20442"/>
                <a:gd name="connsiteX5" fmla="*/ 105 w 10221"/>
                <a:gd name="connsiteY5" fmla="*/ 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05" y="1855"/>
                  </a:moveTo>
                  <a:cubicBezTo>
                    <a:pt x="3784" y="10850"/>
                    <a:pt x="7464" y="19947"/>
                    <a:pt x="11144" y="28942"/>
                  </a:cubicBezTo>
                  <a:cubicBezTo>
                    <a:pt x="11859" y="30782"/>
                    <a:pt x="15028" y="29964"/>
                    <a:pt x="14312" y="28124"/>
                  </a:cubicBezTo>
                  <a:cubicBezTo>
                    <a:pt x="10633" y="19129"/>
                    <a:pt x="6953" y="10032"/>
                    <a:pt x="3171" y="1037"/>
                  </a:cubicBezTo>
                  <a:cubicBezTo>
                    <a:pt x="2558" y="-803"/>
                    <a:pt x="-611" y="15"/>
                    <a:pt x="105" y="1855"/>
                  </a:cubicBezTo>
                  <a:lnTo>
                    <a:pt x="105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3" name="任意多边形: 形状 892">
              <a:extLst>
                <a:ext uri="{FF2B5EF4-FFF2-40B4-BE49-F238E27FC236}">
                  <a16:creationId xmlns:a16="http://schemas.microsoft.com/office/drawing/2014/main" id="{5406F402-45AF-4C9A-84D0-A00F39302B3D}"/>
                </a:ext>
              </a:extLst>
            </p:cNvPr>
            <p:cNvSpPr/>
            <p:nvPr/>
          </p:nvSpPr>
          <p:spPr>
            <a:xfrm>
              <a:off x="8655859" y="4242552"/>
              <a:ext cx="63381" cy="63381"/>
            </a:xfrm>
            <a:custGeom>
              <a:avLst/>
              <a:gdLst>
                <a:gd name="connsiteX0" fmla="*/ 457 w 81771"/>
                <a:gd name="connsiteY0" fmla="*/ 2661 h 81771"/>
                <a:gd name="connsiteX1" fmla="*/ 80900 w 81771"/>
                <a:gd name="connsiteY1" fmla="*/ 81672 h 81771"/>
                <a:gd name="connsiteX2" fmla="*/ 83251 w 81771"/>
                <a:gd name="connsiteY2" fmla="*/ 79526 h 81771"/>
                <a:gd name="connsiteX3" fmla="*/ 2808 w 81771"/>
                <a:gd name="connsiteY3" fmla="*/ 514 h 81771"/>
                <a:gd name="connsiteX4" fmla="*/ 457 w 81771"/>
                <a:gd name="connsiteY4" fmla="*/ 2661 h 81771"/>
                <a:gd name="connsiteX5" fmla="*/ 457 w 81771"/>
                <a:gd name="connsiteY5" fmla="*/ 266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457" y="2661"/>
                  </a:moveTo>
                  <a:cubicBezTo>
                    <a:pt x="26215" y="29850"/>
                    <a:pt x="53098" y="56221"/>
                    <a:pt x="80900" y="81672"/>
                  </a:cubicBezTo>
                  <a:cubicBezTo>
                    <a:pt x="82433" y="83001"/>
                    <a:pt x="84784" y="80855"/>
                    <a:pt x="83251" y="79526"/>
                  </a:cubicBezTo>
                  <a:cubicBezTo>
                    <a:pt x="55448" y="54075"/>
                    <a:pt x="28668" y="27805"/>
                    <a:pt x="2808" y="514"/>
                  </a:cubicBezTo>
                  <a:cubicBezTo>
                    <a:pt x="1275" y="-1019"/>
                    <a:pt x="-974" y="1230"/>
                    <a:pt x="457" y="2661"/>
                  </a:cubicBezTo>
                  <a:lnTo>
                    <a:pt x="457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4" name="任意多边形: 形状 893">
              <a:extLst>
                <a:ext uri="{FF2B5EF4-FFF2-40B4-BE49-F238E27FC236}">
                  <a16:creationId xmlns:a16="http://schemas.microsoft.com/office/drawing/2014/main" id="{5A46A106-E2A8-4B77-B7D1-011395D66174}"/>
                </a:ext>
              </a:extLst>
            </p:cNvPr>
            <p:cNvSpPr/>
            <p:nvPr/>
          </p:nvSpPr>
          <p:spPr>
            <a:xfrm>
              <a:off x="8666196" y="4236753"/>
              <a:ext cx="47536" cy="47536"/>
            </a:xfrm>
            <a:custGeom>
              <a:avLst/>
              <a:gdLst>
                <a:gd name="connsiteX0" fmla="*/ 307 w 61328"/>
                <a:gd name="connsiteY0" fmla="*/ 2169 h 61328"/>
                <a:gd name="connsiteX1" fmla="*/ 60715 w 61328"/>
                <a:gd name="connsiteY1" fmla="*/ 69630 h 61328"/>
                <a:gd name="connsiteX2" fmla="*/ 63066 w 61328"/>
                <a:gd name="connsiteY2" fmla="*/ 67483 h 61328"/>
                <a:gd name="connsiteX3" fmla="*/ 3169 w 61328"/>
                <a:gd name="connsiteY3" fmla="*/ 635 h 61328"/>
                <a:gd name="connsiteX4" fmla="*/ 307 w 61328"/>
                <a:gd name="connsiteY4" fmla="*/ 2169 h 61328"/>
                <a:gd name="connsiteX5" fmla="*/ 307 w 61328"/>
                <a:gd name="connsiteY5" fmla="*/ 216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61328">
                  <a:moveTo>
                    <a:pt x="307" y="2169"/>
                  </a:moveTo>
                  <a:cubicBezTo>
                    <a:pt x="19319" y="25575"/>
                    <a:pt x="39455" y="48063"/>
                    <a:pt x="60715" y="69630"/>
                  </a:cubicBezTo>
                  <a:cubicBezTo>
                    <a:pt x="62146" y="71061"/>
                    <a:pt x="64497" y="68915"/>
                    <a:pt x="63066" y="67483"/>
                  </a:cubicBezTo>
                  <a:cubicBezTo>
                    <a:pt x="42010" y="46121"/>
                    <a:pt x="21976" y="23838"/>
                    <a:pt x="3169" y="635"/>
                  </a:cubicBezTo>
                  <a:cubicBezTo>
                    <a:pt x="1840" y="-898"/>
                    <a:pt x="-920" y="635"/>
                    <a:pt x="307" y="2169"/>
                  </a:cubicBezTo>
                  <a:lnTo>
                    <a:pt x="307" y="21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5" name="任意多边形: 形状 894">
              <a:extLst>
                <a:ext uri="{FF2B5EF4-FFF2-40B4-BE49-F238E27FC236}">
                  <a16:creationId xmlns:a16="http://schemas.microsoft.com/office/drawing/2014/main" id="{59565A67-6BE4-4AA4-AE47-59FAF11BF7FC}"/>
                </a:ext>
              </a:extLst>
            </p:cNvPr>
            <p:cNvSpPr/>
            <p:nvPr/>
          </p:nvSpPr>
          <p:spPr>
            <a:xfrm>
              <a:off x="8665922" y="4222893"/>
              <a:ext cx="31691" cy="39613"/>
            </a:xfrm>
            <a:custGeom>
              <a:avLst/>
              <a:gdLst>
                <a:gd name="connsiteX0" fmla="*/ 354 w 40885"/>
                <a:gd name="connsiteY0" fmla="*/ 2674 h 51107"/>
                <a:gd name="connsiteX1" fmla="*/ 46351 w 40885"/>
                <a:gd name="connsiteY1" fmla="*/ 52248 h 51107"/>
                <a:gd name="connsiteX2" fmla="*/ 48702 w 40885"/>
                <a:gd name="connsiteY2" fmla="*/ 50102 h 51107"/>
                <a:gd name="connsiteX3" fmla="*/ 2705 w 40885"/>
                <a:gd name="connsiteY3" fmla="*/ 527 h 51107"/>
                <a:gd name="connsiteX4" fmla="*/ 354 w 40885"/>
                <a:gd name="connsiteY4" fmla="*/ 2674 h 51107"/>
                <a:gd name="connsiteX5" fmla="*/ 354 w 40885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54" y="2674"/>
                  </a:moveTo>
                  <a:cubicBezTo>
                    <a:pt x="14766" y="20050"/>
                    <a:pt x="30098" y="36609"/>
                    <a:pt x="46351" y="52248"/>
                  </a:cubicBezTo>
                  <a:cubicBezTo>
                    <a:pt x="47884" y="53679"/>
                    <a:pt x="50133" y="51532"/>
                    <a:pt x="48702" y="50102"/>
                  </a:cubicBezTo>
                  <a:cubicBezTo>
                    <a:pt x="32347" y="34360"/>
                    <a:pt x="17015" y="17802"/>
                    <a:pt x="2705" y="527"/>
                  </a:cubicBezTo>
                  <a:cubicBezTo>
                    <a:pt x="1376" y="-1006"/>
                    <a:pt x="-872" y="1141"/>
                    <a:pt x="354" y="2674"/>
                  </a:cubicBezTo>
                  <a:lnTo>
                    <a:pt x="35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6" name="任意多边形: 形状 895">
              <a:extLst>
                <a:ext uri="{FF2B5EF4-FFF2-40B4-BE49-F238E27FC236}">
                  <a16:creationId xmlns:a16="http://schemas.microsoft.com/office/drawing/2014/main" id="{18A7BE4A-8BDC-49AD-80C1-1E0833242ACD}"/>
                </a:ext>
              </a:extLst>
            </p:cNvPr>
            <p:cNvSpPr/>
            <p:nvPr/>
          </p:nvSpPr>
          <p:spPr>
            <a:xfrm>
              <a:off x="8665533" y="4209391"/>
              <a:ext cx="31691" cy="31691"/>
            </a:xfrm>
            <a:custGeom>
              <a:avLst/>
              <a:gdLst>
                <a:gd name="connsiteX0" fmla="*/ 344 w 40885"/>
                <a:gd name="connsiteY0" fmla="*/ 2717 h 40885"/>
                <a:gd name="connsiteX1" fmla="*/ 42048 w 40885"/>
                <a:gd name="connsiteY1" fmla="*/ 47180 h 40885"/>
                <a:gd name="connsiteX2" fmla="*/ 44399 w 40885"/>
                <a:gd name="connsiteY2" fmla="*/ 45034 h 40885"/>
                <a:gd name="connsiteX3" fmla="*/ 2695 w 40885"/>
                <a:gd name="connsiteY3" fmla="*/ 570 h 40885"/>
                <a:gd name="connsiteX4" fmla="*/ 344 w 40885"/>
                <a:gd name="connsiteY4" fmla="*/ 2717 h 40885"/>
                <a:gd name="connsiteX5" fmla="*/ 344 w 40885"/>
                <a:gd name="connsiteY5" fmla="*/ 271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344" y="2717"/>
                  </a:moveTo>
                  <a:cubicBezTo>
                    <a:pt x="13223" y="18356"/>
                    <a:pt x="27125" y="33177"/>
                    <a:pt x="42048" y="47180"/>
                  </a:cubicBezTo>
                  <a:cubicBezTo>
                    <a:pt x="43581" y="48611"/>
                    <a:pt x="45830" y="46362"/>
                    <a:pt x="44399" y="45034"/>
                  </a:cubicBezTo>
                  <a:cubicBezTo>
                    <a:pt x="29475" y="31030"/>
                    <a:pt x="15574" y="1620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7" name="任意多边形: 形状 896">
              <a:extLst>
                <a:ext uri="{FF2B5EF4-FFF2-40B4-BE49-F238E27FC236}">
                  <a16:creationId xmlns:a16="http://schemas.microsoft.com/office/drawing/2014/main" id="{5123587A-72A0-4269-955E-9A1AC6A863D9}"/>
                </a:ext>
              </a:extLst>
            </p:cNvPr>
            <p:cNvSpPr/>
            <p:nvPr/>
          </p:nvSpPr>
          <p:spPr>
            <a:xfrm>
              <a:off x="8694800" y="3994891"/>
              <a:ext cx="79226" cy="71304"/>
            </a:xfrm>
            <a:custGeom>
              <a:avLst/>
              <a:gdLst>
                <a:gd name="connsiteX0" fmla="*/ 2756 w 102214"/>
                <a:gd name="connsiteY0" fmla="*/ 94754 h 91992"/>
                <a:gd name="connsiteX1" fmla="*/ 107423 w 102214"/>
                <a:gd name="connsiteY1" fmla="*/ 2965 h 91992"/>
                <a:gd name="connsiteX2" fmla="*/ 105788 w 102214"/>
                <a:gd name="connsiteY2" fmla="*/ 308 h 91992"/>
                <a:gd name="connsiteX3" fmla="*/ 405 w 102214"/>
                <a:gd name="connsiteY3" fmla="*/ 92607 h 91992"/>
                <a:gd name="connsiteX4" fmla="*/ 2756 w 102214"/>
                <a:gd name="connsiteY4" fmla="*/ 94754 h 91992"/>
                <a:gd name="connsiteX5" fmla="*/ 2756 w 102214"/>
                <a:gd name="connsiteY5" fmla="*/ 9475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91992">
                  <a:moveTo>
                    <a:pt x="2756" y="94754"/>
                  </a:moveTo>
                  <a:cubicBezTo>
                    <a:pt x="33727" y="60410"/>
                    <a:pt x="68888" y="29644"/>
                    <a:pt x="107423" y="2965"/>
                  </a:cubicBezTo>
                  <a:cubicBezTo>
                    <a:pt x="109161" y="1841"/>
                    <a:pt x="107525" y="-919"/>
                    <a:pt x="105788" y="308"/>
                  </a:cubicBezTo>
                  <a:cubicBezTo>
                    <a:pt x="66946" y="27088"/>
                    <a:pt x="31682" y="58059"/>
                    <a:pt x="405" y="92607"/>
                  </a:cubicBezTo>
                  <a:cubicBezTo>
                    <a:pt x="-924" y="94039"/>
                    <a:pt x="1325" y="96287"/>
                    <a:pt x="2756" y="94754"/>
                  </a:cubicBezTo>
                  <a:lnTo>
                    <a:pt x="2756" y="9475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8" name="任意多边形: 形状 897">
              <a:extLst>
                <a:ext uri="{FF2B5EF4-FFF2-40B4-BE49-F238E27FC236}">
                  <a16:creationId xmlns:a16="http://schemas.microsoft.com/office/drawing/2014/main" id="{A9CE5250-EBFB-445F-A20F-41E4915E9971}"/>
                </a:ext>
              </a:extLst>
            </p:cNvPr>
            <p:cNvSpPr/>
            <p:nvPr/>
          </p:nvSpPr>
          <p:spPr>
            <a:xfrm>
              <a:off x="8685102" y="3995553"/>
              <a:ext cx="63381" cy="63381"/>
            </a:xfrm>
            <a:custGeom>
              <a:avLst/>
              <a:gdLst>
                <a:gd name="connsiteX0" fmla="*/ 3104 w 81771"/>
                <a:gd name="connsiteY0" fmla="*/ 81941 h 81771"/>
                <a:gd name="connsiteX1" fmla="*/ 90497 w 81771"/>
                <a:gd name="connsiteY1" fmla="*/ 2929 h 81771"/>
                <a:gd name="connsiteX2" fmla="*/ 88862 w 81771"/>
                <a:gd name="connsiteY2" fmla="*/ 272 h 81771"/>
                <a:gd name="connsiteX3" fmla="*/ 344 w 81771"/>
                <a:gd name="connsiteY3" fmla="*/ 80408 h 81771"/>
                <a:gd name="connsiteX4" fmla="*/ 3104 w 81771"/>
                <a:gd name="connsiteY4" fmla="*/ 81941 h 81771"/>
                <a:gd name="connsiteX5" fmla="*/ 3104 w 81771"/>
                <a:gd name="connsiteY5" fmla="*/ 8194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3104" y="81941"/>
                  </a:moveTo>
                  <a:cubicBezTo>
                    <a:pt x="27738" y="51481"/>
                    <a:pt x="57175" y="24803"/>
                    <a:pt x="90497" y="2929"/>
                  </a:cubicBezTo>
                  <a:cubicBezTo>
                    <a:pt x="92235" y="1805"/>
                    <a:pt x="90600" y="-853"/>
                    <a:pt x="88862" y="272"/>
                  </a:cubicBezTo>
                  <a:cubicBezTo>
                    <a:pt x="55131" y="22554"/>
                    <a:pt x="25284" y="49437"/>
                    <a:pt x="344" y="80408"/>
                  </a:cubicBezTo>
                  <a:cubicBezTo>
                    <a:pt x="-985" y="81941"/>
                    <a:pt x="1877" y="83474"/>
                    <a:pt x="3104" y="81941"/>
                  </a:cubicBezTo>
                  <a:lnTo>
                    <a:pt x="3104" y="819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9" name="任意多边形: 形状 898">
              <a:extLst>
                <a:ext uri="{FF2B5EF4-FFF2-40B4-BE49-F238E27FC236}">
                  <a16:creationId xmlns:a16="http://schemas.microsoft.com/office/drawing/2014/main" id="{9C9CD16C-02AC-4115-9AD2-B4C823EB5192}"/>
                </a:ext>
              </a:extLst>
            </p:cNvPr>
            <p:cNvSpPr/>
            <p:nvPr/>
          </p:nvSpPr>
          <p:spPr>
            <a:xfrm>
              <a:off x="8682760" y="4003397"/>
              <a:ext cx="47536" cy="39613"/>
            </a:xfrm>
            <a:custGeom>
              <a:avLst/>
              <a:gdLst>
                <a:gd name="connsiteX0" fmla="*/ 3161 w 61328"/>
                <a:gd name="connsiteY0" fmla="*/ 56183 h 51107"/>
                <a:gd name="connsiteX1" fmla="*/ 63263 w 61328"/>
                <a:gd name="connsiteY1" fmla="*/ 2929 h 51107"/>
                <a:gd name="connsiteX2" fmla="*/ 61628 w 61328"/>
                <a:gd name="connsiteY2" fmla="*/ 272 h 51107"/>
                <a:gd name="connsiteX3" fmla="*/ 299 w 61328"/>
                <a:gd name="connsiteY3" fmla="*/ 54650 h 51107"/>
                <a:gd name="connsiteX4" fmla="*/ 3161 w 61328"/>
                <a:gd name="connsiteY4" fmla="*/ 56183 h 51107"/>
                <a:gd name="connsiteX5" fmla="*/ 3161 w 61328"/>
                <a:gd name="connsiteY5" fmla="*/ 5618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3161" y="56183"/>
                  </a:moveTo>
                  <a:cubicBezTo>
                    <a:pt x="19720" y="35127"/>
                    <a:pt x="40061" y="17239"/>
                    <a:pt x="63263" y="2929"/>
                  </a:cubicBezTo>
                  <a:cubicBezTo>
                    <a:pt x="65001" y="1805"/>
                    <a:pt x="63365" y="-853"/>
                    <a:pt x="61628" y="272"/>
                  </a:cubicBezTo>
                  <a:cubicBezTo>
                    <a:pt x="37914" y="14888"/>
                    <a:pt x="17267" y="33185"/>
                    <a:pt x="299" y="54650"/>
                  </a:cubicBezTo>
                  <a:cubicBezTo>
                    <a:pt x="-927" y="56183"/>
                    <a:pt x="1935" y="57716"/>
                    <a:pt x="3161" y="56183"/>
                  </a:cubicBezTo>
                  <a:lnTo>
                    <a:pt x="3161" y="5618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0" name="任意多边形: 形状 899">
              <a:extLst>
                <a:ext uri="{FF2B5EF4-FFF2-40B4-BE49-F238E27FC236}">
                  <a16:creationId xmlns:a16="http://schemas.microsoft.com/office/drawing/2014/main" id="{92E45A73-FC79-484F-8A6A-D3A768C254EA}"/>
                </a:ext>
              </a:extLst>
            </p:cNvPr>
            <p:cNvSpPr/>
            <p:nvPr/>
          </p:nvSpPr>
          <p:spPr>
            <a:xfrm>
              <a:off x="8680856" y="4009421"/>
              <a:ext cx="31691" cy="31691"/>
            </a:xfrm>
            <a:custGeom>
              <a:avLst/>
              <a:gdLst>
                <a:gd name="connsiteX0" fmla="*/ 2756 w 40885"/>
                <a:gd name="connsiteY0" fmla="*/ 40949 h 40885"/>
                <a:gd name="connsiteX1" fmla="*/ 42824 w 40885"/>
                <a:gd name="connsiteY1" fmla="*/ 2618 h 40885"/>
                <a:gd name="connsiteX2" fmla="*/ 40473 w 40885"/>
                <a:gd name="connsiteY2" fmla="*/ 472 h 40885"/>
                <a:gd name="connsiteX3" fmla="*/ 405 w 40885"/>
                <a:gd name="connsiteY3" fmla="*/ 38802 h 40885"/>
                <a:gd name="connsiteX4" fmla="*/ 2756 w 40885"/>
                <a:gd name="connsiteY4" fmla="*/ 40949 h 40885"/>
                <a:gd name="connsiteX5" fmla="*/ 2756 w 40885"/>
                <a:gd name="connsiteY5" fmla="*/ 4094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56" y="40949"/>
                  </a:moveTo>
                  <a:cubicBezTo>
                    <a:pt x="15737" y="27763"/>
                    <a:pt x="29127" y="14986"/>
                    <a:pt x="42824" y="2618"/>
                  </a:cubicBezTo>
                  <a:cubicBezTo>
                    <a:pt x="44357" y="1187"/>
                    <a:pt x="42006" y="-959"/>
                    <a:pt x="40473" y="472"/>
                  </a:cubicBezTo>
                  <a:cubicBezTo>
                    <a:pt x="26776" y="12942"/>
                    <a:pt x="13386" y="25719"/>
                    <a:pt x="405" y="38802"/>
                  </a:cubicBezTo>
                  <a:cubicBezTo>
                    <a:pt x="-924" y="40233"/>
                    <a:pt x="1325" y="42482"/>
                    <a:pt x="2756" y="40949"/>
                  </a:cubicBezTo>
                  <a:lnTo>
                    <a:pt x="2756" y="409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1" name="任意多边形: 形状 900">
              <a:extLst>
                <a:ext uri="{FF2B5EF4-FFF2-40B4-BE49-F238E27FC236}">
                  <a16:creationId xmlns:a16="http://schemas.microsoft.com/office/drawing/2014/main" id="{F4542140-9674-4191-A320-CCC78FDC67E3}"/>
                </a:ext>
              </a:extLst>
            </p:cNvPr>
            <p:cNvSpPr/>
            <p:nvPr/>
          </p:nvSpPr>
          <p:spPr>
            <a:xfrm>
              <a:off x="8865174" y="3972266"/>
              <a:ext cx="55458" cy="39613"/>
            </a:xfrm>
            <a:custGeom>
              <a:avLst/>
              <a:gdLst>
                <a:gd name="connsiteX0" fmla="*/ 2707 w 71550"/>
                <a:gd name="connsiteY0" fmla="*/ 57913 h 51107"/>
                <a:gd name="connsiteX1" fmla="*/ 73746 w 71550"/>
                <a:gd name="connsiteY1" fmla="*/ 2922 h 51107"/>
                <a:gd name="connsiteX2" fmla="*/ 72111 w 71550"/>
                <a:gd name="connsiteY2" fmla="*/ 265 h 51107"/>
                <a:gd name="connsiteX3" fmla="*/ 458 w 71550"/>
                <a:gd name="connsiteY3" fmla="*/ 55767 h 51107"/>
                <a:gd name="connsiteX4" fmla="*/ 2707 w 71550"/>
                <a:gd name="connsiteY4" fmla="*/ 57913 h 51107"/>
                <a:gd name="connsiteX5" fmla="*/ 2707 w 71550"/>
                <a:gd name="connsiteY5" fmla="*/ 5791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2707" y="57913"/>
                  </a:moveTo>
                  <a:cubicBezTo>
                    <a:pt x="23763" y="36653"/>
                    <a:pt x="47579" y="18254"/>
                    <a:pt x="73746" y="2922"/>
                  </a:cubicBezTo>
                  <a:cubicBezTo>
                    <a:pt x="75484" y="1900"/>
                    <a:pt x="73848" y="-860"/>
                    <a:pt x="72111" y="265"/>
                  </a:cubicBezTo>
                  <a:cubicBezTo>
                    <a:pt x="45739" y="15699"/>
                    <a:pt x="21719" y="34302"/>
                    <a:pt x="458" y="55767"/>
                  </a:cubicBezTo>
                  <a:cubicBezTo>
                    <a:pt x="-973" y="57198"/>
                    <a:pt x="1276" y="59447"/>
                    <a:pt x="2707" y="57913"/>
                  </a:cubicBezTo>
                  <a:lnTo>
                    <a:pt x="2707" y="579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2" name="任意多边形: 形状 901">
              <a:extLst>
                <a:ext uri="{FF2B5EF4-FFF2-40B4-BE49-F238E27FC236}">
                  <a16:creationId xmlns:a16="http://schemas.microsoft.com/office/drawing/2014/main" id="{1B77912E-3788-4DED-9D81-DE455E2AB552}"/>
                </a:ext>
              </a:extLst>
            </p:cNvPr>
            <p:cNvSpPr/>
            <p:nvPr/>
          </p:nvSpPr>
          <p:spPr>
            <a:xfrm>
              <a:off x="8880073" y="3972372"/>
              <a:ext cx="47536" cy="31691"/>
            </a:xfrm>
            <a:custGeom>
              <a:avLst/>
              <a:gdLst>
                <a:gd name="connsiteX0" fmla="*/ 2804 w 61328"/>
                <a:gd name="connsiteY0" fmla="*/ 47657 h 40885"/>
                <a:gd name="connsiteX1" fmla="*/ 69550 w 61328"/>
                <a:gd name="connsiteY1" fmla="*/ 2887 h 40885"/>
                <a:gd name="connsiteX2" fmla="*/ 67914 w 61328"/>
                <a:gd name="connsiteY2" fmla="*/ 230 h 40885"/>
                <a:gd name="connsiteX3" fmla="*/ 555 w 61328"/>
                <a:gd name="connsiteY3" fmla="*/ 45511 h 40885"/>
                <a:gd name="connsiteX4" fmla="*/ 2804 w 61328"/>
                <a:gd name="connsiteY4" fmla="*/ 47657 h 40885"/>
                <a:gd name="connsiteX5" fmla="*/ 2804 w 61328"/>
                <a:gd name="connsiteY5" fmla="*/ 476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2804" y="47657"/>
                  </a:moveTo>
                  <a:cubicBezTo>
                    <a:pt x="23962" y="31201"/>
                    <a:pt x="46143" y="16277"/>
                    <a:pt x="69550" y="2887"/>
                  </a:cubicBezTo>
                  <a:cubicBezTo>
                    <a:pt x="71390" y="1865"/>
                    <a:pt x="69652" y="-792"/>
                    <a:pt x="67914" y="230"/>
                  </a:cubicBezTo>
                  <a:cubicBezTo>
                    <a:pt x="44303" y="13824"/>
                    <a:pt x="21816" y="28952"/>
                    <a:pt x="555" y="45511"/>
                  </a:cubicBezTo>
                  <a:cubicBezTo>
                    <a:pt x="-1080" y="46737"/>
                    <a:pt x="1271" y="48884"/>
                    <a:pt x="2804" y="47657"/>
                  </a:cubicBezTo>
                  <a:lnTo>
                    <a:pt x="2804" y="476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3" name="任意多边形: 形状 902">
              <a:extLst>
                <a:ext uri="{FF2B5EF4-FFF2-40B4-BE49-F238E27FC236}">
                  <a16:creationId xmlns:a16="http://schemas.microsoft.com/office/drawing/2014/main" id="{E87F1839-935C-4151-870A-603B6BE0CB5E}"/>
                </a:ext>
              </a:extLst>
            </p:cNvPr>
            <p:cNvSpPr/>
            <p:nvPr/>
          </p:nvSpPr>
          <p:spPr>
            <a:xfrm>
              <a:off x="8895003" y="3984415"/>
              <a:ext cx="31691" cy="15845"/>
            </a:xfrm>
            <a:custGeom>
              <a:avLst/>
              <a:gdLst>
                <a:gd name="connsiteX0" fmla="*/ 2860 w 40885"/>
                <a:gd name="connsiteY0" fmla="*/ 28441 h 20442"/>
                <a:gd name="connsiteX1" fmla="*/ 43542 w 40885"/>
                <a:gd name="connsiteY1" fmla="*/ 2888 h 20442"/>
                <a:gd name="connsiteX2" fmla="*/ 41906 w 40885"/>
                <a:gd name="connsiteY2" fmla="*/ 230 h 20442"/>
                <a:gd name="connsiteX3" fmla="*/ 612 w 40885"/>
                <a:gd name="connsiteY3" fmla="*/ 26294 h 20442"/>
                <a:gd name="connsiteX4" fmla="*/ 2860 w 40885"/>
                <a:gd name="connsiteY4" fmla="*/ 28441 h 20442"/>
                <a:gd name="connsiteX5" fmla="*/ 2860 w 40885"/>
                <a:gd name="connsiteY5" fmla="*/ 2844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20442">
                  <a:moveTo>
                    <a:pt x="2860" y="28441"/>
                  </a:moveTo>
                  <a:cubicBezTo>
                    <a:pt x="15739" y="18935"/>
                    <a:pt x="29334" y="10451"/>
                    <a:pt x="43542" y="2888"/>
                  </a:cubicBezTo>
                  <a:cubicBezTo>
                    <a:pt x="45382" y="1865"/>
                    <a:pt x="43746" y="-792"/>
                    <a:pt x="41906" y="230"/>
                  </a:cubicBezTo>
                  <a:cubicBezTo>
                    <a:pt x="27494" y="7998"/>
                    <a:pt x="13695" y="16686"/>
                    <a:pt x="612" y="26294"/>
                  </a:cubicBezTo>
                  <a:cubicBezTo>
                    <a:pt x="-1126" y="27419"/>
                    <a:pt x="1225" y="29668"/>
                    <a:pt x="2860" y="28441"/>
                  </a:cubicBezTo>
                  <a:lnTo>
                    <a:pt x="2860" y="284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4" name="任意多边形: 形状 903">
              <a:extLst>
                <a:ext uri="{FF2B5EF4-FFF2-40B4-BE49-F238E27FC236}">
                  <a16:creationId xmlns:a16="http://schemas.microsoft.com/office/drawing/2014/main" id="{FABE63A6-6408-45DA-BA0E-0ED9299BF4FC}"/>
                </a:ext>
              </a:extLst>
            </p:cNvPr>
            <p:cNvSpPr/>
            <p:nvPr/>
          </p:nvSpPr>
          <p:spPr>
            <a:xfrm>
              <a:off x="8920276" y="3983340"/>
              <a:ext cx="23768" cy="15845"/>
            </a:xfrm>
            <a:custGeom>
              <a:avLst/>
              <a:gdLst>
                <a:gd name="connsiteX0" fmla="*/ 2860 w 30664"/>
                <a:gd name="connsiteY0" fmla="*/ 21855 h 20442"/>
                <a:gd name="connsiteX1" fmla="*/ 35467 w 30664"/>
                <a:gd name="connsiteY1" fmla="*/ 2843 h 20442"/>
                <a:gd name="connsiteX2" fmla="*/ 33831 w 30664"/>
                <a:gd name="connsiteY2" fmla="*/ 185 h 20442"/>
                <a:gd name="connsiteX3" fmla="*/ 612 w 30664"/>
                <a:gd name="connsiteY3" fmla="*/ 19606 h 20442"/>
                <a:gd name="connsiteX4" fmla="*/ 2860 w 30664"/>
                <a:gd name="connsiteY4" fmla="*/ 21855 h 20442"/>
                <a:gd name="connsiteX5" fmla="*/ 2860 w 30664"/>
                <a:gd name="connsiteY5" fmla="*/ 2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60" y="21855"/>
                  </a:moveTo>
                  <a:cubicBezTo>
                    <a:pt x="12980" y="14393"/>
                    <a:pt x="23917" y="8158"/>
                    <a:pt x="35467" y="2843"/>
                  </a:cubicBezTo>
                  <a:cubicBezTo>
                    <a:pt x="37409" y="2026"/>
                    <a:pt x="35671" y="-734"/>
                    <a:pt x="33831" y="185"/>
                  </a:cubicBezTo>
                  <a:cubicBezTo>
                    <a:pt x="21974" y="5603"/>
                    <a:pt x="10935" y="12042"/>
                    <a:pt x="612" y="19606"/>
                  </a:cubicBezTo>
                  <a:cubicBezTo>
                    <a:pt x="-1126" y="20833"/>
                    <a:pt x="1225" y="23082"/>
                    <a:pt x="2860" y="21855"/>
                  </a:cubicBezTo>
                  <a:lnTo>
                    <a:pt x="2860" y="2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5" name="任意多边形: 形状 904">
              <a:extLst>
                <a:ext uri="{FF2B5EF4-FFF2-40B4-BE49-F238E27FC236}">
                  <a16:creationId xmlns:a16="http://schemas.microsoft.com/office/drawing/2014/main" id="{60093DD3-934C-4820-9065-2F0F3C9FC22C}"/>
                </a:ext>
              </a:extLst>
            </p:cNvPr>
            <p:cNvSpPr/>
            <p:nvPr/>
          </p:nvSpPr>
          <p:spPr>
            <a:xfrm>
              <a:off x="9071635" y="3973435"/>
              <a:ext cx="23768" cy="39613"/>
            </a:xfrm>
            <a:custGeom>
              <a:avLst/>
              <a:gdLst>
                <a:gd name="connsiteX0" fmla="*/ 257 w 30664"/>
                <a:gd name="connsiteY0" fmla="*/ 2232 h 51107"/>
                <a:gd name="connsiteX1" fmla="*/ 35828 w 30664"/>
                <a:gd name="connsiteY1" fmla="*/ 55179 h 51107"/>
                <a:gd name="connsiteX2" fmla="*/ 38690 w 30664"/>
                <a:gd name="connsiteY2" fmla="*/ 53646 h 51107"/>
                <a:gd name="connsiteX3" fmla="*/ 3119 w 30664"/>
                <a:gd name="connsiteY3" fmla="*/ 699 h 51107"/>
                <a:gd name="connsiteX4" fmla="*/ 257 w 30664"/>
                <a:gd name="connsiteY4" fmla="*/ 2232 h 51107"/>
                <a:gd name="connsiteX5" fmla="*/ 257 w 30664"/>
                <a:gd name="connsiteY5" fmla="*/ 223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57" y="2232"/>
                  </a:moveTo>
                  <a:cubicBezTo>
                    <a:pt x="12114" y="19916"/>
                    <a:pt x="23971" y="37496"/>
                    <a:pt x="35828" y="55179"/>
                  </a:cubicBezTo>
                  <a:cubicBezTo>
                    <a:pt x="36952" y="56917"/>
                    <a:pt x="39814" y="55282"/>
                    <a:pt x="38690" y="53646"/>
                  </a:cubicBezTo>
                  <a:cubicBezTo>
                    <a:pt x="26833" y="35963"/>
                    <a:pt x="14976" y="1838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6" name="任意多边形: 形状 905">
              <a:extLst>
                <a:ext uri="{FF2B5EF4-FFF2-40B4-BE49-F238E27FC236}">
                  <a16:creationId xmlns:a16="http://schemas.microsoft.com/office/drawing/2014/main" id="{E3BFEBA0-1103-45E1-9D86-ED39121849E4}"/>
                </a:ext>
              </a:extLst>
            </p:cNvPr>
            <p:cNvSpPr/>
            <p:nvPr/>
          </p:nvSpPr>
          <p:spPr>
            <a:xfrm>
              <a:off x="9079030" y="3969423"/>
              <a:ext cx="23768" cy="39613"/>
            </a:xfrm>
            <a:custGeom>
              <a:avLst/>
              <a:gdLst>
                <a:gd name="connsiteX0" fmla="*/ 223 w 30664"/>
                <a:gd name="connsiteY0" fmla="*/ 2298 h 51107"/>
                <a:gd name="connsiteX1" fmla="*/ 36816 w 30664"/>
                <a:gd name="connsiteY1" fmla="*/ 60560 h 51107"/>
                <a:gd name="connsiteX2" fmla="*/ 39678 w 30664"/>
                <a:gd name="connsiteY2" fmla="*/ 59027 h 51107"/>
                <a:gd name="connsiteX3" fmla="*/ 3085 w 30664"/>
                <a:gd name="connsiteY3" fmla="*/ 764 h 51107"/>
                <a:gd name="connsiteX4" fmla="*/ 223 w 30664"/>
                <a:gd name="connsiteY4" fmla="*/ 2298 h 51107"/>
                <a:gd name="connsiteX5" fmla="*/ 223 w 30664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23" y="2298"/>
                  </a:moveTo>
                  <a:cubicBezTo>
                    <a:pt x="12387" y="21718"/>
                    <a:pt x="24652" y="41139"/>
                    <a:pt x="36816" y="60560"/>
                  </a:cubicBezTo>
                  <a:cubicBezTo>
                    <a:pt x="37940" y="62297"/>
                    <a:pt x="40700" y="60764"/>
                    <a:pt x="39678" y="59027"/>
                  </a:cubicBezTo>
                  <a:cubicBezTo>
                    <a:pt x="27514" y="39606"/>
                    <a:pt x="15249" y="20185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7" name="任意多边形: 形状 906">
              <a:extLst>
                <a:ext uri="{FF2B5EF4-FFF2-40B4-BE49-F238E27FC236}">
                  <a16:creationId xmlns:a16="http://schemas.microsoft.com/office/drawing/2014/main" id="{06ED715C-0D18-4268-82CD-537ABA5F7178}"/>
                </a:ext>
              </a:extLst>
            </p:cNvPr>
            <p:cNvSpPr/>
            <p:nvPr/>
          </p:nvSpPr>
          <p:spPr>
            <a:xfrm>
              <a:off x="9084675" y="3968235"/>
              <a:ext cx="23768" cy="31691"/>
            </a:xfrm>
            <a:custGeom>
              <a:avLst/>
              <a:gdLst>
                <a:gd name="connsiteX0" fmla="*/ 299 w 30664"/>
                <a:gd name="connsiteY0" fmla="*/ 2298 h 40885"/>
                <a:gd name="connsiteX1" fmla="*/ 31168 w 30664"/>
                <a:gd name="connsiteY1" fmla="*/ 46556 h 40885"/>
                <a:gd name="connsiteX2" fmla="*/ 34030 w 30664"/>
                <a:gd name="connsiteY2" fmla="*/ 45023 h 40885"/>
                <a:gd name="connsiteX3" fmla="*/ 3161 w 30664"/>
                <a:gd name="connsiteY3" fmla="*/ 764 h 40885"/>
                <a:gd name="connsiteX4" fmla="*/ 299 w 30664"/>
                <a:gd name="connsiteY4" fmla="*/ 2298 h 40885"/>
                <a:gd name="connsiteX5" fmla="*/ 299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99" y="2298"/>
                  </a:moveTo>
                  <a:cubicBezTo>
                    <a:pt x="10623" y="17017"/>
                    <a:pt x="20844" y="31837"/>
                    <a:pt x="31168" y="46556"/>
                  </a:cubicBezTo>
                  <a:cubicBezTo>
                    <a:pt x="32292" y="48192"/>
                    <a:pt x="35154" y="46659"/>
                    <a:pt x="34030" y="45023"/>
                  </a:cubicBezTo>
                  <a:cubicBezTo>
                    <a:pt x="23706" y="30304"/>
                    <a:pt x="13383" y="15483"/>
                    <a:pt x="3161" y="764"/>
                  </a:cubicBezTo>
                  <a:cubicBezTo>
                    <a:pt x="1935" y="-973"/>
                    <a:pt x="-927" y="560"/>
                    <a:pt x="299" y="2298"/>
                  </a:cubicBezTo>
                  <a:lnTo>
                    <a:pt x="299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8" name="任意多边形: 形状 907">
              <a:extLst>
                <a:ext uri="{FF2B5EF4-FFF2-40B4-BE49-F238E27FC236}">
                  <a16:creationId xmlns:a16="http://schemas.microsoft.com/office/drawing/2014/main" id="{39DB19C0-8EE7-4C79-B1FC-CCF8F6C27E6C}"/>
                </a:ext>
              </a:extLst>
            </p:cNvPr>
            <p:cNvSpPr/>
            <p:nvPr/>
          </p:nvSpPr>
          <p:spPr>
            <a:xfrm>
              <a:off x="9096226" y="3974256"/>
              <a:ext cx="7922" cy="15845"/>
            </a:xfrm>
            <a:custGeom>
              <a:avLst/>
              <a:gdLst>
                <a:gd name="connsiteX0" fmla="*/ 217 w 10221"/>
                <a:gd name="connsiteY0" fmla="*/ 2298 h 20442"/>
                <a:gd name="connsiteX1" fmla="*/ 15345 w 10221"/>
                <a:gd name="connsiteY1" fmla="*/ 23354 h 20442"/>
                <a:gd name="connsiteX2" fmla="*/ 17696 w 10221"/>
                <a:gd name="connsiteY2" fmla="*/ 21207 h 20442"/>
                <a:gd name="connsiteX3" fmla="*/ 3079 w 10221"/>
                <a:gd name="connsiteY3" fmla="*/ 764 h 20442"/>
                <a:gd name="connsiteX4" fmla="*/ 217 w 10221"/>
                <a:gd name="connsiteY4" fmla="*/ 2298 h 20442"/>
                <a:gd name="connsiteX5" fmla="*/ 217 w 10221"/>
                <a:gd name="connsiteY5" fmla="*/ 229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298"/>
                  </a:moveTo>
                  <a:cubicBezTo>
                    <a:pt x="4612" y="9759"/>
                    <a:pt x="9621" y="16710"/>
                    <a:pt x="15345" y="23354"/>
                  </a:cubicBezTo>
                  <a:cubicBezTo>
                    <a:pt x="16674" y="24887"/>
                    <a:pt x="18922" y="22741"/>
                    <a:pt x="17696" y="21207"/>
                  </a:cubicBezTo>
                  <a:cubicBezTo>
                    <a:pt x="12176" y="14768"/>
                    <a:pt x="7372" y="791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9" name="任意多边形: 形状 908">
              <a:extLst>
                <a:ext uri="{FF2B5EF4-FFF2-40B4-BE49-F238E27FC236}">
                  <a16:creationId xmlns:a16="http://schemas.microsoft.com/office/drawing/2014/main" id="{C13F5C4D-3CED-43FD-AD84-9DA910628140}"/>
                </a:ext>
              </a:extLst>
            </p:cNvPr>
            <p:cNvSpPr/>
            <p:nvPr/>
          </p:nvSpPr>
          <p:spPr>
            <a:xfrm>
              <a:off x="9097269" y="3965259"/>
              <a:ext cx="7922" cy="7922"/>
            </a:xfrm>
            <a:custGeom>
              <a:avLst/>
              <a:gdLst>
                <a:gd name="connsiteX0" fmla="*/ 405 w 10221"/>
                <a:gd name="connsiteY0" fmla="*/ 2661 h 10221"/>
                <a:gd name="connsiteX1" fmla="*/ 15430 w 10221"/>
                <a:gd name="connsiteY1" fmla="*/ 18197 h 10221"/>
                <a:gd name="connsiteX2" fmla="*/ 17781 w 10221"/>
                <a:gd name="connsiteY2" fmla="*/ 16051 h 10221"/>
                <a:gd name="connsiteX3" fmla="*/ 2756 w 10221"/>
                <a:gd name="connsiteY3" fmla="*/ 514 h 10221"/>
                <a:gd name="connsiteX4" fmla="*/ 405 w 10221"/>
                <a:gd name="connsiteY4" fmla="*/ 2661 h 10221"/>
                <a:gd name="connsiteX5" fmla="*/ 405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05" y="2661"/>
                  </a:moveTo>
                  <a:cubicBezTo>
                    <a:pt x="5413" y="7873"/>
                    <a:pt x="10422" y="12984"/>
                    <a:pt x="15430" y="18197"/>
                  </a:cubicBezTo>
                  <a:cubicBezTo>
                    <a:pt x="16861" y="19628"/>
                    <a:pt x="19212" y="17482"/>
                    <a:pt x="17781" y="16051"/>
                  </a:cubicBezTo>
                  <a:cubicBezTo>
                    <a:pt x="12773" y="10838"/>
                    <a:pt x="7764" y="5727"/>
                    <a:pt x="2756" y="514"/>
                  </a:cubicBezTo>
                  <a:cubicBezTo>
                    <a:pt x="1325" y="-1019"/>
                    <a:pt x="-924" y="1230"/>
                    <a:pt x="405" y="2661"/>
                  </a:cubicBezTo>
                  <a:lnTo>
                    <a:pt x="40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0" name="任意多边形: 形状 909">
              <a:extLst>
                <a:ext uri="{FF2B5EF4-FFF2-40B4-BE49-F238E27FC236}">
                  <a16:creationId xmlns:a16="http://schemas.microsoft.com/office/drawing/2014/main" id="{8738B000-F0BC-42A0-B01F-C497574E147B}"/>
                </a:ext>
              </a:extLst>
            </p:cNvPr>
            <p:cNvSpPr/>
            <p:nvPr/>
          </p:nvSpPr>
          <p:spPr>
            <a:xfrm>
              <a:off x="9109919" y="3959474"/>
              <a:ext cx="7922" cy="7922"/>
            </a:xfrm>
            <a:custGeom>
              <a:avLst/>
              <a:gdLst>
                <a:gd name="connsiteX0" fmla="*/ 1155 w 10221"/>
                <a:gd name="connsiteY0" fmla="*/ 3072 h 0"/>
                <a:gd name="connsiteX1" fmla="*/ 12194 w 10221"/>
                <a:gd name="connsiteY1" fmla="*/ 6751 h 0"/>
                <a:gd name="connsiteX2" fmla="*/ 13012 w 10221"/>
                <a:gd name="connsiteY2" fmla="*/ 3787 h 0"/>
                <a:gd name="connsiteX3" fmla="*/ 1972 w 10221"/>
                <a:gd name="connsiteY3" fmla="*/ 108 h 0"/>
                <a:gd name="connsiteX4" fmla="*/ 1155 w 10221"/>
                <a:gd name="connsiteY4" fmla="*/ 3072 h 0"/>
                <a:gd name="connsiteX5" fmla="*/ 1155 w 10221"/>
                <a:gd name="connsiteY5" fmla="*/ 30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>
                  <a:moveTo>
                    <a:pt x="1155" y="3072"/>
                  </a:moveTo>
                  <a:cubicBezTo>
                    <a:pt x="4834" y="4298"/>
                    <a:pt x="8514" y="5525"/>
                    <a:pt x="12194" y="6751"/>
                  </a:cubicBezTo>
                  <a:cubicBezTo>
                    <a:pt x="14136" y="7467"/>
                    <a:pt x="15056" y="4401"/>
                    <a:pt x="13012" y="3787"/>
                  </a:cubicBezTo>
                  <a:cubicBezTo>
                    <a:pt x="9332" y="2561"/>
                    <a:pt x="5652" y="1334"/>
                    <a:pt x="1972" y="108"/>
                  </a:cubicBezTo>
                  <a:cubicBezTo>
                    <a:pt x="30" y="-608"/>
                    <a:pt x="-890" y="2459"/>
                    <a:pt x="1155" y="3072"/>
                  </a:cubicBezTo>
                  <a:lnTo>
                    <a:pt x="1155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1" name="任意多边形: 形状 910">
              <a:extLst>
                <a:ext uri="{FF2B5EF4-FFF2-40B4-BE49-F238E27FC236}">
                  <a16:creationId xmlns:a16="http://schemas.microsoft.com/office/drawing/2014/main" id="{49116D71-49BA-4584-89C4-AEBEACB54995}"/>
                </a:ext>
              </a:extLst>
            </p:cNvPr>
            <p:cNvSpPr/>
            <p:nvPr/>
          </p:nvSpPr>
          <p:spPr>
            <a:xfrm>
              <a:off x="9156701" y="4119426"/>
              <a:ext cx="55458" cy="102994"/>
            </a:xfrm>
            <a:custGeom>
              <a:avLst/>
              <a:gdLst>
                <a:gd name="connsiteX0" fmla="*/ 185 w 71550"/>
                <a:gd name="connsiteY0" fmla="*/ 2364 h 132878"/>
                <a:gd name="connsiteX1" fmla="*/ 78072 w 71550"/>
                <a:gd name="connsiteY1" fmla="*/ 132789 h 132878"/>
                <a:gd name="connsiteX2" fmla="*/ 80934 w 71550"/>
                <a:gd name="connsiteY2" fmla="*/ 131256 h 132878"/>
                <a:gd name="connsiteX3" fmla="*/ 3047 w 71550"/>
                <a:gd name="connsiteY3" fmla="*/ 831 h 132878"/>
                <a:gd name="connsiteX4" fmla="*/ 185 w 71550"/>
                <a:gd name="connsiteY4" fmla="*/ 2364 h 132878"/>
                <a:gd name="connsiteX5" fmla="*/ 185 w 71550"/>
                <a:gd name="connsiteY5" fmla="*/ 2364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32878">
                  <a:moveTo>
                    <a:pt x="185" y="2364"/>
                  </a:moveTo>
                  <a:cubicBezTo>
                    <a:pt x="24512" y="46725"/>
                    <a:pt x="50474" y="90268"/>
                    <a:pt x="78072" y="132789"/>
                  </a:cubicBezTo>
                  <a:cubicBezTo>
                    <a:pt x="79197" y="134527"/>
                    <a:pt x="82059" y="132891"/>
                    <a:pt x="80934" y="131256"/>
                  </a:cubicBezTo>
                  <a:cubicBezTo>
                    <a:pt x="53336" y="88633"/>
                    <a:pt x="27374" y="45192"/>
                    <a:pt x="3047" y="831"/>
                  </a:cubicBezTo>
                  <a:cubicBezTo>
                    <a:pt x="2025" y="-1009"/>
                    <a:pt x="-735" y="524"/>
                    <a:pt x="185" y="2364"/>
                  </a:cubicBezTo>
                  <a:lnTo>
                    <a:pt x="185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2" name="任意多边形: 形状 911">
              <a:extLst>
                <a:ext uri="{FF2B5EF4-FFF2-40B4-BE49-F238E27FC236}">
                  <a16:creationId xmlns:a16="http://schemas.microsoft.com/office/drawing/2014/main" id="{0EAA49E2-2098-440F-BFCA-AE45A70B5440}"/>
                </a:ext>
              </a:extLst>
            </p:cNvPr>
            <p:cNvSpPr/>
            <p:nvPr/>
          </p:nvSpPr>
          <p:spPr>
            <a:xfrm>
              <a:off x="9167684" y="4119794"/>
              <a:ext cx="39613" cy="63381"/>
            </a:xfrm>
            <a:custGeom>
              <a:avLst/>
              <a:gdLst>
                <a:gd name="connsiteX0" fmla="*/ 223 w 51107"/>
                <a:gd name="connsiteY0" fmla="*/ 2298 h 81771"/>
                <a:gd name="connsiteX1" fmla="*/ 50104 w 51107"/>
                <a:gd name="connsiteY1" fmla="*/ 85909 h 81771"/>
                <a:gd name="connsiteX2" fmla="*/ 52966 w 51107"/>
                <a:gd name="connsiteY2" fmla="*/ 84376 h 81771"/>
                <a:gd name="connsiteX3" fmla="*/ 3085 w 51107"/>
                <a:gd name="connsiteY3" fmla="*/ 764 h 81771"/>
                <a:gd name="connsiteX4" fmla="*/ 223 w 51107"/>
                <a:gd name="connsiteY4" fmla="*/ 2298 h 81771"/>
                <a:gd name="connsiteX5" fmla="*/ 223 w 51107"/>
                <a:gd name="connsiteY5" fmla="*/ 2298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23" y="2298"/>
                  </a:moveTo>
                  <a:cubicBezTo>
                    <a:pt x="16884" y="30202"/>
                    <a:pt x="33545" y="58004"/>
                    <a:pt x="50104" y="85909"/>
                  </a:cubicBezTo>
                  <a:cubicBezTo>
                    <a:pt x="51126" y="87647"/>
                    <a:pt x="53988" y="86113"/>
                    <a:pt x="52966" y="84376"/>
                  </a:cubicBezTo>
                  <a:cubicBezTo>
                    <a:pt x="36305" y="56471"/>
                    <a:pt x="19644" y="28669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3" name="任意多边形: 形状 912">
              <a:extLst>
                <a:ext uri="{FF2B5EF4-FFF2-40B4-BE49-F238E27FC236}">
                  <a16:creationId xmlns:a16="http://schemas.microsoft.com/office/drawing/2014/main" id="{0E8F2E98-3EB7-444D-9F11-3B33B9D1F5DA}"/>
                </a:ext>
              </a:extLst>
            </p:cNvPr>
            <p:cNvSpPr/>
            <p:nvPr/>
          </p:nvSpPr>
          <p:spPr>
            <a:xfrm>
              <a:off x="9180929" y="4132521"/>
              <a:ext cx="31691" cy="47536"/>
            </a:xfrm>
            <a:custGeom>
              <a:avLst/>
              <a:gdLst>
                <a:gd name="connsiteX0" fmla="*/ 307 w 40885"/>
                <a:gd name="connsiteY0" fmla="*/ 2232 h 61328"/>
                <a:gd name="connsiteX1" fmla="*/ 46201 w 40885"/>
                <a:gd name="connsiteY1" fmla="*/ 67139 h 61328"/>
                <a:gd name="connsiteX2" fmla="*/ 49063 w 40885"/>
                <a:gd name="connsiteY2" fmla="*/ 65605 h 61328"/>
                <a:gd name="connsiteX3" fmla="*/ 3169 w 40885"/>
                <a:gd name="connsiteY3" fmla="*/ 699 h 61328"/>
                <a:gd name="connsiteX4" fmla="*/ 307 w 40885"/>
                <a:gd name="connsiteY4" fmla="*/ 2232 h 61328"/>
                <a:gd name="connsiteX5" fmla="*/ 307 w 40885"/>
                <a:gd name="connsiteY5" fmla="*/ 223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307" y="2232"/>
                  </a:moveTo>
                  <a:cubicBezTo>
                    <a:pt x="16354" y="23391"/>
                    <a:pt x="31584" y="45060"/>
                    <a:pt x="46201" y="67139"/>
                  </a:cubicBezTo>
                  <a:cubicBezTo>
                    <a:pt x="47325" y="68876"/>
                    <a:pt x="50187" y="67241"/>
                    <a:pt x="49063" y="65605"/>
                  </a:cubicBezTo>
                  <a:cubicBezTo>
                    <a:pt x="34549" y="43527"/>
                    <a:pt x="19216" y="21858"/>
                    <a:pt x="3169" y="699"/>
                  </a:cubicBezTo>
                  <a:cubicBezTo>
                    <a:pt x="1840" y="-936"/>
                    <a:pt x="-920" y="597"/>
                    <a:pt x="307" y="2232"/>
                  </a:cubicBezTo>
                  <a:lnTo>
                    <a:pt x="30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4" name="任意多边形: 形状 913">
              <a:extLst>
                <a:ext uri="{FF2B5EF4-FFF2-40B4-BE49-F238E27FC236}">
                  <a16:creationId xmlns:a16="http://schemas.microsoft.com/office/drawing/2014/main" id="{DCFFE024-B3B4-44FF-8426-3696D75BC6BA}"/>
                </a:ext>
              </a:extLst>
            </p:cNvPr>
            <p:cNvSpPr/>
            <p:nvPr/>
          </p:nvSpPr>
          <p:spPr>
            <a:xfrm>
              <a:off x="9193855" y="4139274"/>
              <a:ext cx="31691" cy="39613"/>
            </a:xfrm>
            <a:custGeom>
              <a:avLst/>
              <a:gdLst>
                <a:gd name="connsiteX0" fmla="*/ 394 w 40885"/>
                <a:gd name="connsiteY0" fmla="*/ 2719 h 51107"/>
                <a:gd name="connsiteX1" fmla="*/ 38009 w 40885"/>
                <a:gd name="connsiteY1" fmla="*/ 50453 h 51107"/>
                <a:gd name="connsiteX2" fmla="*/ 40871 w 40885"/>
                <a:gd name="connsiteY2" fmla="*/ 48920 h 51107"/>
                <a:gd name="connsiteX3" fmla="*/ 2745 w 40885"/>
                <a:gd name="connsiteY3" fmla="*/ 471 h 51107"/>
                <a:gd name="connsiteX4" fmla="*/ 394 w 40885"/>
                <a:gd name="connsiteY4" fmla="*/ 2719 h 51107"/>
                <a:gd name="connsiteX5" fmla="*/ 394 w 40885"/>
                <a:gd name="connsiteY5" fmla="*/ 27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94" y="2719"/>
                  </a:moveTo>
                  <a:cubicBezTo>
                    <a:pt x="13682" y="18052"/>
                    <a:pt x="26254" y="33997"/>
                    <a:pt x="38009" y="50453"/>
                  </a:cubicBezTo>
                  <a:cubicBezTo>
                    <a:pt x="39133" y="52089"/>
                    <a:pt x="41995" y="50556"/>
                    <a:pt x="40871" y="48920"/>
                  </a:cubicBezTo>
                  <a:cubicBezTo>
                    <a:pt x="28912" y="32259"/>
                    <a:pt x="16237" y="16110"/>
                    <a:pt x="2745" y="471"/>
                  </a:cubicBezTo>
                  <a:cubicBezTo>
                    <a:pt x="1416" y="-960"/>
                    <a:pt x="-935" y="1186"/>
                    <a:pt x="394" y="2719"/>
                  </a:cubicBezTo>
                  <a:lnTo>
                    <a:pt x="39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5" name="任意多边形: 形状 914">
              <a:extLst>
                <a:ext uri="{FF2B5EF4-FFF2-40B4-BE49-F238E27FC236}">
                  <a16:creationId xmlns:a16="http://schemas.microsoft.com/office/drawing/2014/main" id="{1898AE4A-BEBB-4E4F-97E8-82EDD6ACA62F}"/>
                </a:ext>
              </a:extLst>
            </p:cNvPr>
            <p:cNvSpPr/>
            <p:nvPr/>
          </p:nvSpPr>
          <p:spPr>
            <a:xfrm>
              <a:off x="9207165" y="4143667"/>
              <a:ext cx="23768" cy="23768"/>
            </a:xfrm>
            <a:custGeom>
              <a:avLst/>
              <a:gdLst>
                <a:gd name="connsiteX0" fmla="*/ 394 w 30664"/>
                <a:gd name="connsiteY0" fmla="*/ 2674 h 30664"/>
                <a:gd name="connsiteX1" fmla="*/ 30854 w 30664"/>
                <a:gd name="connsiteY1" fmla="*/ 38551 h 30664"/>
                <a:gd name="connsiteX2" fmla="*/ 33205 w 30664"/>
                <a:gd name="connsiteY2" fmla="*/ 36404 h 30664"/>
                <a:gd name="connsiteX3" fmla="*/ 2745 w 30664"/>
                <a:gd name="connsiteY3" fmla="*/ 527 h 30664"/>
                <a:gd name="connsiteX4" fmla="*/ 394 w 30664"/>
                <a:gd name="connsiteY4" fmla="*/ 2674 h 30664"/>
                <a:gd name="connsiteX5" fmla="*/ 394 w 30664"/>
                <a:gd name="connsiteY5" fmla="*/ 267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94" y="2674"/>
                  </a:moveTo>
                  <a:cubicBezTo>
                    <a:pt x="10513" y="14633"/>
                    <a:pt x="20734" y="26592"/>
                    <a:pt x="30854" y="38551"/>
                  </a:cubicBezTo>
                  <a:cubicBezTo>
                    <a:pt x="32183" y="40084"/>
                    <a:pt x="34431" y="37938"/>
                    <a:pt x="33205" y="36404"/>
                  </a:cubicBezTo>
                  <a:cubicBezTo>
                    <a:pt x="22983" y="24446"/>
                    <a:pt x="12864" y="12486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6" name="任意多边形: 形状 915">
              <a:extLst>
                <a:ext uri="{FF2B5EF4-FFF2-40B4-BE49-F238E27FC236}">
                  <a16:creationId xmlns:a16="http://schemas.microsoft.com/office/drawing/2014/main" id="{956DA058-D11B-42C3-8F99-7AE1E49C49F6}"/>
                </a:ext>
              </a:extLst>
            </p:cNvPr>
            <p:cNvSpPr/>
            <p:nvPr/>
          </p:nvSpPr>
          <p:spPr>
            <a:xfrm>
              <a:off x="9215839" y="4145535"/>
              <a:ext cx="15845" cy="15845"/>
            </a:xfrm>
            <a:custGeom>
              <a:avLst/>
              <a:gdLst>
                <a:gd name="connsiteX0" fmla="*/ 445 w 20442"/>
                <a:gd name="connsiteY0" fmla="*/ 2717 h 20442"/>
                <a:gd name="connsiteX1" fmla="*/ 19662 w 20442"/>
                <a:gd name="connsiteY1" fmla="*/ 23262 h 20442"/>
                <a:gd name="connsiteX2" fmla="*/ 22013 w 20442"/>
                <a:gd name="connsiteY2" fmla="*/ 21115 h 20442"/>
                <a:gd name="connsiteX3" fmla="*/ 2796 w 20442"/>
                <a:gd name="connsiteY3" fmla="*/ 570 h 20442"/>
                <a:gd name="connsiteX4" fmla="*/ 445 w 20442"/>
                <a:gd name="connsiteY4" fmla="*/ 2717 h 20442"/>
                <a:gd name="connsiteX5" fmla="*/ 445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717"/>
                  </a:moveTo>
                  <a:cubicBezTo>
                    <a:pt x="6885" y="9565"/>
                    <a:pt x="13325" y="16414"/>
                    <a:pt x="19662" y="23262"/>
                  </a:cubicBezTo>
                  <a:cubicBezTo>
                    <a:pt x="21093" y="24795"/>
                    <a:pt x="23341" y="22546"/>
                    <a:pt x="22013" y="21115"/>
                  </a:cubicBezTo>
                  <a:cubicBezTo>
                    <a:pt x="15573" y="14267"/>
                    <a:pt x="9134" y="7419"/>
                    <a:pt x="2796" y="570"/>
                  </a:cubicBezTo>
                  <a:cubicBezTo>
                    <a:pt x="1365" y="-1065"/>
                    <a:pt x="-986" y="1184"/>
                    <a:pt x="445" y="2717"/>
                  </a:cubicBezTo>
                  <a:lnTo>
                    <a:pt x="44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7" name="任意多边形: 形状 916">
              <a:extLst>
                <a:ext uri="{FF2B5EF4-FFF2-40B4-BE49-F238E27FC236}">
                  <a16:creationId xmlns:a16="http://schemas.microsoft.com/office/drawing/2014/main" id="{3E7EA340-B0D6-492C-8132-8ED6234BDE08}"/>
                </a:ext>
              </a:extLst>
            </p:cNvPr>
            <p:cNvSpPr/>
            <p:nvPr/>
          </p:nvSpPr>
          <p:spPr>
            <a:xfrm>
              <a:off x="9166152" y="4158536"/>
              <a:ext cx="31691" cy="55458"/>
            </a:xfrm>
            <a:custGeom>
              <a:avLst/>
              <a:gdLst>
                <a:gd name="connsiteX0" fmla="*/ 257 w 40885"/>
                <a:gd name="connsiteY0" fmla="*/ 2298 h 71550"/>
                <a:gd name="connsiteX1" fmla="*/ 45436 w 40885"/>
                <a:gd name="connsiteY1" fmla="*/ 72008 h 71550"/>
                <a:gd name="connsiteX2" fmla="*/ 48298 w 40885"/>
                <a:gd name="connsiteY2" fmla="*/ 70475 h 71550"/>
                <a:gd name="connsiteX3" fmla="*/ 3119 w 40885"/>
                <a:gd name="connsiteY3" fmla="*/ 764 h 71550"/>
                <a:gd name="connsiteX4" fmla="*/ 257 w 40885"/>
                <a:gd name="connsiteY4" fmla="*/ 2298 h 71550"/>
                <a:gd name="connsiteX5" fmla="*/ 257 w 40885"/>
                <a:gd name="connsiteY5" fmla="*/ 229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71550">
                  <a:moveTo>
                    <a:pt x="257" y="2298"/>
                  </a:moveTo>
                  <a:cubicBezTo>
                    <a:pt x="14158" y="26216"/>
                    <a:pt x="29184" y="49419"/>
                    <a:pt x="45436" y="72008"/>
                  </a:cubicBezTo>
                  <a:cubicBezTo>
                    <a:pt x="46662" y="73643"/>
                    <a:pt x="49422" y="72110"/>
                    <a:pt x="48298" y="70475"/>
                  </a:cubicBezTo>
                  <a:cubicBezTo>
                    <a:pt x="32046" y="47885"/>
                    <a:pt x="17020" y="24683"/>
                    <a:pt x="3119" y="764"/>
                  </a:cubicBezTo>
                  <a:cubicBezTo>
                    <a:pt x="1995" y="-973"/>
                    <a:pt x="-867" y="560"/>
                    <a:pt x="257" y="2298"/>
                  </a:cubicBezTo>
                  <a:lnTo>
                    <a:pt x="25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8" name="任意多边形: 形状 917">
              <a:extLst>
                <a:ext uri="{FF2B5EF4-FFF2-40B4-BE49-F238E27FC236}">
                  <a16:creationId xmlns:a16="http://schemas.microsoft.com/office/drawing/2014/main" id="{EE4CB3D7-7EBE-439D-BA6C-BB498DCC9356}"/>
                </a:ext>
              </a:extLst>
            </p:cNvPr>
            <p:cNvSpPr/>
            <p:nvPr/>
          </p:nvSpPr>
          <p:spPr>
            <a:xfrm>
              <a:off x="9176495" y="4191724"/>
              <a:ext cx="15845" cy="23768"/>
            </a:xfrm>
            <a:custGeom>
              <a:avLst/>
              <a:gdLst>
                <a:gd name="connsiteX0" fmla="*/ 405 w 20442"/>
                <a:gd name="connsiteY0" fmla="*/ 2717 h 30664"/>
                <a:gd name="connsiteX1" fmla="*/ 19825 w 20442"/>
                <a:gd name="connsiteY1" fmla="*/ 30417 h 30664"/>
                <a:gd name="connsiteX2" fmla="*/ 22687 w 20442"/>
                <a:gd name="connsiteY2" fmla="*/ 28884 h 30664"/>
                <a:gd name="connsiteX3" fmla="*/ 2756 w 20442"/>
                <a:gd name="connsiteY3" fmla="*/ 570 h 30664"/>
                <a:gd name="connsiteX4" fmla="*/ 405 w 20442"/>
                <a:gd name="connsiteY4" fmla="*/ 2717 h 30664"/>
                <a:gd name="connsiteX5" fmla="*/ 405 w 20442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05" y="2717"/>
                  </a:moveTo>
                  <a:cubicBezTo>
                    <a:pt x="7764" y="11405"/>
                    <a:pt x="14204" y="20604"/>
                    <a:pt x="19825" y="30417"/>
                  </a:cubicBezTo>
                  <a:cubicBezTo>
                    <a:pt x="20847" y="32155"/>
                    <a:pt x="23710" y="30621"/>
                    <a:pt x="22687" y="28884"/>
                  </a:cubicBezTo>
                  <a:cubicBezTo>
                    <a:pt x="16963" y="18866"/>
                    <a:pt x="10319" y="9463"/>
                    <a:pt x="2756" y="570"/>
                  </a:cubicBezTo>
                  <a:cubicBezTo>
                    <a:pt x="1325" y="-1065"/>
                    <a:pt x="-924" y="1184"/>
                    <a:pt x="405" y="2717"/>
                  </a:cubicBezTo>
                  <a:lnTo>
                    <a:pt x="40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9" name="任意多边形: 形状 918">
              <a:extLst>
                <a:ext uri="{FF2B5EF4-FFF2-40B4-BE49-F238E27FC236}">
                  <a16:creationId xmlns:a16="http://schemas.microsoft.com/office/drawing/2014/main" id="{5CB0ABE6-0449-4940-91C2-34B5DE46D9A2}"/>
                </a:ext>
              </a:extLst>
            </p:cNvPr>
            <p:cNvSpPr/>
            <p:nvPr/>
          </p:nvSpPr>
          <p:spPr>
            <a:xfrm>
              <a:off x="9181919" y="4363451"/>
              <a:ext cx="23768" cy="23768"/>
            </a:xfrm>
            <a:custGeom>
              <a:avLst/>
              <a:gdLst>
                <a:gd name="connsiteX0" fmla="*/ 3119 w 30664"/>
                <a:gd name="connsiteY0" fmla="*/ 37618 h 30664"/>
                <a:gd name="connsiteX1" fmla="*/ 31126 w 30664"/>
                <a:gd name="connsiteY1" fmla="*/ 2660 h 30664"/>
                <a:gd name="connsiteX2" fmla="*/ 28775 w 30664"/>
                <a:gd name="connsiteY2" fmla="*/ 514 h 30664"/>
                <a:gd name="connsiteX3" fmla="*/ 257 w 30664"/>
                <a:gd name="connsiteY3" fmla="*/ 36085 h 30664"/>
                <a:gd name="connsiteX4" fmla="*/ 3119 w 30664"/>
                <a:gd name="connsiteY4" fmla="*/ 37618 h 30664"/>
                <a:gd name="connsiteX5" fmla="*/ 3119 w 30664"/>
                <a:gd name="connsiteY5" fmla="*/ 3761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119" y="37618"/>
                  </a:moveTo>
                  <a:cubicBezTo>
                    <a:pt x="11398" y="25148"/>
                    <a:pt x="20700" y="13597"/>
                    <a:pt x="31126" y="2660"/>
                  </a:cubicBezTo>
                  <a:cubicBezTo>
                    <a:pt x="32557" y="1230"/>
                    <a:pt x="30206" y="-1019"/>
                    <a:pt x="28775" y="514"/>
                  </a:cubicBezTo>
                  <a:cubicBezTo>
                    <a:pt x="18145" y="11553"/>
                    <a:pt x="8638" y="23410"/>
                    <a:pt x="257" y="36085"/>
                  </a:cubicBezTo>
                  <a:cubicBezTo>
                    <a:pt x="-867" y="37822"/>
                    <a:pt x="1995" y="39356"/>
                    <a:pt x="3119" y="37618"/>
                  </a:cubicBezTo>
                  <a:lnTo>
                    <a:pt x="3119" y="37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6652EB46-74FD-4C53-B4C2-6C7B7102B4C1}"/>
                </a:ext>
              </a:extLst>
            </p:cNvPr>
            <p:cNvSpPr/>
            <p:nvPr/>
          </p:nvSpPr>
          <p:spPr>
            <a:xfrm>
              <a:off x="9165961" y="4362119"/>
              <a:ext cx="23768" cy="31691"/>
            </a:xfrm>
            <a:custGeom>
              <a:avLst/>
              <a:gdLst>
                <a:gd name="connsiteX0" fmla="*/ 3161 w 30664"/>
                <a:gd name="connsiteY0" fmla="*/ 49660 h 40885"/>
                <a:gd name="connsiteX1" fmla="*/ 37812 w 30664"/>
                <a:gd name="connsiteY1" fmla="*/ 2232 h 40885"/>
                <a:gd name="connsiteX2" fmla="*/ 34950 w 30664"/>
                <a:gd name="connsiteY2" fmla="*/ 699 h 40885"/>
                <a:gd name="connsiteX3" fmla="*/ 299 w 30664"/>
                <a:gd name="connsiteY3" fmla="*/ 48229 h 40885"/>
                <a:gd name="connsiteX4" fmla="*/ 3161 w 30664"/>
                <a:gd name="connsiteY4" fmla="*/ 49660 h 40885"/>
                <a:gd name="connsiteX5" fmla="*/ 3161 w 30664"/>
                <a:gd name="connsiteY5" fmla="*/ 49660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61" y="49660"/>
                  </a:moveTo>
                  <a:cubicBezTo>
                    <a:pt x="14711" y="33817"/>
                    <a:pt x="26262" y="17973"/>
                    <a:pt x="37812" y="2232"/>
                  </a:cubicBezTo>
                  <a:cubicBezTo>
                    <a:pt x="39039" y="597"/>
                    <a:pt x="36177" y="-936"/>
                    <a:pt x="34950" y="699"/>
                  </a:cubicBezTo>
                  <a:cubicBezTo>
                    <a:pt x="23400" y="16542"/>
                    <a:pt x="11849" y="32386"/>
                    <a:pt x="299" y="48229"/>
                  </a:cubicBezTo>
                  <a:cubicBezTo>
                    <a:pt x="-927" y="49762"/>
                    <a:pt x="1935" y="51295"/>
                    <a:pt x="3161" y="49660"/>
                  </a:cubicBezTo>
                  <a:lnTo>
                    <a:pt x="3161" y="49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1" name="任意多边形: 形状 920">
              <a:extLst>
                <a:ext uri="{FF2B5EF4-FFF2-40B4-BE49-F238E27FC236}">
                  <a16:creationId xmlns:a16="http://schemas.microsoft.com/office/drawing/2014/main" id="{84A4B89A-274C-47A3-8C25-F612A44D3334}"/>
                </a:ext>
              </a:extLst>
            </p:cNvPr>
            <p:cNvSpPr/>
            <p:nvPr/>
          </p:nvSpPr>
          <p:spPr>
            <a:xfrm>
              <a:off x="9155134" y="4367823"/>
              <a:ext cx="23768" cy="31691"/>
            </a:xfrm>
            <a:custGeom>
              <a:avLst/>
              <a:gdLst>
                <a:gd name="connsiteX0" fmla="*/ 3126 w 30664"/>
                <a:gd name="connsiteY0" fmla="*/ 47309 h 40885"/>
                <a:gd name="connsiteX1" fmla="*/ 34710 w 30664"/>
                <a:gd name="connsiteY1" fmla="*/ 2232 h 40885"/>
                <a:gd name="connsiteX2" fmla="*/ 31848 w 30664"/>
                <a:gd name="connsiteY2" fmla="*/ 699 h 40885"/>
                <a:gd name="connsiteX3" fmla="*/ 264 w 30664"/>
                <a:gd name="connsiteY3" fmla="*/ 45776 h 40885"/>
                <a:gd name="connsiteX4" fmla="*/ 3126 w 30664"/>
                <a:gd name="connsiteY4" fmla="*/ 47309 h 40885"/>
                <a:gd name="connsiteX5" fmla="*/ 3126 w 30664"/>
                <a:gd name="connsiteY5" fmla="*/ 4730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26" y="47309"/>
                  </a:moveTo>
                  <a:cubicBezTo>
                    <a:pt x="13654" y="32283"/>
                    <a:pt x="24182" y="17258"/>
                    <a:pt x="34710" y="2232"/>
                  </a:cubicBezTo>
                  <a:cubicBezTo>
                    <a:pt x="35834" y="597"/>
                    <a:pt x="33074" y="-936"/>
                    <a:pt x="31848" y="699"/>
                  </a:cubicBezTo>
                  <a:cubicBezTo>
                    <a:pt x="21320" y="15725"/>
                    <a:pt x="10792" y="30750"/>
                    <a:pt x="264" y="45776"/>
                  </a:cubicBezTo>
                  <a:cubicBezTo>
                    <a:pt x="-861" y="47411"/>
                    <a:pt x="1899" y="48944"/>
                    <a:pt x="3126" y="47309"/>
                  </a:cubicBezTo>
                  <a:lnTo>
                    <a:pt x="3126" y="47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2" name="任意多边形: 形状 921">
              <a:extLst>
                <a:ext uri="{FF2B5EF4-FFF2-40B4-BE49-F238E27FC236}">
                  <a16:creationId xmlns:a16="http://schemas.microsoft.com/office/drawing/2014/main" id="{0E5D716B-64FA-4EA2-A5C6-9DF027C9B8D9}"/>
                </a:ext>
              </a:extLst>
            </p:cNvPr>
            <p:cNvSpPr/>
            <p:nvPr/>
          </p:nvSpPr>
          <p:spPr>
            <a:xfrm>
              <a:off x="9158638" y="4347937"/>
              <a:ext cx="23768" cy="31691"/>
            </a:xfrm>
            <a:custGeom>
              <a:avLst/>
              <a:gdLst>
                <a:gd name="connsiteX0" fmla="*/ 3206 w 30664"/>
                <a:gd name="connsiteY0" fmla="*/ 48638 h 40885"/>
                <a:gd name="connsiteX1" fmla="*/ 40207 w 30664"/>
                <a:gd name="connsiteY1" fmla="*/ 2232 h 40885"/>
                <a:gd name="connsiteX2" fmla="*/ 37345 w 30664"/>
                <a:gd name="connsiteY2" fmla="*/ 699 h 40885"/>
                <a:gd name="connsiteX3" fmla="*/ 344 w 30664"/>
                <a:gd name="connsiteY3" fmla="*/ 47105 h 40885"/>
                <a:gd name="connsiteX4" fmla="*/ 3206 w 30664"/>
                <a:gd name="connsiteY4" fmla="*/ 48638 h 40885"/>
                <a:gd name="connsiteX5" fmla="*/ 3206 w 30664"/>
                <a:gd name="connsiteY5" fmla="*/ 4863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206" y="48638"/>
                  </a:moveTo>
                  <a:cubicBezTo>
                    <a:pt x="15574" y="33203"/>
                    <a:pt x="27839" y="17667"/>
                    <a:pt x="40207" y="2232"/>
                  </a:cubicBezTo>
                  <a:cubicBezTo>
                    <a:pt x="41434" y="597"/>
                    <a:pt x="38674" y="-936"/>
                    <a:pt x="37345" y="699"/>
                  </a:cubicBezTo>
                  <a:cubicBezTo>
                    <a:pt x="24977" y="16134"/>
                    <a:pt x="12712" y="31670"/>
                    <a:pt x="344" y="47105"/>
                  </a:cubicBezTo>
                  <a:cubicBezTo>
                    <a:pt x="-985" y="48740"/>
                    <a:pt x="1877" y="50273"/>
                    <a:pt x="3206" y="48638"/>
                  </a:cubicBezTo>
                  <a:lnTo>
                    <a:pt x="3206" y="4863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3" name="任意多边形: 形状 922">
              <a:extLst>
                <a:ext uri="{FF2B5EF4-FFF2-40B4-BE49-F238E27FC236}">
                  <a16:creationId xmlns:a16="http://schemas.microsoft.com/office/drawing/2014/main" id="{ACE3FE43-DCA6-4552-A518-2E98F2AEB0D6}"/>
                </a:ext>
              </a:extLst>
            </p:cNvPr>
            <p:cNvSpPr/>
            <p:nvPr/>
          </p:nvSpPr>
          <p:spPr>
            <a:xfrm>
              <a:off x="9085620" y="4402908"/>
              <a:ext cx="7922" cy="55458"/>
            </a:xfrm>
            <a:custGeom>
              <a:avLst/>
              <a:gdLst>
                <a:gd name="connsiteX0" fmla="*/ 0 w 0"/>
                <a:gd name="connsiteY0" fmla="*/ 1533 h 71550"/>
                <a:gd name="connsiteX1" fmla="*/ 0 w 0"/>
                <a:gd name="connsiteY1" fmla="*/ 79012 h 71550"/>
                <a:gd name="connsiteX2" fmla="*/ 3271 w 0"/>
                <a:gd name="connsiteY2" fmla="*/ 79012 h 71550"/>
                <a:gd name="connsiteX3" fmla="*/ 3271 w 0"/>
                <a:gd name="connsiteY3" fmla="*/ 1533 h 71550"/>
                <a:gd name="connsiteX4" fmla="*/ 0 w 0"/>
                <a:gd name="connsiteY4" fmla="*/ 1533 h 71550"/>
                <a:gd name="connsiteX5" fmla="*/ 0 w 0"/>
                <a:gd name="connsiteY5" fmla="*/ 1533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1550">
                  <a:moveTo>
                    <a:pt x="0" y="1533"/>
                  </a:moveTo>
                  <a:cubicBezTo>
                    <a:pt x="0" y="27394"/>
                    <a:pt x="0" y="53254"/>
                    <a:pt x="0" y="79012"/>
                  </a:cubicBezTo>
                  <a:cubicBezTo>
                    <a:pt x="0" y="81056"/>
                    <a:pt x="3271" y="81056"/>
                    <a:pt x="3271" y="79012"/>
                  </a:cubicBezTo>
                  <a:cubicBezTo>
                    <a:pt x="3271" y="53151"/>
                    <a:pt x="3271" y="27291"/>
                    <a:pt x="3271" y="1533"/>
                  </a:cubicBezTo>
                  <a:cubicBezTo>
                    <a:pt x="3271" y="-511"/>
                    <a:pt x="0" y="-511"/>
                    <a:pt x="0" y="1533"/>
                  </a:cubicBezTo>
                  <a:lnTo>
                    <a:pt x="0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4" name="任意多边形: 形状 923">
              <a:extLst>
                <a:ext uri="{FF2B5EF4-FFF2-40B4-BE49-F238E27FC236}">
                  <a16:creationId xmlns:a16="http://schemas.microsoft.com/office/drawing/2014/main" id="{7C37A2A6-2F15-4761-A145-23447AE4904F}"/>
                </a:ext>
              </a:extLst>
            </p:cNvPr>
            <p:cNvSpPr/>
            <p:nvPr/>
          </p:nvSpPr>
          <p:spPr>
            <a:xfrm>
              <a:off x="9076084" y="4443898"/>
              <a:ext cx="15845" cy="15845"/>
            </a:xfrm>
            <a:custGeom>
              <a:avLst/>
              <a:gdLst>
                <a:gd name="connsiteX0" fmla="*/ 445 w 20442"/>
                <a:gd name="connsiteY0" fmla="*/ 2619 h 20442"/>
                <a:gd name="connsiteX1" fmla="*/ 23853 w 20442"/>
                <a:gd name="connsiteY1" fmla="*/ 25719 h 20442"/>
                <a:gd name="connsiteX2" fmla="*/ 26203 w 20442"/>
                <a:gd name="connsiteY2" fmla="*/ 23572 h 20442"/>
                <a:gd name="connsiteX3" fmla="*/ 2796 w 20442"/>
                <a:gd name="connsiteY3" fmla="*/ 472 h 20442"/>
                <a:gd name="connsiteX4" fmla="*/ 445 w 20442"/>
                <a:gd name="connsiteY4" fmla="*/ 2619 h 20442"/>
                <a:gd name="connsiteX5" fmla="*/ 445 w 20442"/>
                <a:gd name="connsiteY5" fmla="*/ 2619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9"/>
                  </a:moveTo>
                  <a:cubicBezTo>
                    <a:pt x="8214" y="10285"/>
                    <a:pt x="16084" y="18053"/>
                    <a:pt x="23853" y="25719"/>
                  </a:cubicBezTo>
                  <a:cubicBezTo>
                    <a:pt x="25284" y="27150"/>
                    <a:pt x="27634" y="25004"/>
                    <a:pt x="26203" y="23572"/>
                  </a:cubicBezTo>
                  <a:cubicBezTo>
                    <a:pt x="18435" y="15906"/>
                    <a:pt x="10565" y="8138"/>
                    <a:pt x="2796" y="472"/>
                  </a:cubicBezTo>
                  <a:cubicBezTo>
                    <a:pt x="1365" y="-959"/>
                    <a:pt x="-986" y="1187"/>
                    <a:pt x="445" y="2619"/>
                  </a:cubicBezTo>
                  <a:lnTo>
                    <a:pt x="445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5" name="任意多边形: 形状 924">
              <a:extLst>
                <a:ext uri="{FF2B5EF4-FFF2-40B4-BE49-F238E27FC236}">
                  <a16:creationId xmlns:a16="http://schemas.microsoft.com/office/drawing/2014/main" id="{2A08A6B1-BDAE-4EE4-9D84-F392C2540CFC}"/>
                </a:ext>
              </a:extLst>
            </p:cNvPr>
            <p:cNvSpPr/>
            <p:nvPr/>
          </p:nvSpPr>
          <p:spPr>
            <a:xfrm>
              <a:off x="9073945" y="4432932"/>
              <a:ext cx="23768" cy="23768"/>
            </a:xfrm>
            <a:custGeom>
              <a:avLst/>
              <a:gdLst>
                <a:gd name="connsiteX0" fmla="*/ 445 w 30664"/>
                <a:gd name="connsiteY0" fmla="*/ 2661 h 30664"/>
                <a:gd name="connsiteX1" fmla="*/ 30599 w 30664"/>
                <a:gd name="connsiteY1" fmla="*/ 33529 h 30664"/>
                <a:gd name="connsiteX2" fmla="*/ 32950 w 30664"/>
                <a:gd name="connsiteY2" fmla="*/ 31383 h 30664"/>
                <a:gd name="connsiteX3" fmla="*/ 2796 w 30664"/>
                <a:gd name="connsiteY3" fmla="*/ 514 h 30664"/>
                <a:gd name="connsiteX4" fmla="*/ 445 w 30664"/>
                <a:gd name="connsiteY4" fmla="*/ 2661 h 30664"/>
                <a:gd name="connsiteX5" fmla="*/ 445 w 30664"/>
                <a:gd name="connsiteY5" fmla="*/ 26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1"/>
                  </a:moveTo>
                  <a:cubicBezTo>
                    <a:pt x="10462" y="12984"/>
                    <a:pt x="20582" y="23308"/>
                    <a:pt x="30599" y="33529"/>
                  </a:cubicBezTo>
                  <a:cubicBezTo>
                    <a:pt x="32030" y="34961"/>
                    <a:pt x="34381" y="32814"/>
                    <a:pt x="32950" y="31383"/>
                  </a:cubicBezTo>
                  <a:cubicBezTo>
                    <a:pt x="22933" y="21059"/>
                    <a:pt x="12813" y="10735"/>
                    <a:pt x="2796" y="514"/>
                  </a:cubicBezTo>
                  <a:cubicBezTo>
                    <a:pt x="1365" y="-1019"/>
                    <a:pt x="-986" y="1230"/>
                    <a:pt x="445" y="2661"/>
                  </a:cubicBezTo>
                  <a:lnTo>
                    <a:pt x="44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6" name="任意多边形: 形状 925">
              <a:extLst>
                <a:ext uri="{FF2B5EF4-FFF2-40B4-BE49-F238E27FC236}">
                  <a16:creationId xmlns:a16="http://schemas.microsoft.com/office/drawing/2014/main" id="{BA44EE1F-CFAA-44B8-AB02-DF45ECB3CF44}"/>
                </a:ext>
              </a:extLst>
            </p:cNvPr>
            <p:cNvSpPr/>
            <p:nvPr/>
          </p:nvSpPr>
          <p:spPr>
            <a:xfrm>
              <a:off x="9075920" y="4425014"/>
              <a:ext cx="15845" cy="15845"/>
            </a:xfrm>
            <a:custGeom>
              <a:avLst/>
              <a:gdLst>
                <a:gd name="connsiteX0" fmla="*/ 555 w 20442"/>
                <a:gd name="connsiteY0" fmla="*/ 2553 h 20442"/>
                <a:gd name="connsiteX1" fmla="*/ 25291 w 20442"/>
                <a:gd name="connsiteY1" fmla="*/ 25654 h 20442"/>
                <a:gd name="connsiteX2" fmla="*/ 27642 w 20442"/>
                <a:gd name="connsiteY2" fmla="*/ 23507 h 20442"/>
                <a:gd name="connsiteX3" fmla="*/ 2804 w 20442"/>
                <a:gd name="connsiteY3" fmla="*/ 407 h 20442"/>
                <a:gd name="connsiteX4" fmla="*/ 555 w 20442"/>
                <a:gd name="connsiteY4" fmla="*/ 2553 h 20442"/>
                <a:gd name="connsiteX5" fmla="*/ 555 w 20442"/>
                <a:gd name="connsiteY5" fmla="*/ 25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55" y="2553"/>
                  </a:moveTo>
                  <a:cubicBezTo>
                    <a:pt x="9346" y="9810"/>
                    <a:pt x="17625" y="17476"/>
                    <a:pt x="25291" y="25654"/>
                  </a:cubicBezTo>
                  <a:cubicBezTo>
                    <a:pt x="26722" y="27085"/>
                    <a:pt x="29073" y="24938"/>
                    <a:pt x="27642" y="23507"/>
                  </a:cubicBezTo>
                  <a:cubicBezTo>
                    <a:pt x="19874" y="15330"/>
                    <a:pt x="11594" y="7664"/>
                    <a:pt x="2804" y="407"/>
                  </a:cubicBezTo>
                  <a:cubicBezTo>
                    <a:pt x="1271" y="-922"/>
                    <a:pt x="-1080" y="1327"/>
                    <a:pt x="555" y="2553"/>
                  </a:cubicBezTo>
                  <a:lnTo>
                    <a:pt x="555" y="25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7" name="任意多边形: 形状 926">
              <a:extLst>
                <a:ext uri="{FF2B5EF4-FFF2-40B4-BE49-F238E27FC236}">
                  <a16:creationId xmlns:a16="http://schemas.microsoft.com/office/drawing/2014/main" id="{C22DACE7-52A2-4E04-A4F4-06E0F9736F2B}"/>
                </a:ext>
              </a:extLst>
            </p:cNvPr>
            <p:cNvSpPr/>
            <p:nvPr/>
          </p:nvSpPr>
          <p:spPr>
            <a:xfrm>
              <a:off x="9091889" y="4425960"/>
              <a:ext cx="7922" cy="7922"/>
            </a:xfrm>
            <a:custGeom>
              <a:avLst/>
              <a:gdLst>
                <a:gd name="connsiteX0" fmla="*/ 499 w 10221"/>
                <a:gd name="connsiteY0" fmla="*/ 2661 h 10221"/>
                <a:gd name="connsiteX1" fmla="*/ 12765 w 10221"/>
                <a:gd name="connsiteY1" fmla="*/ 14313 h 10221"/>
                <a:gd name="connsiteX2" fmla="*/ 15115 w 10221"/>
                <a:gd name="connsiteY2" fmla="*/ 12166 h 10221"/>
                <a:gd name="connsiteX3" fmla="*/ 2850 w 10221"/>
                <a:gd name="connsiteY3" fmla="*/ 514 h 10221"/>
                <a:gd name="connsiteX4" fmla="*/ 499 w 10221"/>
                <a:gd name="connsiteY4" fmla="*/ 2661 h 10221"/>
                <a:gd name="connsiteX5" fmla="*/ 499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99" y="2661"/>
                  </a:moveTo>
                  <a:cubicBezTo>
                    <a:pt x="4587" y="6545"/>
                    <a:pt x="8676" y="10429"/>
                    <a:pt x="12765" y="14313"/>
                  </a:cubicBezTo>
                  <a:cubicBezTo>
                    <a:pt x="14298" y="15744"/>
                    <a:pt x="16546" y="13495"/>
                    <a:pt x="15115" y="12166"/>
                  </a:cubicBezTo>
                  <a:cubicBezTo>
                    <a:pt x="11027" y="8282"/>
                    <a:pt x="6938" y="4398"/>
                    <a:pt x="2850" y="514"/>
                  </a:cubicBezTo>
                  <a:cubicBezTo>
                    <a:pt x="1316" y="-1019"/>
                    <a:pt x="-1034" y="1229"/>
                    <a:pt x="499" y="2661"/>
                  </a:cubicBezTo>
                  <a:lnTo>
                    <a:pt x="499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8" name="任意多边形: 形状 927">
              <a:extLst>
                <a:ext uri="{FF2B5EF4-FFF2-40B4-BE49-F238E27FC236}">
                  <a16:creationId xmlns:a16="http://schemas.microsoft.com/office/drawing/2014/main" id="{40DF3116-1070-45B1-A296-7A03AF3D9FCB}"/>
                </a:ext>
              </a:extLst>
            </p:cNvPr>
            <p:cNvSpPr/>
            <p:nvPr/>
          </p:nvSpPr>
          <p:spPr>
            <a:xfrm>
              <a:off x="9106656" y="4419982"/>
              <a:ext cx="23768" cy="15845"/>
            </a:xfrm>
            <a:custGeom>
              <a:avLst/>
              <a:gdLst>
                <a:gd name="connsiteX0" fmla="*/ 458 w 30664"/>
                <a:gd name="connsiteY0" fmla="*/ 2606 h 20442"/>
                <a:gd name="connsiteX1" fmla="*/ 29589 w 30664"/>
                <a:gd name="connsiteY1" fmla="*/ 25911 h 20442"/>
                <a:gd name="connsiteX2" fmla="*/ 31225 w 30664"/>
                <a:gd name="connsiteY2" fmla="*/ 23253 h 20442"/>
                <a:gd name="connsiteX3" fmla="*/ 2707 w 30664"/>
                <a:gd name="connsiteY3" fmla="*/ 460 h 20442"/>
                <a:gd name="connsiteX4" fmla="*/ 458 w 30664"/>
                <a:gd name="connsiteY4" fmla="*/ 2606 h 20442"/>
                <a:gd name="connsiteX5" fmla="*/ 458 w 30664"/>
                <a:gd name="connsiteY5" fmla="*/ 260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458" y="2606"/>
                  </a:moveTo>
                  <a:cubicBezTo>
                    <a:pt x="9555" y="11192"/>
                    <a:pt x="19266" y="18960"/>
                    <a:pt x="29589" y="25911"/>
                  </a:cubicBezTo>
                  <a:cubicBezTo>
                    <a:pt x="31327" y="27035"/>
                    <a:pt x="32963" y="24378"/>
                    <a:pt x="31225" y="23253"/>
                  </a:cubicBezTo>
                  <a:cubicBezTo>
                    <a:pt x="21003" y="16405"/>
                    <a:pt x="11600" y="8739"/>
                    <a:pt x="2707" y="460"/>
                  </a:cubicBezTo>
                  <a:cubicBezTo>
                    <a:pt x="1276" y="-972"/>
                    <a:pt x="-973" y="1277"/>
                    <a:pt x="458" y="2606"/>
                  </a:cubicBezTo>
                  <a:lnTo>
                    <a:pt x="458" y="26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9" name="任意多边形: 形状 928">
              <a:extLst>
                <a:ext uri="{FF2B5EF4-FFF2-40B4-BE49-F238E27FC236}">
                  <a16:creationId xmlns:a16="http://schemas.microsoft.com/office/drawing/2014/main" id="{7648211C-587E-401C-8EF2-BFBC3D10506A}"/>
                </a:ext>
              </a:extLst>
            </p:cNvPr>
            <p:cNvSpPr/>
            <p:nvPr/>
          </p:nvSpPr>
          <p:spPr>
            <a:xfrm>
              <a:off x="8956255" y="4478245"/>
              <a:ext cx="39613" cy="39613"/>
            </a:xfrm>
            <a:custGeom>
              <a:avLst/>
              <a:gdLst>
                <a:gd name="connsiteX0" fmla="*/ 2745 w 51107"/>
                <a:gd name="connsiteY0" fmla="*/ 53672 h 51107"/>
                <a:gd name="connsiteX1" fmla="*/ 55283 w 51107"/>
                <a:gd name="connsiteY1" fmla="*/ 2565 h 51107"/>
                <a:gd name="connsiteX2" fmla="*/ 52932 w 51107"/>
                <a:gd name="connsiteY2" fmla="*/ 418 h 51107"/>
                <a:gd name="connsiteX3" fmla="*/ 394 w 51107"/>
                <a:gd name="connsiteY3" fmla="*/ 51525 h 51107"/>
                <a:gd name="connsiteX4" fmla="*/ 2745 w 51107"/>
                <a:gd name="connsiteY4" fmla="*/ 53672 h 51107"/>
                <a:gd name="connsiteX5" fmla="*/ 2745 w 51107"/>
                <a:gd name="connsiteY5" fmla="*/ 536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45" y="53672"/>
                  </a:moveTo>
                  <a:cubicBezTo>
                    <a:pt x="18588" y="35069"/>
                    <a:pt x="36067" y="17999"/>
                    <a:pt x="55283" y="2565"/>
                  </a:cubicBezTo>
                  <a:cubicBezTo>
                    <a:pt x="56918" y="1236"/>
                    <a:pt x="54567" y="-911"/>
                    <a:pt x="52932" y="418"/>
                  </a:cubicBezTo>
                  <a:cubicBezTo>
                    <a:pt x="33716" y="15852"/>
                    <a:pt x="16237" y="32922"/>
                    <a:pt x="394" y="51525"/>
                  </a:cubicBezTo>
                  <a:cubicBezTo>
                    <a:pt x="-935" y="53059"/>
                    <a:pt x="1416" y="55307"/>
                    <a:pt x="2745" y="53672"/>
                  </a:cubicBezTo>
                  <a:lnTo>
                    <a:pt x="2745" y="536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0" name="任意多边形: 形状 929">
              <a:extLst>
                <a:ext uri="{FF2B5EF4-FFF2-40B4-BE49-F238E27FC236}">
                  <a16:creationId xmlns:a16="http://schemas.microsoft.com/office/drawing/2014/main" id="{B8E599BC-D35F-43D1-BD43-0889254A03DE}"/>
                </a:ext>
              </a:extLst>
            </p:cNvPr>
            <p:cNvSpPr/>
            <p:nvPr/>
          </p:nvSpPr>
          <p:spPr>
            <a:xfrm>
              <a:off x="8946904" y="4484868"/>
              <a:ext cx="31691" cy="23768"/>
            </a:xfrm>
            <a:custGeom>
              <a:avLst/>
              <a:gdLst>
                <a:gd name="connsiteX0" fmla="*/ 2850 w 40885"/>
                <a:gd name="connsiteY0" fmla="*/ 36337 h 30664"/>
                <a:gd name="connsiteX1" fmla="*/ 40976 w 40885"/>
                <a:gd name="connsiteY1" fmla="*/ 2606 h 30664"/>
                <a:gd name="connsiteX2" fmla="*/ 38625 w 40885"/>
                <a:gd name="connsiteY2" fmla="*/ 460 h 30664"/>
                <a:gd name="connsiteX3" fmla="*/ 499 w 40885"/>
                <a:gd name="connsiteY3" fmla="*/ 34190 h 30664"/>
                <a:gd name="connsiteX4" fmla="*/ 2850 w 40885"/>
                <a:gd name="connsiteY4" fmla="*/ 36337 h 30664"/>
                <a:gd name="connsiteX5" fmla="*/ 2850 w 40885"/>
                <a:gd name="connsiteY5" fmla="*/ 3633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37"/>
                  </a:moveTo>
                  <a:cubicBezTo>
                    <a:pt x="15524" y="25093"/>
                    <a:pt x="28199" y="13850"/>
                    <a:pt x="40976" y="2606"/>
                  </a:cubicBezTo>
                  <a:cubicBezTo>
                    <a:pt x="42509" y="1277"/>
                    <a:pt x="40158" y="-972"/>
                    <a:pt x="38625" y="460"/>
                  </a:cubicBezTo>
                  <a:cubicBezTo>
                    <a:pt x="25950" y="11703"/>
                    <a:pt x="13173" y="22947"/>
                    <a:pt x="499" y="34190"/>
                  </a:cubicBezTo>
                  <a:cubicBezTo>
                    <a:pt x="-1035" y="35519"/>
                    <a:pt x="1316" y="37768"/>
                    <a:pt x="2850" y="36337"/>
                  </a:cubicBezTo>
                  <a:lnTo>
                    <a:pt x="2850" y="3633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1" name="任意多边形: 形状 930">
              <a:extLst>
                <a:ext uri="{FF2B5EF4-FFF2-40B4-BE49-F238E27FC236}">
                  <a16:creationId xmlns:a16="http://schemas.microsoft.com/office/drawing/2014/main" id="{41E3BF07-B671-4E49-B423-2B18FCBA50A7}"/>
                </a:ext>
              </a:extLst>
            </p:cNvPr>
            <p:cNvSpPr/>
            <p:nvPr/>
          </p:nvSpPr>
          <p:spPr>
            <a:xfrm>
              <a:off x="8798027" y="4402738"/>
              <a:ext cx="15845" cy="55458"/>
            </a:xfrm>
            <a:custGeom>
              <a:avLst/>
              <a:gdLst>
                <a:gd name="connsiteX0" fmla="*/ 104 w 20442"/>
                <a:gd name="connsiteY0" fmla="*/ 1855 h 71550"/>
                <a:gd name="connsiteX1" fmla="*/ 24023 w 20442"/>
                <a:gd name="connsiteY1" fmla="*/ 73200 h 71550"/>
                <a:gd name="connsiteX2" fmla="*/ 27191 w 20442"/>
                <a:gd name="connsiteY2" fmla="*/ 72383 h 71550"/>
                <a:gd name="connsiteX3" fmla="*/ 3273 w 20442"/>
                <a:gd name="connsiteY3" fmla="*/ 1037 h 71550"/>
                <a:gd name="connsiteX4" fmla="*/ 104 w 20442"/>
                <a:gd name="connsiteY4" fmla="*/ 1855 h 71550"/>
                <a:gd name="connsiteX5" fmla="*/ 104 w 20442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71550">
                  <a:moveTo>
                    <a:pt x="104" y="1855"/>
                  </a:moveTo>
                  <a:cubicBezTo>
                    <a:pt x="10122" y="24955"/>
                    <a:pt x="18094" y="48771"/>
                    <a:pt x="24023" y="73200"/>
                  </a:cubicBezTo>
                  <a:cubicBezTo>
                    <a:pt x="24534" y="75143"/>
                    <a:pt x="27702" y="74325"/>
                    <a:pt x="27191" y="72383"/>
                  </a:cubicBezTo>
                  <a:cubicBezTo>
                    <a:pt x="21365" y="47953"/>
                    <a:pt x="13290" y="24240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2" name="任意多边形: 形状 931">
              <a:extLst>
                <a:ext uri="{FF2B5EF4-FFF2-40B4-BE49-F238E27FC236}">
                  <a16:creationId xmlns:a16="http://schemas.microsoft.com/office/drawing/2014/main" id="{63F0AC0F-BEB9-44B6-AF6E-C0D3A74446DA}"/>
                </a:ext>
              </a:extLst>
            </p:cNvPr>
            <p:cNvSpPr/>
            <p:nvPr/>
          </p:nvSpPr>
          <p:spPr>
            <a:xfrm>
              <a:off x="8749988" y="4448100"/>
              <a:ext cx="23768" cy="31691"/>
            </a:xfrm>
            <a:custGeom>
              <a:avLst/>
              <a:gdLst>
                <a:gd name="connsiteX0" fmla="*/ 2695 w 30664"/>
                <a:gd name="connsiteY0" fmla="*/ 42376 h 40885"/>
                <a:gd name="connsiteX1" fmla="*/ 36017 w 30664"/>
                <a:gd name="connsiteY1" fmla="*/ 2717 h 40885"/>
                <a:gd name="connsiteX2" fmla="*/ 33666 w 30664"/>
                <a:gd name="connsiteY2" fmla="*/ 570 h 40885"/>
                <a:gd name="connsiteX3" fmla="*/ 344 w 30664"/>
                <a:gd name="connsiteY3" fmla="*/ 40230 h 40885"/>
                <a:gd name="connsiteX4" fmla="*/ 2695 w 30664"/>
                <a:gd name="connsiteY4" fmla="*/ 42376 h 40885"/>
                <a:gd name="connsiteX5" fmla="*/ 2695 w 30664"/>
                <a:gd name="connsiteY5" fmla="*/ 4237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695" y="42376"/>
                  </a:moveTo>
                  <a:cubicBezTo>
                    <a:pt x="13837" y="29190"/>
                    <a:pt x="24876" y="15902"/>
                    <a:pt x="36017" y="2717"/>
                  </a:cubicBezTo>
                  <a:cubicBezTo>
                    <a:pt x="37346" y="1184"/>
                    <a:pt x="34995" y="-1065"/>
                    <a:pt x="33666" y="570"/>
                  </a:cubicBezTo>
                  <a:cubicBezTo>
                    <a:pt x="22525" y="13756"/>
                    <a:pt x="11486" y="27044"/>
                    <a:pt x="344" y="40230"/>
                  </a:cubicBezTo>
                  <a:cubicBezTo>
                    <a:pt x="-882" y="41763"/>
                    <a:pt x="1469" y="44011"/>
                    <a:pt x="2695" y="42376"/>
                  </a:cubicBezTo>
                  <a:lnTo>
                    <a:pt x="2695" y="423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3" name="任意多边形: 形状 932">
              <a:extLst>
                <a:ext uri="{FF2B5EF4-FFF2-40B4-BE49-F238E27FC236}">
                  <a16:creationId xmlns:a16="http://schemas.microsoft.com/office/drawing/2014/main" id="{4CE0E17A-B9EF-4DE1-A9B0-E0CED5C168C0}"/>
                </a:ext>
              </a:extLst>
            </p:cNvPr>
            <p:cNvSpPr/>
            <p:nvPr/>
          </p:nvSpPr>
          <p:spPr>
            <a:xfrm>
              <a:off x="8744879" y="4450793"/>
              <a:ext cx="15845" cy="15845"/>
            </a:xfrm>
            <a:custGeom>
              <a:avLst/>
              <a:gdLst>
                <a:gd name="connsiteX0" fmla="*/ 2644 w 20442"/>
                <a:gd name="connsiteY0" fmla="*/ 27453 h 20442"/>
                <a:gd name="connsiteX1" fmla="*/ 22984 w 20442"/>
                <a:gd name="connsiteY1" fmla="*/ 2717 h 20442"/>
                <a:gd name="connsiteX2" fmla="*/ 20633 w 20442"/>
                <a:gd name="connsiteY2" fmla="*/ 570 h 20442"/>
                <a:gd name="connsiteX3" fmla="*/ 395 w 20442"/>
                <a:gd name="connsiteY3" fmla="*/ 25306 h 20442"/>
                <a:gd name="connsiteX4" fmla="*/ 2644 w 20442"/>
                <a:gd name="connsiteY4" fmla="*/ 27453 h 20442"/>
                <a:gd name="connsiteX5" fmla="*/ 2644 w 20442"/>
                <a:gd name="connsiteY5" fmla="*/ 274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2644" y="27453"/>
                  </a:moveTo>
                  <a:cubicBezTo>
                    <a:pt x="9390" y="19173"/>
                    <a:pt x="16136" y="10996"/>
                    <a:pt x="22984" y="2717"/>
                  </a:cubicBezTo>
                  <a:cubicBezTo>
                    <a:pt x="24211" y="1184"/>
                    <a:pt x="21962" y="-1065"/>
                    <a:pt x="20633" y="570"/>
                  </a:cubicBezTo>
                  <a:cubicBezTo>
                    <a:pt x="13887" y="8850"/>
                    <a:pt x="7141" y="17027"/>
                    <a:pt x="395" y="25306"/>
                  </a:cubicBezTo>
                  <a:cubicBezTo>
                    <a:pt x="-934" y="26839"/>
                    <a:pt x="1417" y="28986"/>
                    <a:pt x="2644" y="27453"/>
                  </a:cubicBezTo>
                  <a:lnTo>
                    <a:pt x="2644" y="274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4" name="任意多边形: 形状 933">
              <a:extLst>
                <a:ext uri="{FF2B5EF4-FFF2-40B4-BE49-F238E27FC236}">
                  <a16:creationId xmlns:a16="http://schemas.microsoft.com/office/drawing/2014/main" id="{54486776-B496-4623-A4C3-54157874D652}"/>
                </a:ext>
              </a:extLst>
            </p:cNvPr>
            <p:cNvSpPr/>
            <p:nvPr/>
          </p:nvSpPr>
          <p:spPr>
            <a:xfrm>
              <a:off x="8743562" y="4445245"/>
              <a:ext cx="7922" cy="7922"/>
            </a:xfrm>
            <a:custGeom>
              <a:avLst/>
              <a:gdLst>
                <a:gd name="connsiteX0" fmla="*/ 2808 w 10221"/>
                <a:gd name="connsiteY0" fmla="*/ 17644 h 10221"/>
                <a:gd name="connsiteX1" fmla="*/ 18345 w 10221"/>
                <a:gd name="connsiteY1" fmla="*/ 2618 h 10221"/>
                <a:gd name="connsiteX2" fmla="*/ 15994 w 10221"/>
                <a:gd name="connsiteY2" fmla="*/ 472 h 10221"/>
                <a:gd name="connsiteX3" fmla="*/ 457 w 10221"/>
                <a:gd name="connsiteY3" fmla="*/ 15498 h 10221"/>
                <a:gd name="connsiteX4" fmla="*/ 2808 w 10221"/>
                <a:gd name="connsiteY4" fmla="*/ 17644 h 10221"/>
                <a:gd name="connsiteX5" fmla="*/ 2808 w 10221"/>
                <a:gd name="connsiteY5" fmla="*/ 1764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2808" y="17644"/>
                  </a:moveTo>
                  <a:cubicBezTo>
                    <a:pt x="8021" y="12636"/>
                    <a:pt x="13132" y="7627"/>
                    <a:pt x="18345" y="2618"/>
                  </a:cubicBezTo>
                  <a:cubicBezTo>
                    <a:pt x="19776" y="1188"/>
                    <a:pt x="17527" y="-959"/>
                    <a:pt x="15994" y="472"/>
                  </a:cubicBezTo>
                  <a:cubicBezTo>
                    <a:pt x="10781" y="5480"/>
                    <a:pt x="5670" y="10489"/>
                    <a:pt x="457" y="15498"/>
                  </a:cubicBezTo>
                  <a:cubicBezTo>
                    <a:pt x="-974" y="16826"/>
                    <a:pt x="1275" y="19075"/>
                    <a:pt x="2808" y="17644"/>
                  </a:cubicBezTo>
                  <a:lnTo>
                    <a:pt x="2808" y="1764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5" name="任意多边形: 形状 934">
              <a:extLst>
                <a:ext uri="{FF2B5EF4-FFF2-40B4-BE49-F238E27FC236}">
                  <a16:creationId xmlns:a16="http://schemas.microsoft.com/office/drawing/2014/main" id="{F71F4239-7736-433B-A5A5-7B3287B16F97}"/>
                </a:ext>
              </a:extLst>
            </p:cNvPr>
            <p:cNvSpPr/>
            <p:nvPr/>
          </p:nvSpPr>
          <p:spPr>
            <a:xfrm>
              <a:off x="8693934" y="4411762"/>
              <a:ext cx="23768" cy="7922"/>
            </a:xfrm>
            <a:custGeom>
              <a:avLst/>
              <a:gdLst>
                <a:gd name="connsiteX0" fmla="*/ 2442 w 30664"/>
                <a:gd name="connsiteY0" fmla="*/ 19957 h 10221"/>
                <a:gd name="connsiteX1" fmla="*/ 35048 w 30664"/>
                <a:gd name="connsiteY1" fmla="*/ 2888 h 10221"/>
                <a:gd name="connsiteX2" fmla="*/ 33413 w 30664"/>
                <a:gd name="connsiteY2" fmla="*/ 230 h 10221"/>
                <a:gd name="connsiteX3" fmla="*/ 807 w 30664"/>
                <a:gd name="connsiteY3" fmla="*/ 17300 h 10221"/>
                <a:gd name="connsiteX4" fmla="*/ 2442 w 30664"/>
                <a:gd name="connsiteY4" fmla="*/ 19957 h 10221"/>
                <a:gd name="connsiteX5" fmla="*/ 2442 w 30664"/>
                <a:gd name="connsiteY5" fmla="*/ 1995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10221">
                  <a:moveTo>
                    <a:pt x="2442" y="19957"/>
                  </a:moveTo>
                  <a:cubicBezTo>
                    <a:pt x="13277" y="14233"/>
                    <a:pt x="24214" y="8612"/>
                    <a:pt x="35048" y="2888"/>
                  </a:cubicBezTo>
                  <a:cubicBezTo>
                    <a:pt x="36888" y="1865"/>
                    <a:pt x="35253" y="-792"/>
                    <a:pt x="33413" y="230"/>
                  </a:cubicBezTo>
                  <a:cubicBezTo>
                    <a:pt x="22578" y="5954"/>
                    <a:pt x="11641" y="11576"/>
                    <a:pt x="807" y="17300"/>
                  </a:cubicBezTo>
                  <a:cubicBezTo>
                    <a:pt x="-1033" y="18220"/>
                    <a:pt x="602" y="20979"/>
                    <a:pt x="2442" y="19957"/>
                  </a:cubicBezTo>
                  <a:lnTo>
                    <a:pt x="2442" y="199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6" name="任意多边形: 形状 935">
              <a:extLst>
                <a:ext uri="{FF2B5EF4-FFF2-40B4-BE49-F238E27FC236}">
                  <a16:creationId xmlns:a16="http://schemas.microsoft.com/office/drawing/2014/main" id="{46BBEF00-5AB6-48C7-852F-D7C9512428ED}"/>
                </a:ext>
              </a:extLst>
            </p:cNvPr>
            <p:cNvSpPr/>
            <p:nvPr/>
          </p:nvSpPr>
          <p:spPr>
            <a:xfrm>
              <a:off x="9144682" y="4631267"/>
              <a:ext cx="31691" cy="47536"/>
            </a:xfrm>
            <a:custGeom>
              <a:avLst/>
              <a:gdLst>
                <a:gd name="connsiteX0" fmla="*/ 257 w 40885"/>
                <a:gd name="connsiteY0" fmla="*/ 2313 h 61328"/>
                <a:gd name="connsiteX1" fmla="*/ 47480 w 40885"/>
                <a:gd name="connsiteY1" fmla="*/ 64255 h 61328"/>
                <a:gd name="connsiteX2" fmla="*/ 49831 w 40885"/>
                <a:gd name="connsiteY2" fmla="*/ 62108 h 61328"/>
                <a:gd name="connsiteX3" fmla="*/ 3119 w 40885"/>
                <a:gd name="connsiteY3" fmla="*/ 677 h 61328"/>
                <a:gd name="connsiteX4" fmla="*/ 257 w 40885"/>
                <a:gd name="connsiteY4" fmla="*/ 2313 h 61328"/>
                <a:gd name="connsiteX5" fmla="*/ 257 w 40885"/>
                <a:gd name="connsiteY5" fmla="*/ 231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257" y="2313"/>
                  </a:moveTo>
                  <a:cubicBezTo>
                    <a:pt x="14567" y="23880"/>
                    <a:pt x="30308" y="44630"/>
                    <a:pt x="47480" y="64255"/>
                  </a:cubicBezTo>
                  <a:cubicBezTo>
                    <a:pt x="48809" y="65788"/>
                    <a:pt x="51160" y="63642"/>
                    <a:pt x="49831" y="62108"/>
                  </a:cubicBezTo>
                  <a:cubicBezTo>
                    <a:pt x="32863" y="42585"/>
                    <a:pt x="17327" y="22143"/>
                    <a:pt x="3119" y="677"/>
                  </a:cubicBezTo>
                  <a:cubicBezTo>
                    <a:pt x="1995" y="-958"/>
                    <a:pt x="-867" y="677"/>
                    <a:pt x="257" y="2313"/>
                  </a:cubicBezTo>
                  <a:lnTo>
                    <a:pt x="257" y="23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7" name="任意多边形: 形状 936">
              <a:extLst>
                <a:ext uri="{FF2B5EF4-FFF2-40B4-BE49-F238E27FC236}">
                  <a16:creationId xmlns:a16="http://schemas.microsoft.com/office/drawing/2014/main" id="{6CB59E32-51CF-4E20-9BA9-CAE69B59236E}"/>
                </a:ext>
              </a:extLst>
            </p:cNvPr>
            <p:cNvSpPr/>
            <p:nvPr/>
          </p:nvSpPr>
          <p:spPr>
            <a:xfrm>
              <a:off x="9157608" y="4614187"/>
              <a:ext cx="15845" cy="23768"/>
            </a:xfrm>
            <a:custGeom>
              <a:avLst/>
              <a:gdLst>
                <a:gd name="connsiteX0" fmla="*/ 344 w 20442"/>
                <a:gd name="connsiteY0" fmla="*/ 2168 h 30664"/>
                <a:gd name="connsiteX1" fmla="*/ 25182 w 20442"/>
                <a:gd name="connsiteY1" fmla="*/ 33037 h 30664"/>
                <a:gd name="connsiteX2" fmla="*/ 28044 w 20442"/>
                <a:gd name="connsiteY2" fmla="*/ 31504 h 30664"/>
                <a:gd name="connsiteX3" fmla="*/ 3206 w 20442"/>
                <a:gd name="connsiteY3" fmla="*/ 635 h 30664"/>
                <a:gd name="connsiteX4" fmla="*/ 344 w 20442"/>
                <a:gd name="connsiteY4" fmla="*/ 2168 h 30664"/>
                <a:gd name="connsiteX5" fmla="*/ 344 w 20442"/>
                <a:gd name="connsiteY5" fmla="*/ 216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44" y="2168"/>
                  </a:moveTo>
                  <a:cubicBezTo>
                    <a:pt x="8623" y="12492"/>
                    <a:pt x="16902" y="22713"/>
                    <a:pt x="25182" y="33037"/>
                  </a:cubicBezTo>
                  <a:cubicBezTo>
                    <a:pt x="26408" y="34570"/>
                    <a:pt x="29270" y="33037"/>
                    <a:pt x="28044" y="31504"/>
                  </a:cubicBezTo>
                  <a:cubicBezTo>
                    <a:pt x="19764" y="21180"/>
                    <a:pt x="11485" y="10959"/>
                    <a:pt x="3206" y="635"/>
                  </a:cubicBezTo>
                  <a:cubicBezTo>
                    <a:pt x="1877" y="-898"/>
                    <a:pt x="-985" y="635"/>
                    <a:pt x="344" y="2168"/>
                  </a:cubicBezTo>
                  <a:lnTo>
                    <a:pt x="344" y="216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8" name="任意多边形: 形状 937">
              <a:extLst>
                <a:ext uri="{FF2B5EF4-FFF2-40B4-BE49-F238E27FC236}">
                  <a16:creationId xmlns:a16="http://schemas.microsoft.com/office/drawing/2014/main" id="{857FBAE0-19DC-42D4-9422-D666ACACE215}"/>
                </a:ext>
              </a:extLst>
            </p:cNvPr>
            <p:cNvSpPr/>
            <p:nvPr/>
          </p:nvSpPr>
          <p:spPr>
            <a:xfrm>
              <a:off x="9146852" y="4590189"/>
              <a:ext cx="31691" cy="39613"/>
            </a:xfrm>
            <a:custGeom>
              <a:avLst/>
              <a:gdLst>
                <a:gd name="connsiteX0" fmla="*/ 217 w 40885"/>
                <a:gd name="connsiteY0" fmla="*/ 2364 h 51107"/>
                <a:gd name="connsiteX1" fmla="*/ 41205 w 40885"/>
                <a:gd name="connsiteY1" fmla="*/ 58480 h 51107"/>
                <a:gd name="connsiteX2" fmla="*/ 43556 w 40885"/>
                <a:gd name="connsiteY2" fmla="*/ 56333 h 51107"/>
                <a:gd name="connsiteX3" fmla="*/ 3079 w 40885"/>
                <a:gd name="connsiteY3" fmla="*/ 831 h 51107"/>
                <a:gd name="connsiteX4" fmla="*/ 217 w 40885"/>
                <a:gd name="connsiteY4" fmla="*/ 2364 h 51107"/>
                <a:gd name="connsiteX5" fmla="*/ 217 w 40885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364"/>
                  </a:moveTo>
                  <a:cubicBezTo>
                    <a:pt x="11665" y="22500"/>
                    <a:pt x="25362" y="41205"/>
                    <a:pt x="41205" y="58480"/>
                  </a:cubicBezTo>
                  <a:cubicBezTo>
                    <a:pt x="42636" y="60013"/>
                    <a:pt x="44885" y="57764"/>
                    <a:pt x="43556" y="56333"/>
                  </a:cubicBezTo>
                  <a:cubicBezTo>
                    <a:pt x="27917" y="39263"/>
                    <a:pt x="14323" y="20762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9" name="任意多边形: 形状 938">
              <a:extLst>
                <a:ext uri="{FF2B5EF4-FFF2-40B4-BE49-F238E27FC236}">
                  <a16:creationId xmlns:a16="http://schemas.microsoft.com/office/drawing/2014/main" id="{7785BF7F-50AC-4DDA-B529-2728B063CF2F}"/>
                </a:ext>
              </a:extLst>
            </p:cNvPr>
            <p:cNvSpPr/>
            <p:nvPr/>
          </p:nvSpPr>
          <p:spPr>
            <a:xfrm>
              <a:off x="9154532" y="4593029"/>
              <a:ext cx="15845" cy="23768"/>
            </a:xfrm>
            <a:custGeom>
              <a:avLst/>
              <a:gdLst>
                <a:gd name="connsiteX0" fmla="*/ 223 w 20442"/>
                <a:gd name="connsiteY0" fmla="*/ 2277 h 30664"/>
                <a:gd name="connsiteX1" fmla="*/ 26083 w 20442"/>
                <a:gd name="connsiteY1" fmla="*/ 36417 h 30664"/>
                <a:gd name="connsiteX2" fmla="*/ 28434 w 20442"/>
                <a:gd name="connsiteY2" fmla="*/ 34271 h 30664"/>
                <a:gd name="connsiteX3" fmla="*/ 3085 w 20442"/>
                <a:gd name="connsiteY3" fmla="*/ 744 h 30664"/>
                <a:gd name="connsiteX4" fmla="*/ 223 w 20442"/>
                <a:gd name="connsiteY4" fmla="*/ 2277 h 30664"/>
                <a:gd name="connsiteX5" fmla="*/ 223 w 20442"/>
                <a:gd name="connsiteY5" fmla="*/ 227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223" y="2277"/>
                  </a:moveTo>
                  <a:cubicBezTo>
                    <a:pt x="7787" y="14339"/>
                    <a:pt x="16373" y="25685"/>
                    <a:pt x="26083" y="36417"/>
                  </a:cubicBezTo>
                  <a:cubicBezTo>
                    <a:pt x="27412" y="37950"/>
                    <a:pt x="29763" y="35702"/>
                    <a:pt x="28434" y="34271"/>
                  </a:cubicBezTo>
                  <a:cubicBezTo>
                    <a:pt x="18928" y="23743"/>
                    <a:pt x="10547" y="12601"/>
                    <a:pt x="3085" y="744"/>
                  </a:cubicBezTo>
                  <a:cubicBezTo>
                    <a:pt x="1961" y="-993"/>
                    <a:pt x="-799" y="642"/>
                    <a:pt x="223" y="2277"/>
                  </a:cubicBezTo>
                  <a:lnTo>
                    <a:pt x="223" y="22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0" name="任意多边形: 形状 939">
              <a:extLst>
                <a:ext uri="{FF2B5EF4-FFF2-40B4-BE49-F238E27FC236}">
                  <a16:creationId xmlns:a16="http://schemas.microsoft.com/office/drawing/2014/main" id="{70B9B333-908B-47CC-9380-DD843C55F648}"/>
                </a:ext>
              </a:extLst>
            </p:cNvPr>
            <p:cNvSpPr/>
            <p:nvPr/>
          </p:nvSpPr>
          <p:spPr>
            <a:xfrm>
              <a:off x="9157437" y="4591241"/>
              <a:ext cx="23768" cy="23768"/>
            </a:xfrm>
            <a:custGeom>
              <a:avLst/>
              <a:gdLst>
                <a:gd name="connsiteX0" fmla="*/ 257 w 30664"/>
                <a:gd name="connsiteY0" fmla="*/ 2232 h 30664"/>
                <a:gd name="connsiteX1" fmla="*/ 28059 w 30664"/>
                <a:gd name="connsiteY1" fmla="*/ 35963 h 30664"/>
                <a:gd name="connsiteX2" fmla="*/ 30410 w 30664"/>
                <a:gd name="connsiteY2" fmla="*/ 33817 h 30664"/>
                <a:gd name="connsiteX3" fmla="*/ 3119 w 30664"/>
                <a:gd name="connsiteY3" fmla="*/ 699 h 30664"/>
                <a:gd name="connsiteX4" fmla="*/ 257 w 30664"/>
                <a:gd name="connsiteY4" fmla="*/ 2232 h 30664"/>
                <a:gd name="connsiteX5" fmla="*/ 257 w 30664"/>
                <a:gd name="connsiteY5" fmla="*/ 223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57" y="2232"/>
                  </a:moveTo>
                  <a:cubicBezTo>
                    <a:pt x="8741" y="14089"/>
                    <a:pt x="17940" y="25333"/>
                    <a:pt x="28059" y="35963"/>
                  </a:cubicBezTo>
                  <a:cubicBezTo>
                    <a:pt x="29490" y="37496"/>
                    <a:pt x="31739" y="35248"/>
                    <a:pt x="30410" y="33817"/>
                  </a:cubicBezTo>
                  <a:cubicBezTo>
                    <a:pt x="20496" y="23391"/>
                    <a:pt x="11501" y="1235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1" name="任意多边形: 形状 940">
              <a:extLst>
                <a:ext uri="{FF2B5EF4-FFF2-40B4-BE49-F238E27FC236}">
                  <a16:creationId xmlns:a16="http://schemas.microsoft.com/office/drawing/2014/main" id="{E05FB188-4567-4AFC-AB74-38CF1CE3D500}"/>
                </a:ext>
              </a:extLst>
            </p:cNvPr>
            <p:cNvSpPr/>
            <p:nvPr/>
          </p:nvSpPr>
          <p:spPr>
            <a:xfrm>
              <a:off x="9185087" y="4578028"/>
              <a:ext cx="23768" cy="31691"/>
            </a:xfrm>
            <a:custGeom>
              <a:avLst/>
              <a:gdLst>
                <a:gd name="connsiteX0" fmla="*/ 3119 w 30664"/>
                <a:gd name="connsiteY0" fmla="*/ 42482 h 40885"/>
                <a:gd name="connsiteX1" fmla="*/ 38281 w 30664"/>
                <a:gd name="connsiteY1" fmla="*/ 2618 h 40885"/>
                <a:gd name="connsiteX2" fmla="*/ 35930 w 30664"/>
                <a:gd name="connsiteY2" fmla="*/ 472 h 40885"/>
                <a:gd name="connsiteX3" fmla="*/ 257 w 30664"/>
                <a:gd name="connsiteY3" fmla="*/ 40949 h 40885"/>
                <a:gd name="connsiteX4" fmla="*/ 3119 w 30664"/>
                <a:gd name="connsiteY4" fmla="*/ 42482 h 40885"/>
                <a:gd name="connsiteX5" fmla="*/ 3119 w 30664"/>
                <a:gd name="connsiteY5" fmla="*/ 42482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19" y="42482"/>
                  </a:moveTo>
                  <a:cubicBezTo>
                    <a:pt x="13545" y="28172"/>
                    <a:pt x="25300" y="14986"/>
                    <a:pt x="38281" y="2618"/>
                  </a:cubicBezTo>
                  <a:cubicBezTo>
                    <a:pt x="39814" y="1187"/>
                    <a:pt x="37463" y="-959"/>
                    <a:pt x="35930" y="472"/>
                  </a:cubicBezTo>
                  <a:cubicBezTo>
                    <a:pt x="22744" y="12942"/>
                    <a:pt x="10887" y="26434"/>
                    <a:pt x="257" y="40949"/>
                  </a:cubicBezTo>
                  <a:cubicBezTo>
                    <a:pt x="-867" y="42584"/>
                    <a:pt x="1995" y="44117"/>
                    <a:pt x="3119" y="42482"/>
                  </a:cubicBezTo>
                  <a:lnTo>
                    <a:pt x="3119" y="424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2" name="任意多边形: 形状 941">
              <a:extLst>
                <a:ext uri="{FF2B5EF4-FFF2-40B4-BE49-F238E27FC236}">
                  <a16:creationId xmlns:a16="http://schemas.microsoft.com/office/drawing/2014/main" id="{62546873-4F4E-458D-9232-6E62B2CD7261}"/>
                </a:ext>
              </a:extLst>
            </p:cNvPr>
            <p:cNvSpPr/>
            <p:nvPr/>
          </p:nvSpPr>
          <p:spPr>
            <a:xfrm>
              <a:off x="9180067" y="4568107"/>
              <a:ext cx="31691" cy="31691"/>
            </a:xfrm>
            <a:custGeom>
              <a:avLst/>
              <a:gdLst>
                <a:gd name="connsiteX0" fmla="*/ 2850 w 40885"/>
                <a:gd name="connsiteY0" fmla="*/ 45674 h 40885"/>
                <a:gd name="connsiteX1" fmla="*/ 43531 w 40885"/>
                <a:gd name="connsiteY1" fmla="*/ 2232 h 40885"/>
                <a:gd name="connsiteX2" fmla="*/ 40669 w 40885"/>
                <a:gd name="connsiteY2" fmla="*/ 699 h 40885"/>
                <a:gd name="connsiteX3" fmla="*/ 499 w 40885"/>
                <a:gd name="connsiteY3" fmla="*/ 43527 h 40885"/>
                <a:gd name="connsiteX4" fmla="*/ 2850 w 40885"/>
                <a:gd name="connsiteY4" fmla="*/ 45674 h 40885"/>
                <a:gd name="connsiteX5" fmla="*/ 2850 w 40885"/>
                <a:gd name="connsiteY5" fmla="*/ 4567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850" y="45674"/>
                  </a:moveTo>
                  <a:cubicBezTo>
                    <a:pt x="18488" y="32999"/>
                    <a:pt x="32083" y="18382"/>
                    <a:pt x="43531" y="2232"/>
                  </a:cubicBezTo>
                  <a:cubicBezTo>
                    <a:pt x="44758" y="597"/>
                    <a:pt x="41896" y="-936"/>
                    <a:pt x="40669" y="699"/>
                  </a:cubicBezTo>
                  <a:cubicBezTo>
                    <a:pt x="29425" y="16747"/>
                    <a:pt x="15933" y="31057"/>
                    <a:pt x="499" y="43527"/>
                  </a:cubicBezTo>
                  <a:cubicBezTo>
                    <a:pt x="-1034" y="44754"/>
                    <a:pt x="1316" y="46900"/>
                    <a:pt x="2850" y="45674"/>
                  </a:cubicBezTo>
                  <a:lnTo>
                    <a:pt x="2850" y="45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3" name="任意多边形: 形状 942">
              <a:extLst>
                <a:ext uri="{FF2B5EF4-FFF2-40B4-BE49-F238E27FC236}">
                  <a16:creationId xmlns:a16="http://schemas.microsoft.com/office/drawing/2014/main" id="{12886ACE-1BB9-4593-9B92-622F3A52AB94}"/>
                </a:ext>
              </a:extLst>
            </p:cNvPr>
            <p:cNvSpPr/>
            <p:nvPr/>
          </p:nvSpPr>
          <p:spPr>
            <a:xfrm>
              <a:off x="9181889" y="4561084"/>
              <a:ext cx="31691" cy="23768"/>
            </a:xfrm>
            <a:custGeom>
              <a:avLst/>
              <a:gdLst>
                <a:gd name="connsiteX0" fmla="*/ 2850 w 40885"/>
                <a:gd name="connsiteY0" fmla="*/ 37461 h 30664"/>
                <a:gd name="connsiteX1" fmla="*/ 42509 w 40885"/>
                <a:gd name="connsiteY1" fmla="*/ 2606 h 30664"/>
                <a:gd name="connsiteX2" fmla="*/ 40158 w 40885"/>
                <a:gd name="connsiteY2" fmla="*/ 459 h 30664"/>
                <a:gd name="connsiteX3" fmla="*/ 499 w 40885"/>
                <a:gd name="connsiteY3" fmla="*/ 35315 h 30664"/>
                <a:gd name="connsiteX4" fmla="*/ 2850 w 40885"/>
                <a:gd name="connsiteY4" fmla="*/ 37461 h 30664"/>
                <a:gd name="connsiteX5" fmla="*/ 2850 w 40885"/>
                <a:gd name="connsiteY5" fmla="*/ 374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7461"/>
                  </a:moveTo>
                  <a:cubicBezTo>
                    <a:pt x="16035" y="25809"/>
                    <a:pt x="29323" y="14258"/>
                    <a:pt x="42509" y="2606"/>
                  </a:cubicBezTo>
                  <a:cubicBezTo>
                    <a:pt x="44042" y="1277"/>
                    <a:pt x="41691" y="-971"/>
                    <a:pt x="40158" y="459"/>
                  </a:cubicBezTo>
                  <a:cubicBezTo>
                    <a:pt x="26972" y="12112"/>
                    <a:pt x="13684" y="23662"/>
                    <a:pt x="499" y="35315"/>
                  </a:cubicBezTo>
                  <a:cubicBezTo>
                    <a:pt x="-1034" y="36643"/>
                    <a:pt x="1316" y="38892"/>
                    <a:pt x="2850" y="37461"/>
                  </a:cubicBezTo>
                  <a:lnTo>
                    <a:pt x="2850" y="37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4" name="任意多边形: 形状 943">
              <a:extLst>
                <a:ext uri="{FF2B5EF4-FFF2-40B4-BE49-F238E27FC236}">
                  <a16:creationId xmlns:a16="http://schemas.microsoft.com/office/drawing/2014/main" id="{72BA7402-D200-46EE-B3C1-E51D527AB6A6}"/>
                </a:ext>
              </a:extLst>
            </p:cNvPr>
            <p:cNvSpPr/>
            <p:nvPr/>
          </p:nvSpPr>
          <p:spPr>
            <a:xfrm>
              <a:off x="9210711" y="4475063"/>
              <a:ext cx="7922" cy="63381"/>
            </a:xfrm>
            <a:custGeom>
              <a:avLst/>
              <a:gdLst>
                <a:gd name="connsiteX0" fmla="*/ 9 w 10221"/>
                <a:gd name="connsiteY0" fmla="*/ 1457 h 81771"/>
                <a:gd name="connsiteX1" fmla="*/ 14830 w 10221"/>
                <a:gd name="connsiteY1" fmla="*/ 81900 h 81771"/>
                <a:gd name="connsiteX2" fmla="*/ 17999 w 10221"/>
                <a:gd name="connsiteY2" fmla="*/ 81082 h 81771"/>
                <a:gd name="connsiteX3" fmla="*/ 3280 w 10221"/>
                <a:gd name="connsiteY3" fmla="*/ 1457 h 81771"/>
                <a:gd name="connsiteX4" fmla="*/ 9 w 10221"/>
                <a:gd name="connsiteY4" fmla="*/ 1457 h 81771"/>
                <a:gd name="connsiteX5" fmla="*/ 9 w 10221"/>
                <a:gd name="connsiteY5" fmla="*/ 1457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81771">
                  <a:moveTo>
                    <a:pt x="9" y="1457"/>
                  </a:moveTo>
                  <a:cubicBezTo>
                    <a:pt x="2667" y="28646"/>
                    <a:pt x="7573" y="55528"/>
                    <a:pt x="14830" y="81900"/>
                  </a:cubicBezTo>
                  <a:cubicBezTo>
                    <a:pt x="15341" y="83841"/>
                    <a:pt x="18510" y="83024"/>
                    <a:pt x="17999" y="81082"/>
                  </a:cubicBezTo>
                  <a:cubicBezTo>
                    <a:pt x="10844" y="54915"/>
                    <a:pt x="5937" y="28339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5" name="任意多边形: 形状 944">
              <a:extLst>
                <a:ext uri="{FF2B5EF4-FFF2-40B4-BE49-F238E27FC236}">
                  <a16:creationId xmlns:a16="http://schemas.microsoft.com/office/drawing/2014/main" id="{12975BEC-6000-4AC7-8C36-D3779B0EB410}"/>
                </a:ext>
              </a:extLst>
            </p:cNvPr>
            <p:cNvSpPr/>
            <p:nvPr/>
          </p:nvSpPr>
          <p:spPr>
            <a:xfrm>
              <a:off x="9221016" y="4476014"/>
              <a:ext cx="7922" cy="47536"/>
            </a:xfrm>
            <a:custGeom>
              <a:avLst/>
              <a:gdLst>
                <a:gd name="connsiteX0" fmla="*/ 2 w 0"/>
                <a:gd name="connsiteY0" fmla="*/ 1457 h 61328"/>
                <a:gd name="connsiteX1" fmla="*/ 3580 w 0"/>
                <a:gd name="connsiteY1" fmla="*/ 60945 h 61328"/>
                <a:gd name="connsiteX2" fmla="*/ 6851 w 0"/>
                <a:gd name="connsiteY2" fmla="*/ 60945 h 61328"/>
                <a:gd name="connsiteX3" fmla="*/ 3273 w 0"/>
                <a:gd name="connsiteY3" fmla="*/ 1457 h 61328"/>
                <a:gd name="connsiteX4" fmla="*/ 2 w 0"/>
                <a:gd name="connsiteY4" fmla="*/ 1457 h 61328"/>
                <a:gd name="connsiteX5" fmla="*/ 2 w 0"/>
                <a:gd name="connsiteY5" fmla="*/ 145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1328">
                  <a:moveTo>
                    <a:pt x="2" y="1457"/>
                  </a:moveTo>
                  <a:cubicBezTo>
                    <a:pt x="1229" y="21286"/>
                    <a:pt x="2353" y="41116"/>
                    <a:pt x="3580" y="60945"/>
                  </a:cubicBezTo>
                  <a:cubicBezTo>
                    <a:pt x="3682" y="62887"/>
                    <a:pt x="6953" y="62887"/>
                    <a:pt x="6851" y="60945"/>
                  </a:cubicBezTo>
                  <a:cubicBezTo>
                    <a:pt x="5624" y="41116"/>
                    <a:pt x="4500" y="21286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6" name="任意多边形: 形状 945">
              <a:extLst>
                <a:ext uri="{FF2B5EF4-FFF2-40B4-BE49-F238E27FC236}">
                  <a16:creationId xmlns:a16="http://schemas.microsoft.com/office/drawing/2014/main" id="{99BCAE0B-BA3D-41B1-A2E4-6E1C7FBC1234}"/>
                </a:ext>
              </a:extLst>
            </p:cNvPr>
            <p:cNvSpPr/>
            <p:nvPr/>
          </p:nvSpPr>
          <p:spPr>
            <a:xfrm>
              <a:off x="9229493" y="4481005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2353 w 0"/>
                <a:gd name="connsiteY1" fmla="*/ 38969 h 30664"/>
                <a:gd name="connsiteX2" fmla="*/ 5624 w 0"/>
                <a:gd name="connsiteY2" fmla="*/ 38969 h 30664"/>
                <a:gd name="connsiteX3" fmla="*/ 3273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820" y="13927"/>
                    <a:pt x="1535" y="26397"/>
                    <a:pt x="2353" y="38969"/>
                  </a:cubicBezTo>
                  <a:cubicBezTo>
                    <a:pt x="2456" y="40912"/>
                    <a:pt x="5726" y="40912"/>
                    <a:pt x="5624" y="38969"/>
                  </a:cubicBezTo>
                  <a:cubicBezTo>
                    <a:pt x="4806" y="26499"/>
                    <a:pt x="4091" y="13927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7" name="任意多边形: 形状 946">
              <a:extLst>
                <a:ext uri="{FF2B5EF4-FFF2-40B4-BE49-F238E27FC236}">
                  <a16:creationId xmlns:a16="http://schemas.microsoft.com/office/drawing/2014/main" id="{96A0B6EB-3320-4BCA-9312-691516AF48EC}"/>
                </a:ext>
              </a:extLst>
            </p:cNvPr>
            <p:cNvSpPr/>
            <p:nvPr/>
          </p:nvSpPr>
          <p:spPr>
            <a:xfrm>
              <a:off x="9238050" y="4484016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6237 w 0"/>
                <a:gd name="connsiteY1" fmla="*/ 34370 h 30664"/>
                <a:gd name="connsiteX2" fmla="*/ 9406 w 0"/>
                <a:gd name="connsiteY2" fmla="*/ 33552 h 30664"/>
                <a:gd name="connsiteX3" fmla="*/ 3375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309" y="12803"/>
                    <a:pt x="2353" y="23739"/>
                    <a:pt x="6237" y="34370"/>
                  </a:cubicBezTo>
                  <a:cubicBezTo>
                    <a:pt x="6953" y="36209"/>
                    <a:pt x="10121" y="35494"/>
                    <a:pt x="9406" y="33552"/>
                  </a:cubicBezTo>
                  <a:cubicBezTo>
                    <a:pt x="5624" y="23126"/>
                    <a:pt x="3580" y="12496"/>
                    <a:pt x="3375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8" name="任意多边形: 形状 947">
              <a:extLst>
                <a:ext uri="{FF2B5EF4-FFF2-40B4-BE49-F238E27FC236}">
                  <a16:creationId xmlns:a16="http://schemas.microsoft.com/office/drawing/2014/main" id="{48DE1DD7-2E1C-48AC-9AA0-AE2BFC648B88}"/>
                </a:ext>
              </a:extLst>
            </p:cNvPr>
            <p:cNvSpPr/>
            <p:nvPr/>
          </p:nvSpPr>
          <p:spPr>
            <a:xfrm>
              <a:off x="9227752" y="4469688"/>
              <a:ext cx="31691" cy="23768"/>
            </a:xfrm>
            <a:custGeom>
              <a:avLst/>
              <a:gdLst>
                <a:gd name="connsiteX0" fmla="*/ 511 w 40885"/>
                <a:gd name="connsiteY0" fmla="*/ 2565 h 30664"/>
                <a:gd name="connsiteX1" fmla="*/ 42522 w 40885"/>
                <a:gd name="connsiteY1" fmla="*/ 39157 h 30664"/>
                <a:gd name="connsiteX2" fmla="*/ 44872 w 40885"/>
                <a:gd name="connsiteY2" fmla="*/ 37011 h 30664"/>
                <a:gd name="connsiteX3" fmla="*/ 2862 w 40885"/>
                <a:gd name="connsiteY3" fmla="*/ 418 h 30664"/>
                <a:gd name="connsiteX4" fmla="*/ 511 w 40885"/>
                <a:gd name="connsiteY4" fmla="*/ 2565 h 30664"/>
                <a:gd name="connsiteX5" fmla="*/ 511 w 40885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511" y="2565"/>
                  </a:moveTo>
                  <a:cubicBezTo>
                    <a:pt x="14515" y="14728"/>
                    <a:pt x="28518" y="26892"/>
                    <a:pt x="42522" y="39157"/>
                  </a:cubicBezTo>
                  <a:cubicBezTo>
                    <a:pt x="44055" y="40486"/>
                    <a:pt x="46406" y="38340"/>
                    <a:pt x="44872" y="37011"/>
                  </a:cubicBezTo>
                  <a:cubicBezTo>
                    <a:pt x="30869" y="24848"/>
                    <a:pt x="16866" y="12684"/>
                    <a:pt x="2862" y="418"/>
                  </a:cubicBezTo>
                  <a:cubicBezTo>
                    <a:pt x="1227" y="-911"/>
                    <a:pt x="-1022" y="1236"/>
                    <a:pt x="511" y="2565"/>
                  </a:cubicBezTo>
                  <a:lnTo>
                    <a:pt x="511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9" name="任意多边形: 形状 948">
              <a:extLst>
                <a:ext uri="{FF2B5EF4-FFF2-40B4-BE49-F238E27FC236}">
                  <a16:creationId xmlns:a16="http://schemas.microsoft.com/office/drawing/2014/main" id="{FE2BB943-CCFE-47CD-AE2D-39A8A5D88D56}"/>
                </a:ext>
              </a:extLst>
            </p:cNvPr>
            <p:cNvSpPr/>
            <p:nvPr/>
          </p:nvSpPr>
          <p:spPr>
            <a:xfrm>
              <a:off x="9241262" y="4467907"/>
              <a:ext cx="31691" cy="23768"/>
            </a:xfrm>
            <a:custGeom>
              <a:avLst/>
              <a:gdLst>
                <a:gd name="connsiteX0" fmla="*/ 355 w 40885"/>
                <a:gd name="connsiteY0" fmla="*/ 2717 h 30664"/>
                <a:gd name="connsiteX1" fmla="*/ 38788 w 40885"/>
                <a:gd name="connsiteY1" fmla="*/ 39923 h 30664"/>
                <a:gd name="connsiteX2" fmla="*/ 41138 w 40885"/>
                <a:gd name="connsiteY2" fmla="*/ 37776 h 30664"/>
                <a:gd name="connsiteX3" fmla="*/ 2604 w 40885"/>
                <a:gd name="connsiteY3" fmla="*/ 570 h 30664"/>
                <a:gd name="connsiteX4" fmla="*/ 355 w 40885"/>
                <a:gd name="connsiteY4" fmla="*/ 2717 h 30664"/>
                <a:gd name="connsiteX5" fmla="*/ 355 w 40885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355" y="2717"/>
                  </a:moveTo>
                  <a:cubicBezTo>
                    <a:pt x="11599" y="16516"/>
                    <a:pt x="24478" y="28986"/>
                    <a:pt x="38788" y="39923"/>
                  </a:cubicBezTo>
                  <a:cubicBezTo>
                    <a:pt x="40423" y="41149"/>
                    <a:pt x="42774" y="39003"/>
                    <a:pt x="41138" y="37776"/>
                  </a:cubicBezTo>
                  <a:cubicBezTo>
                    <a:pt x="26829" y="26737"/>
                    <a:pt x="13949" y="14369"/>
                    <a:pt x="2604" y="570"/>
                  </a:cubicBezTo>
                  <a:cubicBezTo>
                    <a:pt x="1377" y="-1065"/>
                    <a:pt x="-872" y="1184"/>
                    <a:pt x="355" y="2717"/>
                  </a:cubicBezTo>
                  <a:lnTo>
                    <a:pt x="35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0" name="任意多边形: 形状 949">
              <a:extLst>
                <a:ext uri="{FF2B5EF4-FFF2-40B4-BE49-F238E27FC236}">
                  <a16:creationId xmlns:a16="http://schemas.microsoft.com/office/drawing/2014/main" id="{4A09A23C-CD27-439F-A674-70E3212D2A9B}"/>
                </a:ext>
              </a:extLst>
            </p:cNvPr>
            <p:cNvSpPr/>
            <p:nvPr/>
          </p:nvSpPr>
          <p:spPr>
            <a:xfrm>
              <a:off x="9255018" y="4474958"/>
              <a:ext cx="15845" cy="15845"/>
            </a:xfrm>
            <a:custGeom>
              <a:avLst/>
              <a:gdLst>
                <a:gd name="connsiteX0" fmla="*/ 394 w 20442"/>
                <a:gd name="connsiteY0" fmla="*/ 2717 h 20442"/>
                <a:gd name="connsiteX1" fmla="*/ 25232 w 20442"/>
                <a:gd name="connsiteY1" fmla="*/ 25102 h 20442"/>
                <a:gd name="connsiteX2" fmla="*/ 26867 w 20442"/>
                <a:gd name="connsiteY2" fmla="*/ 22444 h 20442"/>
                <a:gd name="connsiteX3" fmla="*/ 2745 w 20442"/>
                <a:gd name="connsiteY3" fmla="*/ 570 h 20442"/>
                <a:gd name="connsiteX4" fmla="*/ 394 w 20442"/>
                <a:gd name="connsiteY4" fmla="*/ 2717 h 20442"/>
                <a:gd name="connsiteX5" fmla="*/ 394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394" y="2717"/>
                  </a:moveTo>
                  <a:cubicBezTo>
                    <a:pt x="7651" y="11200"/>
                    <a:pt x="15828" y="18662"/>
                    <a:pt x="25232" y="25102"/>
                  </a:cubicBezTo>
                  <a:cubicBezTo>
                    <a:pt x="26970" y="26328"/>
                    <a:pt x="28605" y="23569"/>
                    <a:pt x="26867" y="22444"/>
                  </a:cubicBezTo>
                  <a:cubicBezTo>
                    <a:pt x="17770" y="16107"/>
                    <a:pt x="9798" y="8850"/>
                    <a:pt x="2745" y="570"/>
                  </a:cubicBezTo>
                  <a:cubicBezTo>
                    <a:pt x="1416" y="-1065"/>
                    <a:pt x="-935" y="1184"/>
                    <a:pt x="394" y="2717"/>
                  </a:cubicBezTo>
                  <a:lnTo>
                    <a:pt x="39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1" name="任意多边形: 形状 950">
              <a:extLst>
                <a:ext uri="{FF2B5EF4-FFF2-40B4-BE49-F238E27FC236}">
                  <a16:creationId xmlns:a16="http://schemas.microsoft.com/office/drawing/2014/main" id="{EA64C566-253B-4E75-A284-8A5D3680CEE8}"/>
                </a:ext>
              </a:extLst>
            </p:cNvPr>
            <p:cNvSpPr/>
            <p:nvPr/>
          </p:nvSpPr>
          <p:spPr>
            <a:xfrm>
              <a:off x="9266660" y="4479946"/>
              <a:ext cx="15845" cy="15845"/>
            </a:xfrm>
            <a:custGeom>
              <a:avLst/>
              <a:gdLst>
                <a:gd name="connsiteX0" fmla="*/ 500 w 20442"/>
                <a:gd name="connsiteY0" fmla="*/ 2618 h 20442"/>
                <a:gd name="connsiteX1" fmla="*/ 27893 w 20442"/>
                <a:gd name="connsiteY1" fmla="*/ 22550 h 20442"/>
                <a:gd name="connsiteX2" fmla="*/ 29529 w 20442"/>
                <a:gd name="connsiteY2" fmla="*/ 19893 h 20442"/>
                <a:gd name="connsiteX3" fmla="*/ 2749 w 20442"/>
                <a:gd name="connsiteY3" fmla="*/ 472 h 20442"/>
                <a:gd name="connsiteX4" fmla="*/ 500 w 20442"/>
                <a:gd name="connsiteY4" fmla="*/ 2618 h 20442"/>
                <a:gd name="connsiteX5" fmla="*/ 500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00" y="2618"/>
                  </a:moveTo>
                  <a:cubicBezTo>
                    <a:pt x="8882" y="10285"/>
                    <a:pt x="17876" y="16928"/>
                    <a:pt x="27893" y="22550"/>
                  </a:cubicBezTo>
                  <a:cubicBezTo>
                    <a:pt x="29733" y="23572"/>
                    <a:pt x="31369" y="20915"/>
                    <a:pt x="29529" y="19893"/>
                  </a:cubicBezTo>
                  <a:cubicBezTo>
                    <a:pt x="19716" y="14373"/>
                    <a:pt x="10824" y="7933"/>
                    <a:pt x="2749" y="472"/>
                  </a:cubicBezTo>
                  <a:cubicBezTo>
                    <a:pt x="1318" y="-959"/>
                    <a:pt x="-1033" y="1187"/>
                    <a:pt x="500" y="2618"/>
                  </a:cubicBezTo>
                  <a:lnTo>
                    <a:pt x="500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2" name="任意多边形: 形状 951">
              <a:extLst>
                <a:ext uri="{FF2B5EF4-FFF2-40B4-BE49-F238E27FC236}">
                  <a16:creationId xmlns:a16="http://schemas.microsoft.com/office/drawing/2014/main" id="{78F5BC68-1CB6-4E74-B282-34C38EC9E0F6}"/>
                </a:ext>
              </a:extLst>
            </p:cNvPr>
            <p:cNvSpPr/>
            <p:nvPr/>
          </p:nvSpPr>
          <p:spPr>
            <a:xfrm>
              <a:off x="9297243" y="4433995"/>
              <a:ext cx="31691" cy="23768"/>
            </a:xfrm>
            <a:custGeom>
              <a:avLst/>
              <a:gdLst>
                <a:gd name="connsiteX0" fmla="*/ 499 w 40885"/>
                <a:gd name="connsiteY0" fmla="*/ 2619 h 30664"/>
                <a:gd name="connsiteX1" fmla="*/ 38522 w 40885"/>
                <a:gd name="connsiteY1" fmla="*/ 37678 h 30664"/>
                <a:gd name="connsiteX2" fmla="*/ 40874 w 40885"/>
                <a:gd name="connsiteY2" fmla="*/ 35532 h 30664"/>
                <a:gd name="connsiteX3" fmla="*/ 2850 w 40885"/>
                <a:gd name="connsiteY3" fmla="*/ 472 h 30664"/>
                <a:gd name="connsiteX4" fmla="*/ 499 w 40885"/>
                <a:gd name="connsiteY4" fmla="*/ 2619 h 30664"/>
                <a:gd name="connsiteX5" fmla="*/ 499 w 40885"/>
                <a:gd name="connsiteY5" fmla="*/ 2619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499" y="2619"/>
                  </a:moveTo>
                  <a:cubicBezTo>
                    <a:pt x="13173" y="14271"/>
                    <a:pt x="25848" y="26025"/>
                    <a:pt x="38522" y="37678"/>
                  </a:cubicBezTo>
                  <a:cubicBezTo>
                    <a:pt x="40056" y="39109"/>
                    <a:pt x="42305" y="36860"/>
                    <a:pt x="40874" y="35532"/>
                  </a:cubicBezTo>
                  <a:cubicBezTo>
                    <a:pt x="28199" y="23777"/>
                    <a:pt x="15524" y="12124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3" name="任意多边形: 形状 952">
              <a:extLst>
                <a:ext uri="{FF2B5EF4-FFF2-40B4-BE49-F238E27FC236}">
                  <a16:creationId xmlns:a16="http://schemas.microsoft.com/office/drawing/2014/main" id="{9E547257-6FF8-435E-936D-9A06A83CE102}"/>
                </a:ext>
              </a:extLst>
            </p:cNvPr>
            <p:cNvSpPr/>
            <p:nvPr/>
          </p:nvSpPr>
          <p:spPr>
            <a:xfrm>
              <a:off x="9303543" y="4429050"/>
              <a:ext cx="23768" cy="23768"/>
            </a:xfrm>
            <a:custGeom>
              <a:avLst/>
              <a:gdLst>
                <a:gd name="connsiteX0" fmla="*/ 445 w 30664"/>
                <a:gd name="connsiteY0" fmla="*/ 2660 h 30664"/>
                <a:gd name="connsiteX1" fmla="*/ 29372 w 30664"/>
                <a:gd name="connsiteY1" fmla="*/ 32201 h 30664"/>
                <a:gd name="connsiteX2" fmla="*/ 31723 w 30664"/>
                <a:gd name="connsiteY2" fmla="*/ 30054 h 30664"/>
                <a:gd name="connsiteX3" fmla="*/ 2796 w 30664"/>
                <a:gd name="connsiteY3" fmla="*/ 514 h 30664"/>
                <a:gd name="connsiteX4" fmla="*/ 445 w 30664"/>
                <a:gd name="connsiteY4" fmla="*/ 2660 h 30664"/>
                <a:gd name="connsiteX5" fmla="*/ 445 w 30664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0"/>
                  </a:moveTo>
                  <a:cubicBezTo>
                    <a:pt x="10054" y="12473"/>
                    <a:pt x="19764" y="22388"/>
                    <a:pt x="29372" y="32201"/>
                  </a:cubicBezTo>
                  <a:cubicBezTo>
                    <a:pt x="30803" y="33631"/>
                    <a:pt x="33154" y="31485"/>
                    <a:pt x="31723" y="30054"/>
                  </a:cubicBezTo>
                  <a:cubicBezTo>
                    <a:pt x="22115" y="20241"/>
                    <a:pt x="12404" y="10327"/>
                    <a:pt x="2796" y="514"/>
                  </a:cubicBezTo>
                  <a:cubicBezTo>
                    <a:pt x="1365" y="-1019"/>
                    <a:pt x="-986" y="1230"/>
                    <a:pt x="445" y="2660"/>
                  </a:cubicBezTo>
                  <a:lnTo>
                    <a:pt x="445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4" name="任意多边形: 形状 953">
              <a:extLst>
                <a:ext uri="{FF2B5EF4-FFF2-40B4-BE49-F238E27FC236}">
                  <a16:creationId xmlns:a16="http://schemas.microsoft.com/office/drawing/2014/main" id="{C20A30C7-35A7-4861-AA26-9EFA00A3CDBF}"/>
                </a:ext>
              </a:extLst>
            </p:cNvPr>
            <p:cNvSpPr/>
            <p:nvPr/>
          </p:nvSpPr>
          <p:spPr>
            <a:xfrm>
              <a:off x="9309001" y="4426911"/>
              <a:ext cx="15845" cy="23768"/>
            </a:xfrm>
            <a:custGeom>
              <a:avLst/>
              <a:gdLst>
                <a:gd name="connsiteX0" fmla="*/ 457 w 20442"/>
                <a:gd name="connsiteY0" fmla="*/ 2660 h 30664"/>
                <a:gd name="connsiteX1" fmla="*/ 27953 w 20442"/>
                <a:gd name="connsiteY1" fmla="*/ 32201 h 30664"/>
                <a:gd name="connsiteX2" fmla="*/ 30304 w 20442"/>
                <a:gd name="connsiteY2" fmla="*/ 30054 h 30664"/>
                <a:gd name="connsiteX3" fmla="*/ 2808 w 20442"/>
                <a:gd name="connsiteY3" fmla="*/ 514 h 30664"/>
                <a:gd name="connsiteX4" fmla="*/ 457 w 20442"/>
                <a:gd name="connsiteY4" fmla="*/ 2660 h 30664"/>
                <a:gd name="connsiteX5" fmla="*/ 457 w 20442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57" y="2660"/>
                  </a:moveTo>
                  <a:cubicBezTo>
                    <a:pt x="10167" y="12064"/>
                    <a:pt x="19367" y="21877"/>
                    <a:pt x="27953" y="32201"/>
                  </a:cubicBezTo>
                  <a:cubicBezTo>
                    <a:pt x="29282" y="33734"/>
                    <a:pt x="31530" y="31587"/>
                    <a:pt x="30304" y="30054"/>
                  </a:cubicBezTo>
                  <a:cubicBezTo>
                    <a:pt x="21615" y="19730"/>
                    <a:pt x="12518" y="9918"/>
                    <a:pt x="2808" y="514"/>
                  </a:cubicBezTo>
                  <a:cubicBezTo>
                    <a:pt x="1275" y="-1019"/>
                    <a:pt x="-974" y="1230"/>
                    <a:pt x="457" y="2660"/>
                  </a:cubicBezTo>
                  <a:lnTo>
                    <a:pt x="457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5" name="任意多边形: 形状 954">
              <a:extLst>
                <a:ext uri="{FF2B5EF4-FFF2-40B4-BE49-F238E27FC236}">
                  <a16:creationId xmlns:a16="http://schemas.microsoft.com/office/drawing/2014/main" id="{6BE1A287-CFAE-4938-9F1B-EB5C14658980}"/>
                </a:ext>
              </a:extLst>
            </p:cNvPr>
            <p:cNvSpPr/>
            <p:nvPr/>
          </p:nvSpPr>
          <p:spPr>
            <a:xfrm>
              <a:off x="9318587" y="4426865"/>
              <a:ext cx="7922" cy="7922"/>
            </a:xfrm>
            <a:custGeom>
              <a:avLst/>
              <a:gdLst>
                <a:gd name="connsiteX0" fmla="*/ 457 w 10221"/>
                <a:gd name="connsiteY0" fmla="*/ 2618 h 10221"/>
                <a:gd name="connsiteX1" fmla="*/ 16914 w 10221"/>
                <a:gd name="connsiteY1" fmla="*/ 19382 h 10221"/>
                <a:gd name="connsiteX2" fmla="*/ 19265 w 10221"/>
                <a:gd name="connsiteY2" fmla="*/ 17235 h 10221"/>
                <a:gd name="connsiteX3" fmla="*/ 2808 w 10221"/>
                <a:gd name="connsiteY3" fmla="*/ 472 h 10221"/>
                <a:gd name="connsiteX4" fmla="*/ 457 w 10221"/>
                <a:gd name="connsiteY4" fmla="*/ 2618 h 10221"/>
                <a:gd name="connsiteX5" fmla="*/ 457 w 10221"/>
                <a:gd name="connsiteY5" fmla="*/ 261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57" y="2618"/>
                  </a:moveTo>
                  <a:cubicBezTo>
                    <a:pt x="5874" y="8240"/>
                    <a:pt x="11394" y="13760"/>
                    <a:pt x="16914" y="19382"/>
                  </a:cubicBezTo>
                  <a:cubicBezTo>
                    <a:pt x="18345" y="20812"/>
                    <a:pt x="20696" y="18666"/>
                    <a:pt x="19265" y="17235"/>
                  </a:cubicBezTo>
                  <a:cubicBezTo>
                    <a:pt x="13745" y="11613"/>
                    <a:pt x="8328" y="6094"/>
                    <a:pt x="2808" y="472"/>
                  </a:cubicBezTo>
                  <a:cubicBezTo>
                    <a:pt x="1275" y="-959"/>
                    <a:pt x="-974" y="1187"/>
                    <a:pt x="457" y="2618"/>
                  </a:cubicBezTo>
                  <a:lnTo>
                    <a:pt x="45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6" name="任意多边形: 形状 955">
              <a:extLst>
                <a:ext uri="{FF2B5EF4-FFF2-40B4-BE49-F238E27FC236}">
                  <a16:creationId xmlns:a16="http://schemas.microsoft.com/office/drawing/2014/main" id="{4D12F312-2E0F-4B91-B5AA-9E4757CB9152}"/>
                </a:ext>
              </a:extLst>
            </p:cNvPr>
            <p:cNvSpPr/>
            <p:nvPr/>
          </p:nvSpPr>
          <p:spPr>
            <a:xfrm>
              <a:off x="9425807" y="4440768"/>
              <a:ext cx="15845" cy="39613"/>
            </a:xfrm>
            <a:custGeom>
              <a:avLst/>
              <a:gdLst>
                <a:gd name="connsiteX0" fmla="*/ 217 w 20442"/>
                <a:gd name="connsiteY0" fmla="*/ 2364 h 51107"/>
                <a:gd name="connsiteX1" fmla="*/ 25873 w 20442"/>
                <a:gd name="connsiteY1" fmla="*/ 51631 h 51107"/>
                <a:gd name="connsiteX2" fmla="*/ 28735 w 20442"/>
                <a:gd name="connsiteY2" fmla="*/ 50098 h 51107"/>
                <a:gd name="connsiteX3" fmla="*/ 3079 w 20442"/>
                <a:gd name="connsiteY3" fmla="*/ 831 h 51107"/>
                <a:gd name="connsiteX4" fmla="*/ 217 w 20442"/>
                <a:gd name="connsiteY4" fmla="*/ 2364 h 51107"/>
                <a:gd name="connsiteX5" fmla="*/ 217 w 20442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17" y="2364"/>
                  </a:moveTo>
                  <a:cubicBezTo>
                    <a:pt x="8803" y="18820"/>
                    <a:pt x="17287" y="35174"/>
                    <a:pt x="25873" y="51631"/>
                  </a:cubicBezTo>
                  <a:cubicBezTo>
                    <a:pt x="26793" y="53471"/>
                    <a:pt x="29655" y="51835"/>
                    <a:pt x="28735" y="50098"/>
                  </a:cubicBezTo>
                  <a:cubicBezTo>
                    <a:pt x="20149" y="33641"/>
                    <a:pt x="11665" y="17287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7" name="任意多边形: 形状 956">
              <a:extLst>
                <a:ext uri="{FF2B5EF4-FFF2-40B4-BE49-F238E27FC236}">
                  <a16:creationId xmlns:a16="http://schemas.microsoft.com/office/drawing/2014/main" id="{88A3ADCF-570A-4AA6-AA1D-147819A83DC4}"/>
                </a:ext>
              </a:extLst>
            </p:cNvPr>
            <p:cNvSpPr/>
            <p:nvPr/>
          </p:nvSpPr>
          <p:spPr>
            <a:xfrm>
              <a:off x="9443238" y="4463082"/>
              <a:ext cx="23768" cy="31691"/>
            </a:xfrm>
            <a:custGeom>
              <a:avLst/>
              <a:gdLst>
                <a:gd name="connsiteX0" fmla="*/ 217 w 30664"/>
                <a:gd name="connsiteY0" fmla="*/ 2298 h 40885"/>
                <a:gd name="connsiteX1" fmla="*/ 28020 w 30664"/>
                <a:gd name="connsiteY1" fmla="*/ 48498 h 40885"/>
                <a:gd name="connsiteX2" fmla="*/ 30882 w 30664"/>
                <a:gd name="connsiteY2" fmla="*/ 46965 h 40885"/>
                <a:gd name="connsiteX3" fmla="*/ 3079 w 30664"/>
                <a:gd name="connsiteY3" fmla="*/ 764 h 40885"/>
                <a:gd name="connsiteX4" fmla="*/ 217 w 30664"/>
                <a:gd name="connsiteY4" fmla="*/ 2298 h 40885"/>
                <a:gd name="connsiteX5" fmla="*/ 217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98"/>
                  </a:moveTo>
                  <a:cubicBezTo>
                    <a:pt x="9519" y="17732"/>
                    <a:pt x="18820" y="33064"/>
                    <a:pt x="28020" y="48498"/>
                  </a:cubicBezTo>
                  <a:cubicBezTo>
                    <a:pt x="29042" y="50236"/>
                    <a:pt x="31904" y="48703"/>
                    <a:pt x="30882" y="46965"/>
                  </a:cubicBezTo>
                  <a:cubicBezTo>
                    <a:pt x="21580" y="31531"/>
                    <a:pt x="12278" y="1619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8" name="任意多边形: 形状 957">
              <a:extLst>
                <a:ext uri="{FF2B5EF4-FFF2-40B4-BE49-F238E27FC236}">
                  <a16:creationId xmlns:a16="http://schemas.microsoft.com/office/drawing/2014/main" id="{F56B042F-9C1C-4FA8-89F5-E7F340C2C5FE}"/>
                </a:ext>
              </a:extLst>
            </p:cNvPr>
            <p:cNvSpPr/>
            <p:nvPr/>
          </p:nvSpPr>
          <p:spPr>
            <a:xfrm>
              <a:off x="9449684" y="4456982"/>
              <a:ext cx="23768" cy="47536"/>
            </a:xfrm>
            <a:custGeom>
              <a:avLst/>
              <a:gdLst>
                <a:gd name="connsiteX0" fmla="*/ 180 w 30664"/>
                <a:gd name="connsiteY0" fmla="*/ 2298 h 61328"/>
                <a:gd name="connsiteX1" fmla="*/ 30742 w 30664"/>
                <a:gd name="connsiteY1" fmla="*/ 61480 h 61328"/>
                <a:gd name="connsiteX2" fmla="*/ 33604 w 30664"/>
                <a:gd name="connsiteY2" fmla="*/ 59946 h 61328"/>
                <a:gd name="connsiteX3" fmla="*/ 3042 w 30664"/>
                <a:gd name="connsiteY3" fmla="*/ 764 h 61328"/>
                <a:gd name="connsiteX4" fmla="*/ 180 w 30664"/>
                <a:gd name="connsiteY4" fmla="*/ 2298 h 61328"/>
                <a:gd name="connsiteX5" fmla="*/ 180 w 30664"/>
                <a:gd name="connsiteY5" fmla="*/ 229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61328">
                  <a:moveTo>
                    <a:pt x="180" y="2298"/>
                  </a:moveTo>
                  <a:cubicBezTo>
                    <a:pt x="10401" y="22025"/>
                    <a:pt x="20521" y="41752"/>
                    <a:pt x="30742" y="61480"/>
                  </a:cubicBezTo>
                  <a:cubicBezTo>
                    <a:pt x="31662" y="63320"/>
                    <a:pt x="34524" y="61684"/>
                    <a:pt x="33604" y="59946"/>
                  </a:cubicBezTo>
                  <a:cubicBezTo>
                    <a:pt x="23383" y="40219"/>
                    <a:pt x="13263" y="20492"/>
                    <a:pt x="3042" y="764"/>
                  </a:cubicBezTo>
                  <a:cubicBezTo>
                    <a:pt x="2122" y="-973"/>
                    <a:pt x="-740" y="560"/>
                    <a:pt x="180" y="2298"/>
                  </a:cubicBezTo>
                  <a:lnTo>
                    <a:pt x="180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9" name="任意多边形: 形状 958">
              <a:extLst>
                <a:ext uri="{FF2B5EF4-FFF2-40B4-BE49-F238E27FC236}">
                  <a16:creationId xmlns:a16="http://schemas.microsoft.com/office/drawing/2014/main" id="{4EEB1514-6E6E-43BB-833A-47E87C7CB527}"/>
                </a:ext>
              </a:extLst>
            </p:cNvPr>
            <p:cNvSpPr/>
            <p:nvPr/>
          </p:nvSpPr>
          <p:spPr>
            <a:xfrm>
              <a:off x="9521732" y="4515010"/>
              <a:ext cx="23768" cy="23768"/>
            </a:xfrm>
            <a:custGeom>
              <a:avLst/>
              <a:gdLst>
                <a:gd name="connsiteX0" fmla="*/ 2796 w 30664"/>
                <a:gd name="connsiteY0" fmla="*/ 37413 h 30664"/>
                <a:gd name="connsiteX1" fmla="*/ 37140 w 30664"/>
                <a:gd name="connsiteY1" fmla="*/ 2660 h 30664"/>
                <a:gd name="connsiteX2" fmla="*/ 34789 w 30664"/>
                <a:gd name="connsiteY2" fmla="*/ 514 h 30664"/>
                <a:gd name="connsiteX3" fmla="*/ 445 w 30664"/>
                <a:gd name="connsiteY3" fmla="*/ 35267 h 30664"/>
                <a:gd name="connsiteX4" fmla="*/ 2796 w 30664"/>
                <a:gd name="connsiteY4" fmla="*/ 37413 h 30664"/>
                <a:gd name="connsiteX5" fmla="*/ 2796 w 30664"/>
                <a:gd name="connsiteY5" fmla="*/ 3741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796" y="37413"/>
                  </a:moveTo>
                  <a:cubicBezTo>
                    <a:pt x="14244" y="25863"/>
                    <a:pt x="25692" y="14313"/>
                    <a:pt x="37140" y="2660"/>
                  </a:cubicBezTo>
                  <a:cubicBezTo>
                    <a:pt x="38571" y="1230"/>
                    <a:pt x="36323" y="-1019"/>
                    <a:pt x="34789" y="514"/>
                  </a:cubicBezTo>
                  <a:cubicBezTo>
                    <a:pt x="23341" y="12064"/>
                    <a:pt x="11894" y="23615"/>
                    <a:pt x="445" y="35267"/>
                  </a:cubicBezTo>
                  <a:cubicBezTo>
                    <a:pt x="-986" y="36596"/>
                    <a:pt x="1365" y="38844"/>
                    <a:pt x="2796" y="37413"/>
                  </a:cubicBezTo>
                  <a:lnTo>
                    <a:pt x="2796" y="374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0" name="任意多边形: 形状 959">
              <a:extLst>
                <a:ext uri="{FF2B5EF4-FFF2-40B4-BE49-F238E27FC236}">
                  <a16:creationId xmlns:a16="http://schemas.microsoft.com/office/drawing/2014/main" id="{631B7B02-7C90-4FF8-9A8A-437E894BBADF}"/>
                </a:ext>
              </a:extLst>
            </p:cNvPr>
            <p:cNvSpPr/>
            <p:nvPr/>
          </p:nvSpPr>
          <p:spPr>
            <a:xfrm>
              <a:off x="9512305" y="4509930"/>
              <a:ext cx="31691" cy="31691"/>
            </a:xfrm>
            <a:custGeom>
              <a:avLst/>
              <a:gdLst>
                <a:gd name="connsiteX0" fmla="*/ 2796 w 40885"/>
                <a:gd name="connsiteY0" fmla="*/ 45297 h 40885"/>
                <a:gd name="connsiteX1" fmla="*/ 42455 w 40885"/>
                <a:gd name="connsiteY1" fmla="*/ 2674 h 40885"/>
                <a:gd name="connsiteX2" fmla="*/ 40105 w 40885"/>
                <a:gd name="connsiteY2" fmla="*/ 527 h 40885"/>
                <a:gd name="connsiteX3" fmla="*/ 445 w 40885"/>
                <a:gd name="connsiteY3" fmla="*/ 43151 h 40885"/>
                <a:gd name="connsiteX4" fmla="*/ 2796 w 40885"/>
                <a:gd name="connsiteY4" fmla="*/ 45297 h 40885"/>
                <a:gd name="connsiteX5" fmla="*/ 2796 w 40885"/>
                <a:gd name="connsiteY5" fmla="*/ 4529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96" y="45297"/>
                  </a:moveTo>
                  <a:cubicBezTo>
                    <a:pt x="15982" y="31090"/>
                    <a:pt x="29270" y="16882"/>
                    <a:pt x="42455" y="2674"/>
                  </a:cubicBezTo>
                  <a:cubicBezTo>
                    <a:pt x="43887" y="1141"/>
                    <a:pt x="41536" y="-1006"/>
                    <a:pt x="40105" y="527"/>
                  </a:cubicBezTo>
                  <a:cubicBezTo>
                    <a:pt x="26919" y="14735"/>
                    <a:pt x="13631" y="28943"/>
                    <a:pt x="445" y="43151"/>
                  </a:cubicBezTo>
                  <a:cubicBezTo>
                    <a:pt x="-986" y="44582"/>
                    <a:pt x="1365" y="46831"/>
                    <a:pt x="2796" y="45297"/>
                  </a:cubicBezTo>
                  <a:lnTo>
                    <a:pt x="2796" y="452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1" name="任意多边形: 形状 960">
              <a:extLst>
                <a:ext uri="{FF2B5EF4-FFF2-40B4-BE49-F238E27FC236}">
                  <a16:creationId xmlns:a16="http://schemas.microsoft.com/office/drawing/2014/main" id="{9C04472E-3298-49E5-97D1-2438E84C826C}"/>
                </a:ext>
              </a:extLst>
            </p:cNvPr>
            <p:cNvSpPr/>
            <p:nvPr/>
          </p:nvSpPr>
          <p:spPr>
            <a:xfrm>
              <a:off x="9515507" y="4511079"/>
              <a:ext cx="15845" cy="23768"/>
            </a:xfrm>
            <a:custGeom>
              <a:avLst/>
              <a:gdLst>
                <a:gd name="connsiteX0" fmla="*/ 3161 w 20442"/>
                <a:gd name="connsiteY0" fmla="*/ 30833 h 30664"/>
                <a:gd name="connsiteX1" fmla="*/ 26057 w 20442"/>
                <a:gd name="connsiteY1" fmla="*/ 2213 h 30664"/>
                <a:gd name="connsiteX2" fmla="*/ 23195 w 20442"/>
                <a:gd name="connsiteY2" fmla="*/ 680 h 30664"/>
                <a:gd name="connsiteX3" fmla="*/ 299 w 20442"/>
                <a:gd name="connsiteY3" fmla="*/ 29300 h 30664"/>
                <a:gd name="connsiteX4" fmla="*/ 3161 w 20442"/>
                <a:gd name="connsiteY4" fmla="*/ 30833 h 30664"/>
                <a:gd name="connsiteX5" fmla="*/ 3161 w 20442"/>
                <a:gd name="connsiteY5" fmla="*/ 3083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161" y="30833"/>
                  </a:moveTo>
                  <a:cubicBezTo>
                    <a:pt x="10827" y="21328"/>
                    <a:pt x="18391" y="11719"/>
                    <a:pt x="26057" y="2213"/>
                  </a:cubicBezTo>
                  <a:cubicBezTo>
                    <a:pt x="27386" y="680"/>
                    <a:pt x="24524" y="-955"/>
                    <a:pt x="23195" y="680"/>
                  </a:cubicBezTo>
                  <a:cubicBezTo>
                    <a:pt x="15529" y="10186"/>
                    <a:pt x="7965" y="19794"/>
                    <a:pt x="299" y="29300"/>
                  </a:cubicBezTo>
                  <a:cubicBezTo>
                    <a:pt x="-927" y="30833"/>
                    <a:pt x="1935" y="32367"/>
                    <a:pt x="3161" y="30833"/>
                  </a:cubicBezTo>
                  <a:lnTo>
                    <a:pt x="3161" y="308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2" name="任意多边形: 形状 961">
              <a:extLst>
                <a:ext uri="{FF2B5EF4-FFF2-40B4-BE49-F238E27FC236}">
                  <a16:creationId xmlns:a16="http://schemas.microsoft.com/office/drawing/2014/main" id="{3F191F8A-3F14-4D52-BD37-71982437F8FB}"/>
                </a:ext>
              </a:extLst>
            </p:cNvPr>
            <p:cNvSpPr/>
            <p:nvPr/>
          </p:nvSpPr>
          <p:spPr>
            <a:xfrm>
              <a:off x="9578392" y="4551042"/>
              <a:ext cx="7922" cy="39613"/>
            </a:xfrm>
            <a:custGeom>
              <a:avLst/>
              <a:gdLst>
                <a:gd name="connsiteX0" fmla="*/ 20 w 0"/>
                <a:gd name="connsiteY0" fmla="*/ 1456 h 51107"/>
                <a:gd name="connsiteX1" fmla="*/ 3802 w 0"/>
                <a:gd name="connsiteY1" fmla="*/ 51848 h 51107"/>
                <a:gd name="connsiteX2" fmla="*/ 7073 w 0"/>
                <a:gd name="connsiteY2" fmla="*/ 51848 h 51107"/>
                <a:gd name="connsiteX3" fmla="*/ 3291 w 0"/>
                <a:gd name="connsiteY3" fmla="*/ 1456 h 51107"/>
                <a:gd name="connsiteX4" fmla="*/ 20 w 0"/>
                <a:gd name="connsiteY4" fmla="*/ 1456 h 51107"/>
                <a:gd name="connsiteX5" fmla="*/ 20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20" y="1456"/>
                  </a:moveTo>
                  <a:cubicBezTo>
                    <a:pt x="1758" y="18220"/>
                    <a:pt x="3087" y="35085"/>
                    <a:pt x="3802" y="51848"/>
                  </a:cubicBezTo>
                  <a:cubicBezTo>
                    <a:pt x="3904" y="53790"/>
                    <a:pt x="7175" y="53892"/>
                    <a:pt x="7073" y="51848"/>
                  </a:cubicBezTo>
                  <a:cubicBezTo>
                    <a:pt x="6358" y="34983"/>
                    <a:pt x="5029" y="18220"/>
                    <a:pt x="3291" y="1456"/>
                  </a:cubicBezTo>
                  <a:cubicBezTo>
                    <a:pt x="2985" y="-485"/>
                    <a:pt x="-286" y="-485"/>
                    <a:pt x="20" y="1456"/>
                  </a:cubicBezTo>
                  <a:lnTo>
                    <a:pt x="20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3" name="任意多边形: 形状 962">
              <a:extLst>
                <a:ext uri="{FF2B5EF4-FFF2-40B4-BE49-F238E27FC236}">
                  <a16:creationId xmlns:a16="http://schemas.microsoft.com/office/drawing/2014/main" id="{A938FE34-71F8-42EF-B66E-B355131EA88D}"/>
                </a:ext>
              </a:extLst>
            </p:cNvPr>
            <p:cNvSpPr/>
            <p:nvPr/>
          </p:nvSpPr>
          <p:spPr>
            <a:xfrm>
              <a:off x="9570557" y="4553101"/>
              <a:ext cx="7922" cy="31691"/>
            </a:xfrm>
            <a:custGeom>
              <a:avLst/>
              <a:gdLst>
                <a:gd name="connsiteX0" fmla="*/ 9 w 10221"/>
                <a:gd name="connsiteY0" fmla="*/ 1457 h 40885"/>
                <a:gd name="connsiteX1" fmla="*/ 7062 w 10221"/>
                <a:gd name="connsiteY1" fmla="*/ 47044 h 40885"/>
                <a:gd name="connsiteX2" fmla="*/ 10231 w 10221"/>
                <a:gd name="connsiteY2" fmla="*/ 46227 h 40885"/>
                <a:gd name="connsiteX3" fmla="*/ 3280 w 10221"/>
                <a:gd name="connsiteY3" fmla="*/ 1457 h 40885"/>
                <a:gd name="connsiteX4" fmla="*/ 9 w 10221"/>
                <a:gd name="connsiteY4" fmla="*/ 1457 h 40885"/>
                <a:gd name="connsiteX5" fmla="*/ 9 w 10221"/>
                <a:gd name="connsiteY5" fmla="*/ 14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9" y="1457"/>
                  </a:moveTo>
                  <a:cubicBezTo>
                    <a:pt x="1338" y="16789"/>
                    <a:pt x="3689" y="32019"/>
                    <a:pt x="7062" y="47044"/>
                  </a:cubicBezTo>
                  <a:cubicBezTo>
                    <a:pt x="7471" y="48986"/>
                    <a:pt x="10639" y="48169"/>
                    <a:pt x="10231" y="46227"/>
                  </a:cubicBezTo>
                  <a:cubicBezTo>
                    <a:pt x="6858" y="31405"/>
                    <a:pt x="4507" y="16584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4" name="任意多边形: 形状 963">
              <a:extLst>
                <a:ext uri="{FF2B5EF4-FFF2-40B4-BE49-F238E27FC236}">
                  <a16:creationId xmlns:a16="http://schemas.microsoft.com/office/drawing/2014/main" id="{4685A72C-92EB-454F-94C8-22A755BFAC9C}"/>
                </a:ext>
              </a:extLst>
            </p:cNvPr>
            <p:cNvSpPr/>
            <p:nvPr/>
          </p:nvSpPr>
          <p:spPr>
            <a:xfrm>
              <a:off x="9565407" y="4547080"/>
              <a:ext cx="7922" cy="39613"/>
            </a:xfrm>
            <a:custGeom>
              <a:avLst/>
              <a:gdLst>
                <a:gd name="connsiteX0" fmla="*/ 9 w 0"/>
                <a:gd name="connsiteY0" fmla="*/ 1456 h 51107"/>
                <a:gd name="connsiteX1" fmla="*/ 4404 w 0"/>
                <a:gd name="connsiteY1" fmla="*/ 50519 h 51107"/>
                <a:gd name="connsiteX2" fmla="*/ 7675 w 0"/>
                <a:gd name="connsiteY2" fmla="*/ 50519 h 51107"/>
                <a:gd name="connsiteX3" fmla="*/ 3280 w 0"/>
                <a:gd name="connsiteY3" fmla="*/ 1456 h 51107"/>
                <a:gd name="connsiteX4" fmla="*/ 9 w 0"/>
                <a:gd name="connsiteY4" fmla="*/ 1456 h 51107"/>
                <a:gd name="connsiteX5" fmla="*/ 9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9" y="1456"/>
                  </a:moveTo>
                  <a:cubicBezTo>
                    <a:pt x="1440" y="17811"/>
                    <a:pt x="2973" y="34165"/>
                    <a:pt x="4404" y="50519"/>
                  </a:cubicBezTo>
                  <a:cubicBezTo>
                    <a:pt x="4609" y="52462"/>
                    <a:pt x="7880" y="52564"/>
                    <a:pt x="7675" y="50519"/>
                  </a:cubicBezTo>
                  <a:cubicBezTo>
                    <a:pt x="6244" y="34165"/>
                    <a:pt x="4711" y="17811"/>
                    <a:pt x="3280" y="1456"/>
                  </a:cubicBezTo>
                  <a:cubicBezTo>
                    <a:pt x="3076" y="-485"/>
                    <a:pt x="-195" y="-485"/>
                    <a:pt x="9" y="1456"/>
                  </a:cubicBezTo>
                  <a:lnTo>
                    <a:pt x="9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5" name="任意多边形: 形状 964">
              <a:extLst>
                <a:ext uri="{FF2B5EF4-FFF2-40B4-BE49-F238E27FC236}">
                  <a16:creationId xmlns:a16="http://schemas.microsoft.com/office/drawing/2014/main" id="{1A64B909-94AF-4AEA-8C10-E6FDC95BDFF1}"/>
                </a:ext>
              </a:extLst>
            </p:cNvPr>
            <p:cNvSpPr/>
            <p:nvPr/>
          </p:nvSpPr>
          <p:spPr>
            <a:xfrm>
              <a:off x="9568388" y="4584980"/>
              <a:ext cx="23768" cy="15845"/>
            </a:xfrm>
            <a:custGeom>
              <a:avLst/>
              <a:gdLst>
                <a:gd name="connsiteX0" fmla="*/ 2808 w 30664"/>
                <a:gd name="connsiteY0" fmla="*/ 27380 h 20442"/>
                <a:gd name="connsiteX1" fmla="*/ 39196 w 30664"/>
                <a:gd name="connsiteY1" fmla="*/ 2848 h 20442"/>
                <a:gd name="connsiteX2" fmla="*/ 37561 w 30664"/>
                <a:gd name="connsiteY2" fmla="*/ 191 h 20442"/>
                <a:gd name="connsiteX3" fmla="*/ 457 w 30664"/>
                <a:gd name="connsiteY3" fmla="*/ 25233 h 20442"/>
                <a:gd name="connsiteX4" fmla="*/ 2808 w 30664"/>
                <a:gd name="connsiteY4" fmla="*/ 27380 h 20442"/>
                <a:gd name="connsiteX5" fmla="*/ 2808 w 30664"/>
                <a:gd name="connsiteY5" fmla="*/ 27380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08" y="27380"/>
                  </a:moveTo>
                  <a:cubicBezTo>
                    <a:pt x="13847" y="17772"/>
                    <a:pt x="26011" y="9595"/>
                    <a:pt x="39196" y="2848"/>
                  </a:cubicBezTo>
                  <a:cubicBezTo>
                    <a:pt x="41036" y="1928"/>
                    <a:pt x="39401" y="-729"/>
                    <a:pt x="37561" y="191"/>
                  </a:cubicBezTo>
                  <a:cubicBezTo>
                    <a:pt x="24069" y="7039"/>
                    <a:pt x="11803" y="15421"/>
                    <a:pt x="457" y="25233"/>
                  </a:cubicBezTo>
                  <a:cubicBezTo>
                    <a:pt x="-974" y="26460"/>
                    <a:pt x="1275" y="28709"/>
                    <a:pt x="2808" y="27380"/>
                  </a:cubicBezTo>
                  <a:lnTo>
                    <a:pt x="2808" y="2738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6" name="任意多边形: 形状 965">
              <a:extLst>
                <a:ext uri="{FF2B5EF4-FFF2-40B4-BE49-F238E27FC236}">
                  <a16:creationId xmlns:a16="http://schemas.microsoft.com/office/drawing/2014/main" id="{1FD26CB4-6BA1-49D0-B843-AE5A56A8091F}"/>
                </a:ext>
              </a:extLst>
            </p:cNvPr>
            <p:cNvSpPr/>
            <p:nvPr/>
          </p:nvSpPr>
          <p:spPr>
            <a:xfrm>
              <a:off x="9567203" y="4592340"/>
              <a:ext cx="23768" cy="23768"/>
            </a:xfrm>
            <a:custGeom>
              <a:avLst/>
              <a:gdLst>
                <a:gd name="connsiteX0" fmla="*/ 2905 w 30664"/>
                <a:gd name="connsiteY0" fmla="*/ 30662 h 30664"/>
                <a:gd name="connsiteX1" fmla="*/ 40111 w 30664"/>
                <a:gd name="connsiteY1" fmla="*/ 2553 h 30664"/>
                <a:gd name="connsiteX2" fmla="*/ 37760 w 30664"/>
                <a:gd name="connsiteY2" fmla="*/ 407 h 30664"/>
                <a:gd name="connsiteX3" fmla="*/ 554 w 30664"/>
                <a:gd name="connsiteY3" fmla="*/ 28516 h 30664"/>
                <a:gd name="connsiteX4" fmla="*/ 2905 w 30664"/>
                <a:gd name="connsiteY4" fmla="*/ 30662 h 30664"/>
                <a:gd name="connsiteX5" fmla="*/ 2905 w 30664"/>
                <a:gd name="connsiteY5" fmla="*/ 3066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905" y="30662"/>
                  </a:moveTo>
                  <a:cubicBezTo>
                    <a:pt x="15273" y="21259"/>
                    <a:pt x="27641" y="11957"/>
                    <a:pt x="40111" y="2553"/>
                  </a:cubicBezTo>
                  <a:cubicBezTo>
                    <a:pt x="41746" y="1327"/>
                    <a:pt x="39395" y="-922"/>
                    <a:pt x="37760" y="407"/>
                  </a:cubicBezTo>
                  <a:cubicBezTo>
                    <a:pt x="25392" y="9811"/>
                    <a:pt x="13024" y="19112"/>
                    <a:pt x="554" y="28516"/>
                  </a:cubicBezTo>
                  <a:cubicBezTo>
                    <a:pt x="-1082" y="29640"/>
                    <a:pt x="1269" y="31889"/>
                    <a:pt x="2905" y="30662"/>
                  </a:cubicBezTo>
                  <a:lnTo>
                    <a:pt x="2905" y="3066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7" name="任意多边形: 形状 966">
              <a:extLst>
                <a:ext uri="{FF2B5EF4-FFF2-40B4-BE49-F238E27FC236}">
                  <a16:creationId xmlns:a16="http://schemas.microsoft.com/office/drawing/2014/main" id="{8E8EB040-108B-488D-A496-01BC0EE20529}"/>
                </a:ext>
              </a:extLst>
            </p:cNvPr>
            <p:cNvSpPr/>
            <p:nvPr/>
          </p:nvSpPr>
          <p:spPr>
            <a:xfrm>
              <a:off x="9571525" y="4606104"/>
              <a:ext cx="15845" cy="7922"/>
            </a:xfrm>
            <a:custGeom>
              <a:avLst/>
              <a:gdLst>
                <a:gd name="connsiteX0" fmla="*/ 2850 w 20442"/>
                <a:gd name="connsiteY0" fmla="*/ 19446 h 10221"/>
                <a:gd name="connsiteX1" fmla="*/ 27074 w 20442"/>
                <a:gd name="connsiteY1" fmla="*/ 2888 h 10221"/>
                <a:gd name="connsiteX2" fmla="*/ 25439 w 20442"/>
                <a:gd name="connsiteY2" fmla="*/ 230 h 10221"/>
                <a:gd name="connsiteX3" fmla="*/ 499 w 20442"/>
                <a:gd name="connsiteY3" fmla="*/ 17198 h 10221"/>
                <a:gd name="connsiteX4" fmla="*/ 2850 w 20442"/>
                <a:gd name="connsiteY4" fmla="*/ 19446 h 10221"/>
                <a:gd name="connsiteX5" fmla="*/ 2850 w 20442"/>
                <a:gd name="connsiteY5" fmla="*/ 19446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850" y="19446"/>
                  </a:moveTo>
                  <a:cubicBezTo>
                    <a:pt x="10311" y="13007"/>
                    <a:pt x="18284" y="7589"/>
                    <a:pt x="27074" y="2888"/>
                  </a:cubicBezTo>
                  <a:cubicBezTo>
                    <a:pt x="28914" y="1865"/>
                    <a:pt x="27279" y="-792"/>
                    <a:pt x="25439" y="230"/>
                  </a:cubicBezTo>
                  <a:cubicBezTo>
                    <a:pt x="16342" y="4932"/>
                    <a:pt x="8165" y="10656"/>
                    <a:pt x="499" y="17198"/>
                  </a:cubicBezTo>
                  <a:cubicBezTo>
                    <a:pt x="-1035" y="18628"/>
                    <a:pt x="1316" y="20775"/>
                    <a:pt x="2850" y="19446"/>
                  </a:cubicBezTo>
                  <a:lnTo>
                    <a:pt x="2850" y="194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8" name="任意多边形: 形状 967">
              <a:extLst>
                <a:ext uri="{FF2B5EF4-FFF2-40B4-BE49-F238E27FC236}">
                  <a16:creationId xmlns:a16="http://schemas.microsoft.com/office/drawing/2014/main" id="{6793A119-C07B-4DD3-ABDE-618C07B447B4}"/>
                </a:ext>
              </a:extLst>
            </p:cNvPr>
            <p:cNvSpPr/>
            <p:nvPr/>
          </p:nvSpPr>
          <p:spPr>
            <a:xfrm>
              <a:off x="9573705" y="4613134"/>
              <a:ext cx="15845" cy="7922"/>
            </a:xfrm>
            <a:custGeom>
              <a:avLst/>
              <a:gdLst>
                <a:gd name="connsiteX0" fmla="*/ 2796 w 20442"/>
                <a:gd name="connsiteY0" fmla="*/ 16815 h 10221"/>
                <a:gd name="connsiteX1" fmla="*/ 24261 w 20442"/>
                <a:gd name="connsiteY1" fmla="*/ 2812 h 10221"/>
                <a:gd name="connsiteX2" fmla="*/ 22626 w 20442"/>
                <a:gd name="connsiteY2" fmla="*/ 154 h 10221"/>
                <a:gd name="connsiteX3" fmla="*/ 445 w 20442"/>
                <a:gd name="connsiteY3" fmla="*/ 14669 h 10221"/>
                <a:gd name="connsiteX4" fmla="*/ 2796 w 20442"/>
                <a:gd name="connsiteY4" fmla="*/ 16815 h 10221"/>
                <a:gd name="connsiteX5" fmla="*/ 2796 w 20442"/>
                <a:gd name="connsiteY5" fmla="*/ 1681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796" y="16815"/>
                  </a:moveTo>
                  <a:cubicBezTo>
                    <a:pt x="9031" y="10785"/>
                    <a:pt x="16186" y="6185"/>
                    <a:pt x="24261" y="2812"/>
                  </a:cubicBezTo>
                  <a:cubicBezTo>
                    <a:pt x="26203" y="1994"/>
                    <a:pt x="24568" y="-663"/>
                    <a:pt x="22626" y="154"/>
                  </a:cubicBezTo>
                  <a:cubicBezTo>
                    <a:pt x="14142" y="3732"/>
                    <a:pt x="6885" y="8434"/>
                    <a:pt x="445" y="14669"/>
                  </a:cubicBezTo>
                  <a:cubicBezTo>
                    <a:pt x="-986" y="16100"/>
                    <a:pt x="1365" y="18246"/>
                    <a:pt x="2796" y="16815"/>
                  </a:cubicBezTo>
                  <a:lnTo>
                    <a:pt x="2796" y="168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9" name="任意多边形: 形状 968">
              <a:extLst>
                <a:ext uri="{FF2B5EF4-FFF2-40B4-BE49-F238E27FC236}">
                  <a16:creationId xmlns:a16="http://schemas.microsoft.com/office/drawing/2014/main" id="{B55FFB10-A949-4856-B48F-31A6C8755FF0}"/>
                </a:ext>
              </a:extLst>
            </p:cNvPr>
            <p:cNvSpPr/>
            <p:nvPr/>
          </p:nvSpPr>
          <p:spPr>
            <a:xfrm>
              <a:off x="9529025" y="4719405"/>
              <a:ext cx="23768" cy="55458"/>
            </a:xfrm>
            <a:custGeom>
              <a:avLst/>
              <a:gdLst>
                <a:gd name="connsiteX0" fmla="*/ 134 w 30664"/>
                <a:gd name="connsiteY0" fmla="*/ 1855 h 71550"/>
                <a:gd name="connsiteX1" fmla="*/ 34376 w 30664"/>
                <a:gd name="connsiteY1" fmla="*/ 79333 h 71550"/>
                <a:gd name="connsiteX2" fmla="*/ 37544 w 30664"/>
                <a:gd name="connsiteY2" fmla="*/ 78515 h 71550"/>
                <a:gd name="connsiteX3" fmla="*/ 3302 w 30664"/>
                <a:gd name="connsiteY3" fmla="*/ 1037 h 71550"/>
                <a:gd name="connsiteX4" fmla="*/ 134 w 30664"/>
                <a:gd name="connsiteY4" fmla="*/ 1855 h 71550"/>
                <a:gd name="connsiteX5" fmla="*/ 134 w 30664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71550">
                  <a:moveTo>
                    <a:pt x="134" y="1855"/>
                  </a:moveTo>
                  <a:cubicBezTo>
                    <a:pt x="11582" y="27715"/>
                    <a:pt x="22928" y="53473"/>
                    <a:pt x="34376" y="79333"/>
                  </a:cubicBezTo>
                  <a:cubicBezTo>
                    <a:pt x="35193" y="81173"/>
                    <a:pt x="38362" y="80355"/>
                    <a:pt x="37544" y="78515"/>
                  </a:cubicBezTo>
                  <a:cubicBezTo>
                    <a:pt x="26096" y="52655"/>
                    <a:pt x="14750" y="26897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0" name="任意多边形: 形状 969">
              <a:extLst>
                <a:ext uri="{FF2B5EF4-FFF2-40B4-BE49-F238E27FC236}">
                  <a16:creationId xmlns:a16="http://schemas.microsoft.com/office/drawing/2014/main" id="{DBBEBBFB-F487-4E28-8B3A-9D60BEC33DA5}"/>
                </a:ext>
              </a:extLst>
            </p:cNvPr>
            <p:cNvSpPr/>
            <p:nvPr/>
          </p:nvSpPr>
          <p:spPr>
            <a:xfrm>
              <a:off x="9538951" y="4726275"/>
              <a:ext cx="15845" cy="39613"/>
            </a:xfrm>
            <a:custGeom>
              <a:avLst/>
              <a:gdLst>
                <a:gd name="connsiteX0" fmla="*/ 104 w 20442"/>
                <a:gd name="connsiteY0" fmla="*/ 1884 h 51107"/>
                <a:gd name="connsiteX1" fmla="*/ 23205 w 20442"/>
                <a:gd name="connsiteY1" fmla="*/ 54013 h 51107"/>
                <a:gd name="connsiteX2" fmla="*/ 26067 w 20442"/>
                <a:gd name="connsiteY2" fmla="*/ 52480 h 51107"/>
                <a:gd name="connsiteX3" fmla="*/ 3273 w 20442"/>
                <a:gd name="connsiteY3" fmla="*/ 1066 h 51107"/>
                <a:gd name="connsiteX4" fmla="*/ 104 w 20442"/>
                <a:gd name="connsiteY4" fmla="*/ 1884 h 51107"/>
                <a:gd name="connsiteX5" fmla="*/ 104 w 20442"/>
                <a:gd name="connsiteY5" fmla="*/ 188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104" y="1884"/>
                  </a:moveTo>
                  <a:cubicBezTo>
                    <a:pt x="7260" y="19465"/>
                    <a:pt x="14926" y="36841"/>
                    <a:pt x="23205" y="54013"/>
                  </a:cubicBezTo>
                  <a:cubicBezTo>
                    <a:pt x="24125" y="55853"/>
                    <a:pt x="26885" y="54218"/>
                    <a:pt x="26067" y="52480"/>
                  </a:cubicBezTo>
                  <a:cubicBezTo>
                    <a:pt x="17890" y="35615"/>
                    <a:pt x="10326" y="18443"/>
                    <a:pt x="3273" y="1066"/>
                  </a:cubicBezTo>
                  <a:cubicBezTo>
                    <a:pt x="2558" y="-773"/>
                    <a:pt x="-611" y="-58"/>
                    <a:pt x="104" y="1884"/>
                  </a:cubicBezTo>
                  <a:lnTo>
                    <a:pt x="104" y="18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1" name="任意多边形: 形状 970">
              <a:extLst>
                <a:ext uri="{FF2B5EF4-FFF2-40B4-BE49-F238E27FC236}">
                  <a16:creationId xmlns:a16="http://schemas.microsoft.com/office/drawing/2014/main" id="{EC7EE79C-521B-45C1-A35C-77D8DED1BB79}"/>
                </a:ext>
              </a:extLst>
            </p:cNvPr>
            <p:cNvSpPr/>
            <p:nvPr/>
          </p:nvSpPr>
          <p:spPr>
            <a:xfrm>
              <a:off x="9545187" y="4728279"/>
              <a:ext cx="15845" cy="31691"/>
            </a:xfrm>
            <a:custGeom>
              <a:avLst/>
              <a:gdLst>
                <a:gd name="connsiteX0" fmla="*/ 134 w 20442"/>
                <a:gd name="connsiteY0" fmla="*/ 1855 h 40885"/>
                <a:gd name="connsiteX1" fmla="*/ 17306 w 20442"/>
                <a:gd name="connsiteY1" fmla="*/ 43456 h 40885"/>
                <a:gd name="connsiteX2" fmla="*/ 20474 w 20442"/>
                <a:gd name="connsiteY2" fmla="*/ 42638 h 40885"/>
                <a:gd name="connsiteX3" fmla="*/ 3302 w 20442"/>
                <a:gd name="connsiteY3" fmla="*/ 1037 h 40885"/>
                <a:gd name="connsiteX4" fmla="*/ 134 w 20442"/>
                <a:gd name="connsiteY4" fmla="*/ 1855 h 40885"/>
                <a:gd name="connsiteX5" fmla="*/ 134 w 20442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34" y="1855"/>
                  </a:moveTo>
                  <a:cubicBezTo>
                    <a:pt x="5858" y="15756"/>
                    <a:pt x="11582" y="29555"/>
                    <a:pt x="17306" y="43456"/>
                  </a:cubicBezTo>
                  <a:cubicBezTo>
                    <a:pt x="18021" y="45296"/>
                    <a:pt x="21190" y="44478"/>
                    <a:pt x="20474" y="42638"/>
                  </a:cubicBezTo>
                  <a:cubicBezTo>
                    <a:pt x="14750" y="28737"/>
                    <a:pt x="9026" y="14938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2" name="任意多边形: 形状 971">
              <a:extLst>
                <a:ext uri="{FF2B5EF4-FFF2-40B4-BE49-F238E27FC236}">
                  <a16:creationId xmlns:a16="http://schemas.microsoft.com/office/drawing/2014/main" id="{9764BD47-D1CA-4C82-ABAE-A5F79CF3BFCE}"/>
                </a:ext>
              </a:extLst>
            </p:cNvPr>
            <p:cNvSpPr/>
            <p:nvPr/>
          </p:nvSpPr>
          <p:spPr>
            <a:xfrm>
              <a:off x="9555926" y="4732178"/>
              <a:ext cx="7922" cy="7922"/>
            </a:xfrm>
            <a:custGeom>
              <a:avLst/>
              <a:gdLst>
                <a:gd name="connsiteX0" fmla="*/ 180 w 0"/>
                <a:gd name="connsiteY0" fmla="*/ 2343 h 10221"/>
                <a:gd name="connsiteX1" fmla="*/ 6926 w 0"/>
                <a:gd name="connsiteY1" fmla="*/ 16551 h 10221"/>
                <a:gd name="connsiteX2" fmla="*/ 9788 w 0"/>
                <a:gd name="connsiteY2" fmla="*/ 15017 h 10221"/>
                <a:gd name="connsiteX3" fmla="*/ 3042 w 0"/>
                <a:gd name="connsiteY3" fmla="*/ 810 h 10221"/>
                <a:gd name="connsiteX4" fmla="*/ 180 w 0"/>
                <a:gd name="connsiteY4" fmla="*/ 2343 h 10221"/>
                <a:gd name="connsiteX5" fmla="*/ 180 w 0"/>
                <a:gd name="connsiteY5" fmla="*/ 234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180" y="2343"/>
                  </a:moveTo>
                  <a:cubicBezTo>
                    <a:pt x="2429" y="7045"/>
                    <a:pt x="4677" y="11849"/>
                    <a:pt x="6926" y="16551"/>
                  </a:cubicBezTo>
                  <a:cubicBezTo>
                    <a:pt x="7744" y="18390"/>
                    <a:pt x="10606" y="16755"/>
                    <a:pt x="9788" y="15017"/>
                  </a:cubicBezTo>
                  <a:cubicBezTo>
                    <a:pt x="7539" y="10315"/>
                    <a:pt x="5291" y="5511"/>
                    <a:pt x="3042" y="810"/>
                  </a:cubicBezTo>
                  <a:cubicBezTo>
                    <a:pt x="2122" y="-1030"/>
                    <a:pt x="-740" y="605"/>
                    <a:pt x="180" y="2343"/>
                  </a:cubicBezTo>
                  <a:lnTo>
                    <a:pt x="180" y="2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3" name="任意多边形: 形状 972">
              <a:extLst>
                <a:ext uri="{FF2B5EF4-FFF2-40B4-BE49-F238E27FC236}">
                  <a16:creationId xmlns:a16="http://schemas.microsoft.com/office/drawing/2014/main" id="{E4062373-869E-4179-ABCA-F59D4E1252B4}"/>
                </a:ext>
              </a:extLst>
            </p:cNvPr>
            <p:cNvSpPr/>
            <p:nvPr/>
          </p:nvSpPr>
          <p:spPr>
            <a:xfrm>
              <a:off x="9560017" y="4727250"/>
              <a:ext cx="7922" cy="15845"/>
            </a:xfrm>
            <a:custGeom>
              <a:avLst/>
              <a:gdLst>
                <a:gd name="connsiteX0" fmla="*/ 217 w 10221"/>
                <a:gd name="connsiteY0" fmla="*/ 2364 h 20442"/>
                <a:gd name="connsiteX1" fmla="*/ 14527 w 10221"/>
                <a:gd name="connsiteY1" fmla="*/ 28531 h 20442"/>
                <a:gd name="connsiteX2" fmla="*/ 17389 w 10221"/>
                <a:gd name="connsiteY2" fmla="*/ 26998 h 20442"/>
                <a:gd name="connsiteX3" fmla="*/ 3079 w 10221"/>
                <a:gd name="connsiteY3" fmla="*/ 831 h 20442"/>
                <a:gd name="connsiteX4" fmla="*/ 217 w 10221"/>
                <a:gd name="connsiteY4" fmla="*/ 2364 h 20442"/>
                <a:gd name="connsiteX5" fmla="*/ 217 w 10221"/>
                <a:gd name="connsiteY5" fmla="*/ 2364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364"/>
                  </a:moveTo>
                  <a:cubicBezTo>
                    <a:pt x="5021" y="11052"/>
                    <a:pt x="9723" y="19842"/>
                    <a:pt x="14527" y="28531"/>
                  </a:cubicBezTo>
                  <a:cubicBezTo>
                    <a:pt x="15447" y="30268"/>
                    <a:pt x="18309" y="28735"/>
                    <a:pt x="17389" y="26998"/>
                  </a:cubicBezTo>
                  <a:cubicBezTo>
                    <a:pt x="12585" y="18309"/>
                    <a:pt x="7883" y="9519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4" name="任意多边形: 形状 973">
              <a:extLst>
                <a:ext uri="{FF2B5EF4-FFF2-40B4-BE49-F238E27FC236}">
                  <a16:creationId xmlns:a16="http://schemas.microsoft.com/office/drawing/2014/main" id="{A489294B-D86C-4183-AF09-8BCC6B2F7A71}"/>
                </a:ext>
              </a:extLst>
            </p:cNvPr>
            <p:cNvSpPr/>
            <p:nvPr/>
          </p:nvSpPr>
          <p:spPr>
            <a:xfrm>
              <a:off x="9423170" y="4805569"/>
              <a:ext cx="39613" cy="23768"/>
            </a:xfrm>
            <a:custGeom>
              <a:avLst/>
              <a:gdLst>
                <a:gd name="connsiteX0" fmla="*/ 554 w 51107"/>
                <a:gd name="connsiteY0" fmla="*/ 2614 h 30664"/>
                <a:gd name="connsiteX1" fmla="*/ 57180 w 51107"/>
                <a:gd name="connsiteY1" fmla="*/ 39922 h 30664"/>
                <a:gd name="connsiteX2" fmla="*/ 58816 w 51107"/>
                <a:gd name="connsiteY2" fmla="*/ 37265 h 30664"/>
                <a:gd name="connsiteX3" fmla="*/ 2905 w 51107"/>
                <a:gd name="connsiteY3" fmla="*/ 365 h 30664"/>
                <a:gd name="connsiteX4" fmla="*/ 554 w 51107"/>
                <a:gd name="connsiteY4" fmla="*/ 2614 h 30664"/>
                <a:gd name="connsiteX5" fmla="*/ 554 w 51107"/>
                <a:gd name="connsiteY5" fmla="*/ 261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554" y="2614"/>
                  </a:moveTo>
                  <a:cubicBezTo>
                    <a:pt x="18339" y="16515"/>
                    <a:pt x="37249" y="28985"/>
                    <a:pt x="57180" y="39922"/>
                  </a:cubicBezTo>
                  <a:cubicBezTo>
                    <a:pt x="59020" y="40944"/>
                    <a:pt x="60656" y="38287"/>
                    <a:pt x="58816" y="37265"/>
                  </a:cubicBezTo>
                  <a:cubicBezTo>
                    <a:pt x="39089" y="26430"/>
                    <a:pt x="20485" y="14164"/>
                    <a:pt x="2905" y="365"/>
                  </a:cubicBezTo>
                  <a:cubicBezTo>
                    <a:pt x="1269" y="-861"/>
                    <a:pt x="-1082" y="1285"/>
                    <a:pt x="554" y="2614"/>
                  </a:cubicBezTo>
                  <a:lnTo>
                    <a:pt x="554" y="261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5" name="任意多边形: 形状 974">
              <a:extLst>
                <a:ext uri="{FF2B5EF4-FFF2-40B4-BE49-F238E27FC236}">
                  <a16:creationId xmlns:a16="http://schemas.microsoft.com/office/drawing/2014/main" id="{794BC2D2-E887-445B-A0BB-4C5B38768FAE}"/>
                </a:ext>
              </a:extLst>
            </p:cNvPr>
            <p:cNvSpPr/>
            <p:nvPr/>
          </p:nvSpPr>
          <p:spPr>
            <a:xfrm>
              <a:off x="9439345" y="4808302"/>
              <a:ext cx="31691" cy="23768"/>
            </a:xfrm>
            <a:custGeom>
              <a:avLst/>
              <a:gdLst>
                <a:gd name="connsiteX0" fmla="*/ 741 w 40885"/>
                <a:gd name="connsiteY0" fmla="*/ 2973 h 30664"/>
                <a:gd name="connsiteX1" fmla="*/ 45716 w 40885"/>
                <a:gd name="connsiteY1" fmla="*/ 32821 h 30664"/>
                <a:gd name="connsiteX2" fmla="*/ 47351 w 40885"/>
                <a:gd name="connsiteY2" fmla="*/ 30163 h 30664"/>
                <a:gd name="connsiteX3" fmla="*/ 2377 w 40885"/>
                <a:gd name="connsiteY3" fmla="*/ 316 h 30664"/>
                <a:gd name="connsiteX4" fmla="*/ 741 w 40885"/>
                <a:gd name="connsiteY4" fmla="*/ 2973 h 30664"/>
                <a:gd name="connsiteX5" fmla="*/ 741 w 40885"/>
                <a:gd name="connsiteY5" fmla="*/ 297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741" y="2973"/>
                  </a:moveTo>
                  <a:cubicBezTo>
                    <a:pt x="15767" y="12889"/>
                    <a:pt x="30690" y="22905"/>
                    <a:pt x="45716" y="32821"/>
                  </a:cubicBezTo>
                  <a:cubicBezTo>
                    <a:pt x="47454" y="33945"/>
                    <a:pt x="49089" y="31287"/>
                    <a:pt x="47351" y="30163"/>
                  </a:cubicBezTo>
                  <a:cubicBezTo>
                    <a:pt x="32326" y="20145"/>
                    <a:pt x="17402" y="10231"/>
                    <a:pt x="2377" y="316"/>
                  </a:cubicBezTo>
                  <a:cubicBezTo>
                    <a:pt x="639" y="-911"/>
                    <a:pt x="-996" y="1747"/>
                    <a:pt x="741" y="2973"/>
                  </a:cubicBezTo>
                  <a:lnTo>
                    <a:pt x="741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6" name="任意多边形: 形状 975">
              <a:extLst>
                <a:ext uri="{FF2B5EF4-FFF2-40B4-BE49-F238E27FC236}">
                  <a16:creationId xmlns:a16="http://schemas.microsoft.com/office/drawing/2014/main" id="{E8B62404-A923-46E7-8A0F-0140DA76C424}"/>
                </a:ext>
              </a:extLst>
            </p:cNvPr>
            <p:cNvSpPr/>
            <p:nvPr/>
          </p:nvSpPr>
          <p:spPr>
            <a:xfrm>
              <a:off x="9455026" y="4811568"/>
              <a:ext cx="23768" cy="15845"/>
            </a:xfrm>
            <a:custGeom>
              <a:avLst/>
              <a:gdLst>
                <a:gd name="connsiteX0" fmla="*/ 852 w 30664"/>
                <a:gd name="connsiteY0" fmla="*/ 2848 h 20442"/>
                <a:gd name="connsiteX1" fmla="*/ 38058 w 30664"/>
                <a:gd name="connsiteY1" fmla="*/ 25540 h 20442"/>
                <a:gd name="connsiteX2" fmla="*/ 39693 w 30664"/>
                <a:gd name="connsiteY2" fmla="*/ 22883 h 20442"/>
                <a:gd name="connsiteX3" fmla="*/ 2487 w 30664"/>
                <a:gd name="connsiteY3" fmla="*/ 191 h 20442"/>
                <a:gd name="connsiteX4" fmla="*/ 852 w 30664"/>
                <a:gd name="connsiteY4" fmla="*/ 2848 h 20442"/>
                <a:gd name="connsiteX5" fmla="*/ 852 w 30664"/>
                <a:gd name="connsiteY5" fmla="*/ 284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852" y="2848"/>
                  </a:moveTo>
                  <a:cubicBezTo>
                    <a:pt x="13731" y="9696"/>
                    <a:pt x="26201" y="17260"/>
                    <a:pt x="38058" y="25540"/>
                  </a:cubicBezTo>
                  <a:cubicBezTo>
                    <a:pt x="39796" y="26766"/>
                    <a:pt x="41431" y="24007"/>
                    <a:pt x="39693" y="22883"/>
                  </a:cubicBezTo>
                  <a:cubicBezTo>
                    <a:pt x="27734" y="14603"/>
                    <a:pt x="15366" y="7039"/>
                    <a:pt x="2487" y="191"/>
                  </a:cubicBezTo>
                  <a:cubicBezTo>
                    <a:pt x="647" y="-729"/>
                    <a:pt x="-1090" y="1928"/>
                    <a:pt x="852" y="2848"/>
                  </a:cubicBezTo>
                  <a:lnTo>
                    <a:pt x="852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7" name="任意多边形: 形状 976">
              <a:extLst>
                <a:ext uri="{FF2B5EF4-FFF2-40B4-BE49-F238E27FC236}">
                  <a16:creationId xmlns:a16="http://schemas.microsoft.com/office/drawing/2014/main" id="{3120B558-1D56-439B-8EB3-81CB74102386}"/>
                </a:ext>
              </a:extLst>
            </p:cNvPr>
            <p:cNvSpPr/>
            <p:nvPr/>
          </p:nvSpPr>
          <p:spPr>
            <a:xfrm>
              <a:off x="9467995" y="4810209"/>
              <a:ext cx="23768" cy="15845"/>
            </a:xfrm>
            <a:custGeom>
              <a:avLst/>
              <a:gdLst>
                <a:gd name="connsiteX0" fmla="*/ 677 w 30664"/>
                <a:gd name="connsiteY0" fmla="*/ 2965 h 20442"/>
                <a:gd name="connsiteX1" fmla="*/ 35328 w 30664"/>
                <a:gd name="connsiteY1" fmla="*/ 20852 h 20442"/>
                <a:gd name="connsiteX2" fmla="*/ 36146 w 30664"/>
                <a:gd name="connsiteY2" fmla="*/ 17888 h 20442"/>
                <a:gd name="connsiteX3" fmla="*/ 2313 w 30664"/>
                <a:gd name="connsiteY3" fmla="*/ 308 h 20442"/>
                <a:gd name="connsiteX4" fmla="*/ 677 w 30664"/>
                <a:gd name="connsiteY4" fmla="*/ 2965 h 20442"/>
                <a:gd name="connsiteX5" fmla="*/ 677 w 30664"/>
                <a:gd name="connsiteY5" fmla="*/ 29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7" y="2965"/>
                  </a:moveTo>
                  <a:cubicBezTo>
                    <a:pt x="11410" y="10325"/>
                    <a:pt x="22960" y="16253"/>
                    <a:pt x="35328" y="20852"/>
                  </a:cubicBezTo>
                  <a:cubicBezTo>
                    <a:pt x="37270" y="21568"/>
                    <a:pt x="38190" y="18604"/>
                    <a:pt x="36146" y="17888"/>
                  </a:cubicBezTo>
                  <a:cubicBezTo>
                    <a:pt x="24084" y="13391"/>
                    <a:pt x="12841" y="7565"/>
                    <a:pt x="2313" y="308"/>
                  </a:cubicBezTo>
                  <a:cubicBezTo>
                    <a:pt x="677" y="-919"/>
                    <a:pt x="-958" y="1841"/>
                    <a:pt x="677" y="2965"/>
                  </a:cubicBezTo>
                  <a:lnTo>
                    <a:pt x="677" y="29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8" name="任意多边形: 形状 977">
              <a:extLst>
                <a:ext uri="{FF2B5EF4-FFF2-40B4-BE49-F238E27FC236}">
                  <a16:creationId xmlns:a16="http://schemas.microsoft.com/office/drawing/2014/main" id="{213E5E37-40BF-4F64-9ADF-D417112BA10C}"/>
                </a:ext>
              </a:extLst>
            </p:cNvPr>
            <p:cNvSpPr/>
            <p:nvPr/>
          </p:nvSpPr>
          <p:spPr>
            <a:xfrm>
              <a:off x="9246851" y="4814719"/>
              <a:ext cx="55458" cy="55458"/>
            </a:xfrm>
            <a:custGeom>
              <a:avLst/>
              <a:gdLst>
                <a:gd name="connsiteX0" fmla="*/ 3161 w 71550"/>
                <a:gd name="connsiteY0" fmla="*/ 71049 h 71550"/>
                <a:gd name="connsiteX1" fmla="*/ 71032 w 71550"/>
                <a:gd name="connsiteY1" fmla="*/ 2565 h 71550"/>
                <a:gd name="connsiteX2" fmla="*/ 68681 w 71550"/>
                <a:gd name="connsiteY2" fmla="*/ 418 h 71550"/>
                <a:gd name="connsiteX3" fmla="*/ 299 w 71550"/>
                <a:gd name="connsiteY3" fmla="*/ 69515 h 71550"/>
                <a:gd name="connsiteX4" fmla="*/ 3161 w 71550"/>
                <a:gd name="connsiteY4" fmla="*/ 71049 h 71550"/>
                <a:gd name="connsiteX5" fmla="*/ 3161 w 71550"/>
                <a:gd name="connsiteY5" fmla="*/ 71049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3161" y="71049"/>
                  </a:moveTo>
                  <a:cubicBezTo>
                    <a:pt x="22786" y="45699"/>
                    <a:pt x="45478" y="22701"/>
                    <a:pt x="71032" y="2565"/>
                  </a:cubicBezTo>
                  <a:cubicBezTo>
                    <a:pt x="72667" y="1236"/>
                    <a:pt x="70316" y="-911"/>
                    <a:pt x="68681" y="418"/>
                  </a:cubicBezTo>
                  <a:cubicBezTo>
                    <a:pt x="43025" y="20861"/>
                    <a:pt x="20129" y="43962"/>
                    <a:pt x="299" y="69515"/>
                  </a:cubicBezTo>
                  <a:cubicBezTo>
                    <a:pt x="-927" y="71151"/>
                    <a:pt x="1935" y="72684"/>
                    <a:pt x="3161" y="71049"/>
                  </a:cubicBezTo>
                  <a:lnTo>
                    <a:pt x="3161" y="710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9" name="任意多边形: 形状 978">
              <a:extLst>
                <a:ext uri="{FF2B5EF4-FFF2-40B4-BE49-F238E27FC236}">
                  <a16:creationId xmlns:a16="http://schemas.microsoft.com/office/drawing/2014/main" id="{B415E07B-78C0-4D18-90D6-1B8C05676977}"/>
                </a:ext>
              </a:extLst>
            </p:cNvPr>
            <p:cNvSpPr/>
            <p:nvPr/>
          </p:nvSpPr>
          <p:spPr>
            <a:xfrm>
              <a:off x="9258105" y="4817421"/>
              <a:ext cx="47536" cy="39613"/>
            </a:xfrm>
            <a:custGeom>
              <a:avLst/>
              <a:gdLst>
                <a:gd name="connsiteX0" fmla="*/ 2850 w 61328"/>
                <a:gd name="connsiteY0" fmla="*/ 54172 h 51107"/>
                <a:gd name="connsiteX1" fmla="*/ 63054 w 61328"/>
                <a:gd name="connsiteY1" fmla="*/ 2553 h 51107"/>
                <a:gd name="connsiteX2" fmla="*/ 60703 w 61328"/>
                <a:gd name="connsiteY2" fmla="*/ 407 h 51107"/>
                <a:gd name="connsiteX3" fmla="*/ 499 w 61328"/>
                <a:gd name="connsiteY3" fmla="*/ 52025 h 51107"/>
                <a:gd name="connsiteX4" fmla="*/ 2850 w 61328"/>
                <a:gd name="connsiteY4" fmla="*/ 54172 h 51107"/>
                <a:gd name="connsiteX5" fmla="*/ 2850 w 61328"/>
                <a:gd name="connsiteY5" fmla="*/ 541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2850" y="54172"/>
                  </a:moveTo>
                  <a:cubicBezTo>
                    <a:pt x="22066" y="36079"/>
                    <a:pt x="42100" y="18805"/>
                    <a:pt x="63054" y="2553"/>
                  </a:cubicBezTo>
                  <a:cubicBezTo>
                    <a:pt x="64689" y="1326"/>
                    <a:pt x="62338" y="-922"/>
                    <a:pt x="60703" y="407"/>
                  </a:cubicBezTo>
                  <a:cubicBezTo>
                    <a:pt x="39749" y="16658"/>
                    <a:pt x="19715" y="33933"/>
                    <a:pt x="499" y="52025"/>
                  </a:cubicBezTo>
                  <a:cubicBezTo>
                    <a:pt x="-1035" y="53456"/>
                    <a:pt x="1316" y="55603"/>
                    <a:pt x="2850" y="54172"/>
                  </a:cubicBezTo>
                  <a:lnTo>
                    <a:pt x="2850" y="54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0" name="任意多边形: 形状 979">
              <a:extLst>
                <a:ext uri="{FF2B5EF4-FFF2-40B4-BE49-F238E27FC236}">
                  <a16:creationId xmlns:a16="http://schemas.microsoft.com/office/drawing/2014/main" id="{BEE7E5AA-B07D-4A7F-9F64-02530C0AF0A6}"/>
                </a:ext>
              </a:extLst>
            </p:cNvPr>
            <p:cNvSpPr/>
            <p:nvPr/>
          </p:nvSpPr>
          <p:spPr>
            <a:xfrm>
              <a:off x="9259012" y="4827316"/>
              <a:ext cx="39613" cy="31691"/>
            </a:xfrm>
            <a:custGeom>
              <a:avLst/>
              <a:gdLst>
                <a:gd name="connsiteX0" fmla="*/ 2804 w 51107"/>
                <a:gd name="connsiteY0" fmla="*/ 46415 h 40885"/>
                <a:gd name="connsiteX1" fmla="*/ 57591 w 51107"/>
                <a:gd name="connsiteY1" fmla="*/ 2565 h 40885"/>
                <a:gd name="connsiteX2" fmla="*/ 55240 w 51107"/>
                <a:gd name="connsiteY2" fmla="*/ 418 h 40885"/>
                <a:gd name="connsiteX3" fmla="*/ 555 w 51107"/>
                <a:gd name="connsiteY3" fmla="*/ 44268 h 40885"/>
                <a:gd name="connsiteX4" fmla="*/ 2804 w 51107"/>
                <a:gd name="connsiteY4" fmla="*/ 46415 h 40885"/>
                <a:gd name="connsiteX5" fmla="*/ 2804 w 51107"/>
                <a:gd name="connsiteY5" fmla="*/ 46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804" y="46415"/>
                  </a:moveTo>
                  <a:cubicBezTo>
                    <a:pt x="21100" y="31798"/>
                    <a:pt x="39294" y="17181"/>
                    <a:pt x="57591" y="2565"/>
                  </a:cubicBezTo>
                  <a:cubicBezTo>
                    <a:pt x="59226" y="1236"/>
                    <a:pt x="56875" y="-911"/>
                    <a:pt x="55240" y="418"/>
                  </a:cubicBezTo>
                  <a:cubicBezTo>
                    <a:pt x="37046" y="15035"/>
                    <a:pt x="18749" y="29651"/>
                    <a:pt x="555" y="44268"/>
                  </a:cubicBezTo>
                  <a:cubicBezTo>
                    <a:pt x="-1080" y="45494"/>
                    <a:pt x="1271" y="47641"/>
                    <a:pt x="2804" y="46415"/>
                  </a:cubicBezTo>
                  <a:lnTo>
                    <a:pt x="2804" y="46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1" name="任意多边形: 形状 980">
              <a:extLst>
                <a:ext uri="{FF2B5EF4-FFF2-40B4-BE49-F238E27FC236}">
                  <a16:creationId xmlns:a16="http://schemas.microsoft.com/office/drawing/2014/main" id="{E127FB7E-0C91-4853-8CFF-DA37BAA80277}"/>
                </a:ext>
              </a:extLst>
            </p:cNvPr>
            <p:cNvSpPr/>
            <p:nvPr/>
          </p:nvSpPr>
          <p:spPr>
            <a:xfrm>
              <a:off x="9274980" y="4829218"/>
              <a:ext cx="31691" cy="23768"/>
            </a:xfrm>
            <a:custGeom>
              <a:avLst/>
              <a:gdLst>
                <a:gd name="connsiteX0" fmla="*/ 2850 w 40885"/>
                <a:gd name="connsiteY0" fmla="*/ 36398 h 30664"/>
                <a:gd name="connsiteX1" fmla="*/ 45064 w 40885"/>
                <a:gd name="connsiteY1" fmla="*/ 2565 h 30664"/>
                <a:gd name="connsiteX2" fmla="*/ 42713 w 40885"/>
                <a:gd name="connsiteY2" fmla="*/ 418 h 30664"/>
                <a:gd name="connsiteX3" fmla="*/ 499 w 40885"/>
                <a:gd name="connsiteY3" fmla="*/ 34251 h 30664"/>
                <a:gd name="connsiteX4" fmla="*/ 2850 w 40885"/>
                <a:gd name="connsiteY4" fmla="*/ 36398 h 30664"/>
                <a:gd name="connsiteX5" fmla="*/ 2850 w 40885"/>
                <a:gd name="connsiteY5" fmla="*/ 3639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98"/>
                  </a:moveTo>
                  <a:cubicBezTo>
                    <a:pt x="16955" y="25154"/>
                    <a:pt x="30959" y="13910"/>
                    <a:pt x="45064" y="2565"/>
                  </a:cubicBezTo>
                  <a:cubicBezTo>
                    <a:pt x="46700" y="1236"/>
                    <a:pt x="44349" y="-911"/>
                    <a:pt x="42713" y="418"/>
                  </a:cubicBezTo>
                  <a:cubicBezTo>
                    <a:pt x="28608" y="11661"/>
                    <a:pt x="14604" y="22905"/>
                    <a:pt x="499" y="34251"/>
                  </a:cubicBezTo>
                  <a:cubicBezTo>
                    <a:pt x="-1034" y="35478"/>
                    <a:pt x="1316" y="37624"/>
                    <a:pt x="2850" y="36398"/>
                  </a:cubicBezTo>
                  <a:lnTo>
                    <a:pt x="2850" y="363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2" name="任意多边形: 形状 981">
              <a:extLst>
                <a:ext uri="{FF2B5EF4-FFF2-40B4-BE49-F238E27FC236}">
                  <a16:creationId xmlns:a16="http://schemas.microsoft.com/office/drawing/2014/main" id="{3D5080E6-1B9D-43AF-A1CA-554A5AE14494}"/>
                </a:ext>
              </a:extLst>
            </p:cNvPr>
            <p:cNvSpPr/>
            <p:nvPr/>
          </p:nvSpPr>
          <p:spPr>
            <a:xfrm>
              <a:off x="9286821" y="4828592"/>
              <a:ext cx="31691" cy="23768"/>
            </a:xfrm>
            <a:custGeom>
              <a:avLst/>
              <a:gdLst>
                <a:gd name="connsiteX0" fmla="*/ 2905 w 40885"/>
                <a:gd name="connsiteY0" fmla="*/ 33626 h 30664"/>
                <a:gd name="connsiteX1" fmla="*/ 42462 w 40885"/>
                <a:gd name="connsiteY1" fmla="*/ 2553 h 30664"/>
                <a:gd name="connsiteX2" fmla="*/ 40111 w 40885"/>
                <a:gd name="connsiteY2" fmla="*/ 407 h 30664"/>
                <a:gd name="connsiteX3" fmla="*/ 554 w 40885"/>
                <a:gd name="connsiteY3" fmla="*/ 31480 h 30664"/>
                <a:gd name="connsiteX4" fmla="*/ 2905 w 40885"/>
                <a:gd name="connsiteY4" fmla="*/ 33626 h 30664"/>
                <a:gd name="connsiteX5" fmla="*/ 2905 w 40885"/>
                <a:gd name="connsiteY5" fmla="*/ 33626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3626"/>
                  </a:moveTo>
                  <a:cubicBezTo>
                    <a:pt x="16090" y="23303"/>
                    <a:pt x="29276" y="12877"/>
                    <a:pt x="42462" y="2553"/>
                  </a:cubicBezTo>
                  <a:cubicBezTo>
                    <a:pt x="44097" y="1327"/>
                    <a:pt x="41746" y="-922"/>
                    <a:pt x="40111" y="407"/>
                  </a:cubicBezTo>
                  <a:cubicBezTo>
                    <a:pt x="26925" y="10730"/>
                    <a:pt x="13739" y="21156"/>
                    <a:pt x="554" y="31480"/>
                  </a:cubicBezTo>
                  <a:cubicBezTo>
                    <a:pt x="-1082" y="32707"/>
                    <a:pt x="1269" y="34853"/>
                    <a:pt x="2905" y="33626"/>
                  </a:cubicBezTo>
                  <a:lnTo>
                    <a:pt x="2905" y="336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3" name="任意多边形: 形状 982">
              <a:extLst>
                <a:ext uri="{FF2B5EF4-FFF2-40B4-BE49-F238E27FC236}">
                  <a16:creationId xmlns:a16="http://schemas.microsoft.com/office/drawing/2014/main" id="{78A2DF29-21B0-4140-9300-EE3A9DCCF8DD}"/>
                </a:ext>
              </a:extLst>
            </p:cNvPr>
            <p:cNvSpPr/>
            <p:nvPr/>
          </p:nvSpPr>
          <p:spPr>
            <a:xfrm>
              <a:off x="9258226" y="4793996"/>
              <a:ext cx="39613" cy="31691"/>
            </a:xfrm>
            <a:custGeom>
              <a:avLst/>
              <a:gdLst>
                <a:gd name="connsiteX0" fmla="*/ 2796 w 51107"/>
                <a:gd name="connsiteY0" fmla="*/ 48415 h 40885"/>
                <a:gd name="connsiteX1" fmla="*/ 59423 w 51107"/>
                <a:gd name="connsiteY1" fmla="*/ 2929 h 40885"/>
                <a:gd name="connsiteX2" fmla="*/ 57788 w 51107"/>
                <a:gd name="connsiteY2" fmla="*/ 272 h 40885"/>
                <a:gd name="connsiteX3" fmla="*/ 445 w 51107"/>
                <a:gd name="connsiteY3" fmla="*/ 46268 h 40885"/>
                <a:gd name="connsiteX4" fmla="*/ 2796 w 51107"/>
                <a:gd name="connsiteY4" fmla="*/ 48415 h 40885"/>
                <a:gd name="connsiteX5" fmla="*/ 2796 w 51107"/>
                <a:gd name="connsiteY5" fmla="*/ 48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796" y="48415"/>
                  </a:moveTo>
                  <a:cubicBezTo>
                    <a:pt x="20173" y="31651"/>
                    <a:pt x="39082" y="16422"/>
                    <a:pt x="59423" y="2929"/>
                  </a:cubicBezTo>
                  <a:cubicBezTo>
                    <a:pt x="61161" y="1805"/>
                    <a:pt x="59525" y="-853"/>
                    <a:pt x="57788" y="272"/>
                  </a:cubicBezTo>
                  <a:cubicBezTo>
                    <a:pt x="37243" y="13969"/>
                    <a:pt x="18026" y="29301"/>
                    <a:pt x="445" y="46268"/>
                  </a:cubicBezTo>
                  <a:cubicBezTo>
                    <a:pt x="-986" y="47597"/>
                    <a:pt x="1365" y="49846"/>
                    <a:pt x="2796" y="48415"/>
                  </a:cubicBezTo>
                  <a:lnTo>
                    <a:pt x="2796" y="48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4" name="任意多边形: 形状 983">
              <a:extLst>
                <a:ext uri="{FF2B5EF4-FFF2-40B4-BE49-F238E27FC236}">
                  <a16:creationId xmlns:a16="http://schemas.microsoft.com/office/drawing/2014/main" id="{BF86274A-2C44-42D7-B087-3E8332D65FBE}"/>
                </a:ext>
              </a:extLst>
            </p:cNvPr>
            <p:cNvSpPr/>
            <p:nvPr/>
          </p:nvSpPr>
          <p:spPr>
            <a:xfrm>
              <a:off x="9260281" y="4795105"/>
              <a:ext cx="31691" cy="23768"/>
            </a:xfrm>
            <a:custGeom>
              <a:avLst/>
              <a:gdLst>
                <a:gd name="connsiteX0" fmla="*/ 2905 w 40885"/>
                <a:gd name="connsiteY0" fmla="*/ 34002 h 30664"/>
                <a:gd name="connsiteX1" fmla="*/ 46039 w 40885"/>
                <a:gd name="connsiteY1" fmla="*/ 2929 h 30664"/>
                <a:gd name="connsiteX2" fmla="*/ 44404 w 40885"/>
                <a:gd name="connsiteY2" fmla="*/ 272 h 30664"/>
                <a:gd name="connsiteX3" fmla="*/ 554 w 40885"/>
                <a:gd name="connsiteY3" fmla="*/ 31754 h 30664"/>
                <a:gd name="connsiteX4" fmla="*/ 2905 w 40885"/>
                <a:gd name="connsiteY4" fmla="*/ 34002 h 30664"/>
                <a:gd name="connsiteX5" fmla="*/ 2905 w 40885"/>
                <a:gd name="connsiteY5" fmla="*/ 3400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4002"/>
                  </a:moveTo>
                  <a:cubicBezTo>
                    <a:pt x="16806" y="23066"/>
                    <a:pt x="31116" y="12640"/>
                    <a:pt x="46039" y="2929"/>
                  </a:cubicBezTo>
                  <a:cubicBezTo>
                    <a:pt x="47777" y="1805"/>
                    <a:pt x="46141" y="-853"/>
                    <a:pt x="44404" y="272"/>
                  </a:cubicBezTo>
                  <a:cubicBezTo>
                    <a:pt x="29276" y="10187"/>
                    <a:pt x="14659" y="20612"/>
                    <a:pt x="554" y="31754"/>
                  </a:cubicBezTo>
                  <a:cubicBezTo>
                    <a:pt x="-1082" y="33083"/>
                    <a:pt x="1269" y="35331"/>
                    <a:pt x="2905" y="34002"/>
                  </a:cubicBezTo>
                  <a:lnTo>
                    <a:pt x="2905" y="34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5" name="任意多边形: 形状 984">
              <a:extLst>
                <a:ext uri="{FF2B5EF4-FFF2-40B4-BE49-F238E27FC236}">
                  <a16:creationId xmlns:a16="http://schemas.microsoft.com/office/drawing/2014/main" id="{7A2D4519-3D66-4EEE-925D-BF101D6F2415}"/>
                </a:ext>
              </a:extLst>
            </p:cNvPr>
            <p:cNvSpPr/>
            <p:nvPr/>
          </p:nvSpPr>
          <p:spPr>
            <a:xfrm>
              <a:off x="9180682" y="4724212"/>
              <a:ext cx="23768" cy="39613"/>
            </a:xfrm>
            <a:custGeom>
              <a:avLst/>
              <a:gdLst>
                <a:gd name="connsiteX0" fmla="*/ 3079 w 30664"/>
                <a:gd name="connsiteY0" fmla="*/ 52587 h 51107"/>
                <a:gd name="connsiteX1" fmla="*/ 33232 w 30664"/>
                <a:gd name="connsiteY1" fmla="*/ 2297 h 51107"/>
                <a:gd name="connsiteX2" fmla="*/ 30370 w 30664"/>
                <a:gd name="connsiteY2" fmla="*/ 764 h 51107"/>
                <a:gd name="connsiteX3" fmla="*/ 217 w 30664"/>
                <a:gd name="connsiteY3" fmla="*/ 51054 h 51107"/>
                <a:gd name="connsiteX4" fmla="*/ 3079 w 30664"/>
                <a:gd name="connsiteY4" fmla="*/ 52587 h 51107"/>
                <a:gd name="connsiteX5" fmla="*/ 3079 w 30664"/>
                <a:gd name="connsiteY5" fmla="*/ 52587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79" y="52587"/>
                  </a:moveTo>
                  <a:cubicBezTo>
                    <a:pt x="13096" y="35824"/>
                    <a:pt x="23215" y="19061"/>
                    <a:pt x="33232" y="2297"/>
                  </a:cubicBezTo>
                  <a:cubicBezTo>
                    <a:pt x="34255" y="560"/>
                    <a:pt x="31393" y="-973"/>
                    <a:pt x="30370" y="764"/>
                  </a:cubicBezTo>
                  <a:cubicBezTo>
                    <a:pt x="20353" y="17528"/>
                    <a:pt x="10336" y="34291"/>
                    <a:pt x="217" y="51054"/>
                  </a:cubicBezTo>
                  <a:cubicBezTo>
                    <a:pt x="-805" y="52791"/>
                    <a:pt x="2057" y="54325"/>
                    <a:pt x="3079" y="52587"/>
                  </a:cubicBezTo>
                  <a:lnTo>
                    <a:pt x="3079" y="525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6" name="任意多边形: 形状 985">
              <a:extLst>
                <a:ext uri="{FF2B5EF4-FFF2-40B4-BE49-F238E27FC236}">
                  <a16:creationId xmlns:a16="http://schemas.microsoft.com/office/drawing/2014/main" id="{FC1E3EDF-5246-46AD-BFF5-8AE5B28E18BB}"/>
                </a:ext>
              </a:extLst>
            </p:cNvPr>
            <p:cNvSpPr/>
            <p:nvPr/>
          </p:nvSpPr>
          <p:spPr>
            <a:xfrm>
              <a:off x="9182692" y="4732185"/>
              <a:ext cx="23768" cy="39613"/>
            </a:xfrm>
            <a:custGeom>
              <a:avLst/>
              <a:gdLst>
                <a:gd name="connsiteX0" fmla="*/ 3042 w 30664"/>
                <a:gd name="connsiteY0" fmla="*/ 51295 h 51107"/>
                <a:gd name="connsiteX1" fmla="*/ 33195 w 30664"/>
                <a:gd name="connsiteY1" fmla="*/ 2232 h 51107"/>
                <a:gd name="connsiteX2" fmla="*/ 30333 w 30664"/>
                <a:gd name="connsiteY2" fmla="*/ 699 h 51107"/>
                <a:gd name="connsiteX3" fmla="*/ 180 w 30664"/>
                <a:gd name="connsiteY3" fmla="*/ 49762 h 51107"/>
                <a:gd name="connsiteX4" fmla="*/ 3042 w 30664"/>
                <a:gd name="connsiteY4" fmla="*/ 51295 h 51107"/>
                <a:gd name="connsiteX5" fmla="*/ 3042 w 30664"/>
                <a:gd name="connsiteY5" fmla="*/ 5129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42" y="51295"/>
                  </a:moveTo>
                  <a:cubicBezTo>
                    <a:pt x="12037" y="34328"/>
                    <a:pt x="22156" y="17973"/>
                    <a:pt x="33195" y="2232"/>
                  </a:cubicBezTo>
                  <a:cubicBezTo>
                    <a:pt x="34319" y="597"/>
                    <a:pt x="31560" y="-936"/>
                    <a:pt x="30333" y="699"/>
                  </a:cubicBezTo>
                  <a:cubicBezTo>
                    <a:pt x="19294" y="16543"/>
                    <a:pt x="9175" y="32897"/>
                    <a:pt x="180" y="49762"/>
                  </a:cubicBezTo>
                  <a:cubicBezTo>
                    <a:pt x="-740" y="51500"/>
                    <a:pt x="2122" y="53135"/>
                    <a:pt x="3042" y="51295"/>
                  </a:cubicBezTo>
                  <a:lnTo>
                    <a:pt x="3042" y="5129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7" name="任意多边形: 形状 986">
              <a:extLst>
                <a:ext uri="{FF2B5EF4-FFF2-40B4-BE49-F238E27FC236}">
                  <a16:creationId xmlns:a16="http://schemas.microsoft.com/office/drawing/2014/main" id="{90F54F13-E768-48FA-A215-20DB5C300A95}"/>
                </a:ext>
              </a:extLst>
            </p:cNvPr>
            <p:cNvSpPr/>
            <p:nvPr/>
          </p:nvSpPr>
          <p:spPr>
            <a:xfrm>
              <a:off x="9191611" y="4740374"/>
              <a:ext cx="15845" cy="23768"/>
            </a:xfrm>
            <a:custGeom>
              <a:avLst/>
              <a:gdLst>
                <a:gd name="connsiteX0" fmla="*/ 3085 w 20442"/>
                <a:gd name="connsiteY0" fmla="*/ 39810 h 30664"/>
                <a:gd name="connsiteX1" fmla="*/ 27616 w 20442"/>
                <a:gd name="connsiteY1" fmla="*/ 2298 h 30664"/>
                <a:gd name="connsiteX2" fmla="*/ 24754 w 20442"/>
                <a:gd name="connsiteY2" fmla="*/ 764 h 30664"/>
                <a:gd name="connsiteX3" fmla="*/ 223 w 20442"/>
                <a:gd name="connsiteY3" fmla="*/ 38277 h 30664"/>
                <a:gd name="connsiteX4" fmla="*/ 3085 w 20442"/>
                <a:gd name="connsiteY4" fmla="*/ 39810 h 30664"/>
                <a:gd name="connsiteX5" fmla="*/ 3085 w 20442"/>
                <a:gd name="connsiteY5" fmla="*/ 3981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085" y="39810"/>
                  </a:moveTo>
                  <a:cubicBezTo>
                    <a:pt x="11262" y="27340"/>
                    <a:pt x="19439" y="14768"/>
                    <a:pt x="27616" y="2298"/>
                  </a:cubicBezTo>
                  <a:cubicBezTo>
                    <a:pt x="28741" y="560"/>
                    <a:pt x="25879" y="-973"/>
                    <a:pt x="24754" y="764"/>
                  </a:cubicBezTo>
                  <a:cubicBezTo>
                    <a:pt x="16577" y="13235"/>
                    <a:pt x="8400" y="25705"/>
                    <a:pt x="223" y="38277"/>
                  </a:cubicBezTo>
                  <a:cubicBezTo>
                    <a:pt x="-799" y="39912"/>
                    <a:pt x="1961" y="41548"/>
                    <a:pt x="3085" y="39810"/>
                  </a:cubicBezTo>
                  <a:lnTo>
                    <a:pt x="3085" y="3981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8" name="任意多边形: 形状 987">
              <a:extLst>
                <a:ext uri="{FF2B5EF4-FFF2-40B4-BE49-F238E27FC236}">
                  <a16:creationId xmlns:a16="http://schemas.microsoft.com/office/drawing/2014/main" id="{6FB2FDDD-D94B-4060-B7E0-4F59E2971686}"/>
                </a:ext>
              </a:extLst>
            </p:cNvPr>
            <p:cNvSpPr/>
            <p:nvPr/>
          </p:nvSpPr>
          <p:spPr>
            <a:xfrm>
              <a:off x="9194832" y="4748154"/>
              <a:ext cx="15845" cy="31691"/>
            </a:xfrm>
            <a:custGeom>
              <a:avLst/>
              <a:gdLst>
                <a:gd name="connsiteX0" fmla="*/ 3119 w 20442"/>
                <a:gd name="connsiteY0" fmla="*/ 41426 h 40885"/>
                <a:gd name="connsiteX1" fmla="*/ 29797 w 20442"/>
                <a:gd name="connsiteY1" fmla="*/ 2278 h 40885"/>
                <a:gd name="connsiteX2" fmla="*/ 26935 w 20442"/>
                <a:gd name="connsiteY2" fmla="*/ 744 h 40885"/>
                <a:gd name="connsiteX3" fmla="*/ 257 w 20442"/>
                <a:gd name="connsiteY3" fmla="*/ 39892 h 40885"/>
                <a:gd name="connsiteX4" fmla="*/ 3119 w 20442"/>
                <a:gd name="connsiteY4" fmla="*/ 41426 h 40885"/>
                <a:gd name="connsiteX5" fmla="*/ 3119 w 20442"/>
                <a:gd name="connsiteY5" fmla="*/ 4142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3119" y="41426"/>
                  </a:moveTo>
                  <a:cubicBezTo>
                    <a:pt x="12012" y="28342"/>
                    <a:pt x="20904" y="15361"/>
                    <a:pt x="29797" y="2278"/>
                  </a:cubicBezTo>
                  <a:cubicBezTo>
                    <a:pt x="30921" y="642"/>
                    <a:pt x="28059" y="-993"/>
                    <a:pt x="26935" y="744"/>
                  </a:cubicBezTo>
                  <a:cubicBezTo>
                    <a:pt x="18042" y="13828"/>
                    <a:pt x="9150" y="26809"/>
                    <a:pt x="257" y="39892"/>
                  </a:cubicBezTo>
                  <a:cubicBezTo>
                    <a:pt x="-867" y="41528"/>
                    <a:pt x="1995" y="43163"/>
                    <a:pt x="3119" y="41426"/>
                  </a:cubicBezTo>
                  <a:lnTo>
                    <a:pt x="3119" y="414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9" name="任意多边形: 形状 988">
              <a:extLst>
                <a:ext uri="{FF2B5EF4-FFF2-40B4-BE49-F238E27FC236}">
                  <a16:creationId xmlns:a16="http://schemas.microsoft.com/office/drawing/2014/main" id="{ACDEB243-8B59-4BA4-9515-FCC8CCB65F5C}"/>
                </a:ext>
              </a:extLst>
            </p:cNvPr>
            <p:cNvSpPr/>
            <p:nvPr/>
          </p:nvSpPr>
          <p:spPr>
            <a:xfrm>
              <a:off x="9135393" y="4688191"/>
              <a:ext cx="15845" cy="31691"/>
            </a:xfrm>
            <a:custGeom>
              <a:avLst/>
              <a:gdLst>
                <a:gd name="connsiteX0" fmla="*/ 180 w 20442"/>
                <a:gd name="connsiteY0" fmla="*/ 2364 h 40885"/>
                <a:gd name="connsiteX1" fmla="*/ 21645 w 20442"/>
                <a:gd name="connsiteY1" fmla="*/ 47747 h 40885"/>
                <a:gd name="connsiteX2" fmla="*/ 24507 w 20442"/>
                <a:gd name="connsiteY2" fmla="*/ 46214 h 40885"/>
                <a:gd name="connsiteX3" fmla="*/ 3042 w 20442"/>
                <a:gd name="connsiteY3" fmla="*/ 831 h 40885"/>
                <a:gd name="connsiteX4" fmla="*/ 180 w 20442"/>
                <a:gd name="connsiteY4" fmla="*/ 2364 h 40885"/>
                <a:gd name="connsiteX5" fmla="*/ 180 w 20442"/>
                <a:gd name="connsiteY5" fmla="*/ 236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80" y="2364"/>
                  </a:moveTo>
                  <a:cubicBezTo>
                    <a:pt x="7335" y="17492"/>
                    <a:pt x="14490" y="32619"/>
                    <a:pt x="21645" y="47747"/>
                  </a:cubicBezTo>
                  <a:cubicBezTo>
                    <a:pt x="22463" y="49587"/>
                    <a:pt x="25325" y="47952"/>
                    <a:pt x="24507" y="46214"/>
                  </a:cubicBezTo>
                  <a:cubicBezTo>
                    <a:pt x="17352" y="31086"/>
                    <a:pt x="10197" y="15958"/>
                    <a:pt x="3042" y="831"/>
                  </a:cubicBezTo>
                  <a:cubicBezTo>
                    <a:pt x="2122" y="-1009"/>
                    <a:pt x="-740" y="524"/>
                    <a:pt x="180" y="2364"/>
                  </a:cubicBezTo>
                  <a:lnTo>
                    <a:pt x="180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0" name="任意多边形: 形状 989">
              <a:extLst>
                <a:ext uri="{FF2B5EF4-FFF2-40B4-BE49-F238E27FC236}">
                  <a16:creationId xmlns:a16="http://schemas.microsoft.com/office/drawing/2014/main" id="{CA394190-E4A9-4B9F-AFAC-768CAD14CDE7}"/>
                </a:ext>
              </a:extLst>
            </p:cNvPr>
            <p:cNvSpPr/>
            <p:nvPr/>
          </p:nvSpPr>
          <p:spPr>
            <a:xfrm>
              <a:off x="9150109" y="4698331"/>
              <a:ext cx="7922" cy="31691"/>
            </a:xfrm>
            <a:custGeom>
              <a:avLst/>
              <a:gdLst>
                <a:gd name="connsiteX0" fmla="*/ 104 w 10221"/>
                <a:gd name="connsiteY0" fmla="*/ 1855 h 40885"/>
                <a:gd name="connsiteX1" fmla="*/ 16357 w 10221"/>
                <a:gd name="connsiteY1" fmla="*/ 41923 h 40885"/>
                <a:gd name="connsiteX2" fmla="*/ 19525 w 10221"/>
                <a:gd name="connsiteY2" fmla="*/ 41105 h 40885"/>
                <a:gd name="connsiteX3" fmla="*/ 3273 w 10221"/>
                <a:gd name="connsiteY3" fmla="*/ 1037 h 40885"/>
                <a:gd name="connsiteX4" fmla="*/ 104 w 10221"/>
                <a:gd name="connsiteY4" fmla="*/ 1855 h 40885"/>
                <a:gd name="connsiteX5" fmla="*/ 104 w 10221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104" y="1855"/>
                  </a:moveTo>
                  <a:cubicBezTo>
                    <a:pt x="5522" y="15245"/>
                    <a:pt x="10939" y="28533"/>
                    <a:pt x="16357" y="41923"/>
                  </a:cubicBezTo>
                  <a:cubicBezTo>
                    <a:pt x="17072" y="43763"/>
                    <a:pt x="20241" y="42945"/>
                    <a:pt x="19525" y="41105"/>
                  </a:cubicBezTo>
                  <a:cubicBezTo>
                    <a:pt x="14108" y="27715"/>
                    <a:pt x="8690" y="14427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1" name="任意多边形: 形状 990">
              <a:extLst>
                <a:ext uri="{FF2B5EF4-FFF2-40B4-BE49-F238E27FC236}">
                  <a16:creationId xmlns:a16="http://schemas.microsoft.com/office/drawing/2014/main" id="{C4C44BDD-A73B-42AD-99C3-160F44F0416D}"/>
                </a:ext>
              </a:extLst>
            </p:cNvPr>
            <p:cNvSpPr/>
            <p:nvPr/>
          </p:nvSpPr>
          <p:spPr>
            <a:xfrm>
              <a:off x="8696365" y="4102910"/>
              <a:ext cx="7922" cy="71304"/>
            </a:xfrm>
            <a:custGeom>
              <a:avLst/>
              <a:gdLst>
                <a:gd name="connsiteX0" fmla="*/ 21 w 10221"/>
                <a:gd name="connsiteY0" fmla="*/ 2002 h 91992"/>
                <a:gd name="connsiteX1" fmla="*/ 17091 w 10221"/>
                <a:gd name="connsiteY1" fmla="*/ 91337 h 91992"/>
                <a:gd name="connsiteX2" fmla="*/ 20259 w 10221"/>
                <a:gd name="connsiteY2" fmla="*/ 90520 h 91992"/>
                <a:gd name="connsiteX3" fmla="*/ 3189 w 10221"/>
                <a:gd name="connsiteY3" fmla="*/ 1184 h 91992"/>
                <a:gd name="connsiteX4" fmla="*/ 21 w 10221"/>
                <a:gd name="connsiteY4" fmla="*/ 2002 h 91992"/>
                <a:gd name="connsiteX5" fmla="*/ 21 w 10221"/>
                <a:gd name="connsiteY5" fmla="*/ 200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1" y="2002"/>
                  </a:moveTo>
                  <a:cubicBezTo>
                    <a:pt x="5029" y="31951"/>
                    <a:pt x="10753" y="61695"/>
                    <a:pt x="17091" y="91337"/>
                  </a:cubicBezTo>
                  <a:cubicBezTo>
                    <a:pt x="17500" y="93279"/>
                    <a:pt x="20668" y="92462"/>
                    <a:pt x="20259" y="90520"/>
                  </a:cubicBezTo>
                  <a:cubicBezTo>
                    <a:pt x="13922" y="60877"/>
                    <a:pt x="8198" y="31031"/>
                    <a:pt x="3189" y="1184"/>
                  </a:cubicBezTo>
                  <a:cubicBezTo>
                    <a:pt x="2883" y="-860"/>
                    <a:pt x="-286" y="-42"/>
                    <a:pt x="21" y="2002"/>
                  </a:cubicBezTo>
                  <a:lnTo>
                    <a:pt x="21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2" name="任意多边形: 形状 991">
              <a:extLst>
                <a:ext uri="{FF2B5EF4-FFF2-40B4-BE49-F238E27FC236}">
                  <a16:creationId xmlns:a16="http://schemas.microsoft.com/office/drawing/2014/main" id="{F97CD536-95B5-44F0-B890-D9D8833DCC2C}"/>
                </a:ext>
              </a:extLst>
            </p:cNvPr>
            <p:cNvSpPr/>
            <p:nvPr/>
          </p:nvSpPr>
          <p:spPr>
            <a:xfrm>
              <a:off x="8708105" y="4090915"/>
              <a:ext cx="7922" cy="71304"/>
            </a:xfrm>
            <a:custGeom>
              <a:avLst/>
              <a:gdLst>
                <a:gd name="connsiteX0" fmla="*/ 2 w 10221"/>
                <a:gd name="connsiteY0" fmla="*/ 1533 h 91992"/>
                <a:gd name="connsiteX1" fmla="*/ 12064 w 10221"/>
                <a:gd name="connsiteY1" fmla="*/ 99046 h 91992"/>
                <a:gd name="connsiteX2" fmla="*/ 15232 w 10221"/>
                <a:gd name="connsiteY2" fmla="*/ 98228 h 91992"/>
                <a:gd name="connsiteX3" fmla="*/ 3273 w 10221"/>
                <a:gd name="connsiteY3" fmla="*/ 1533 h 91992"/>
                <a:gd name="connsiteX4" fmla="*/ 2 w 10221"/>
                <a:gd name="connsiteY4" fmla="*/ 1533 h 91992"/>
                <a:gd name="connsiteX5" fmla="*/ 2 w 10221"/>
                <a:gd name="connsiteY5" fmla="*/ 153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" y="1533"/>
                  </a:moveTo>
                  <a:cubicBezTo>
                    <a:pt x="1944" y="34242"/>
                    <a:pt x="5931" y="66848"/>
                    <a:pt x="12064" y="99046"/>
                  </a:cubicBezTo>
                  <a:cubicBezTo>
                    <a:pt x="12473" y="100988"/>
                    <a:pt x="15641" y="100170"/>
                    <a:pt x="15232" y="98228"/>
                  </a:cubicBezTo>
                  <a:cubicBezTo>
                    <a:pt x="9202" y="66235"/>
                    <a:pt x="5215" y="33935"/>
                    <a:pt x="3273" y="1533"/>
                  </a:cubicBezTo>
                  <a:cubicBezTo>
                    <a:pt x="3171" y="-511"/>
                    <a:pt x="-100" y="-511"/>
                    <a:pt x="2" y="1533"/>
                  </a:cubicBezTo>
                  <a:lnTo>
                    <a:pt x="2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3" name="任意多边形: 形状 992">
              <a:extLst>
                <a:ext uri="{FF2B5EF4-FFF2-40B4-BE49-F238E27FC236}">
                  <a16:creationId xmlns:a16="http://schemas.microsoft.com/office/drawing/2014/main" id="{5D312CAD-9575-4227-911E-93E07D80DE9A}"/>
                </a:ext>
              </a:extLst>
            </p:cNvPr>
            <p:cNvSpPr/>
            <p:nvPr/>
          </p:nvSpPr>
          <p:spPr>
            <a:xfrm>
              <a:off x="8716715" y="4092453"/>
              <a:ext cx="7922" cy="39613"/>
            </a:xfrm>
            <a:custGeom>
              <a:avLst/>
              <a:gdLst>
                <a:gd name="connsiteX0" fmla="*/ 36 w 10221"/>
                <a:gd name="connsiteY0" fmla="*/ 2002 h 51107"/>
                <a:gd name="connsiteX1" fmla="*/ 9951 w 10221"/>
                <a:gd name="connsiteY1" fmla="*/ 56278 h 51107"/>
                <a:gd name="connsiteX2" fmla="*/ 13120 w 10221"/>
                <a:gd name="connsiteY2" fmla="*/ 55460 h 51107"/>
                <a:gd name="connsiteX3" fmla="*/ 3205 w 10221"/>
                <a:gd name="connsiteY3" fmla="*/ 1184 h 51107"/>
                <a:gd name="connsiteX4" fmla="*/ 36 w 10221"/>
                <a:gd name="connsiteY4" fmla="*/ 2002 h 51107"/>
                <a:gd name="connsiteX5" fmla="*/ 36 w 10221"/>
                <a:gd name="connsiteY5" fmla="*/ 200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36" y="2002"/>
                  </a:moveTo>
                  <a:cubicBezTo>
                    <a:pt x="3307" y="20094"/>
                    <a:pt x="6680" y="38186"/>
                    <a:pt x="9951" y="56278"/>
                  </a:cubicBezTo>
                  <a:cubicBezTo>
                    <a:pt x="10258" y="58220"/>
                    <a:pt x="13529" y="57402"/>
                    <a:pt x="13120" y="55460"/>
                  </a:cubicBezTo>
                  <a:cubicBezTo>
                    <a:pt x="9747" y="37368"/>
                    <a:pt x="6476" y="19276"/>
                    <a:pt x="3205" y="1184"/>
                  </a:cubicBezTo>
                  <a:cubicBezTo>
                    <a:pt x="2796" y="-860"/>
                    <a:pt x="-373" y="-43"/>
                    <a:pt x="36" y="2002"/>
                  </a:cubicBezTo>
                  <a:lnTo>
                    <a:pt x="36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723750" y="5187623"/>
            <a:ext cx="556515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i="1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1723750" y="5829300"/>
            <a:ext cx="335531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 i="1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079059" y="5840437"/>
            <a:ext cx="220984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 i="1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cxnSp>
        <p:nvCxnSpPr>
          <p:cNvPr id="994" name="直接连接符 993">
            <a:extLst>
              <a:ext uri="{FF2B5EF4-FFF2-40B4-BE49-F238E27FC236}">
                <a16:creationId xmlns:a16="http://schemas.microsoft.com/office/drawing/2014/main" id="{662419A5-526D-4217-AC33-7AA0C42E2537}"/>
              </a:ext>
            </a:extLst>
          </p:cNvPr>
          <p:cNvCxnSpPr>
            <a:cxnSpLocks/>
          </p:cNvCxnSpPr>
          <p:nvPr userDrawn="1"/>
        </p:nvCxnSpPr>
        <p:spPr>
          <a:xfrm>
            <a:off x="1825349" y="5088811"/>
            <a:ext cx="10366651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5" name="直接连接符 994">
            <a:extLst>
              <a:ext uri="{FF2B5EF4-FFF2-40B4-BE49-F238E27FC236}">
                <a16:creationId xmlns:a16="http://schemas.microsoft.com/office/drawing/2014/main" id="{93F1F318-9EE6-4FFA-ACA8-FCAE2821B9F5}"/>
              </a:ext>
            </a:extLst>
          </p:cNvPr>
          <p:cNvCxnSpPr>
            <a:cxnSpLocks/>
          </p:cNvCxnSpPr>
          <p:nvPr userDrawn="1"/>
        </p:nvCxnSpPr>
        <p:spPr>
          <a:xfrm>
            <a:off x="0" y="3675159"/>
            <a:ext cx="7489549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9" name="标题 1">
            <a:extLst>
              <a:ext uri="{FF2B5EF4-FFF2-40B4-BE49-F238E27FC236}">
                <a16:creationId xmlns:a16="http://schemas.microsoft.com/office/drawing/2014/main" id="{543D9BE3-962E-4B18-AA4F-48766B4EFF49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673477" y="3845278"/>
            <a:ext cx="3797170" cy="1086806"/>
          </a:xfrm>
        </p:spPr>
        <p:txBody>
          <a:bodyPr anchor="b">
            <a:normAutofit/>
          </a:bodyPr>
          <a:lstStyle>
            <a:lvl1pPr algn="l">
              <a:defRPr sz="400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pic>
        <p:nvPicPr>
          <p:cNvPr id="331" name="图片 330">
            <a:extLst>
              <a:ext uri="{FF2B5EF4-FFF2-40B4-BE49-F238E27FC236}">
                <a16:creationId xmlns:a16="http://schemas.microsoft.com/office/drawing/2014/main" id="{5CA5D154-D163-4798-8D82-2DEA809A94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accent1">
            <a:lumMod val="20000"/>
            <a:lumOff val="80000"/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121968" y="3124200"/>
            <a:ext cx="3948063" cy="895350"/>
          </a:xfrm>
        </p:spPr>
        <p:txBody>
          <a:bodyPr anchor="b">
            <a:normAutofit/>
          </a:bodyPr>
          <a:lstStyle>
            <a:lvl1pPr algn="l">
              <a:defRPr sz="2400" b="0" i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123084" y="4019550"/>
            <a:ext cx="394806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 b="0" i="1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54777234-CC6A-4DE8-BF46-791F8B7FDE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846762D-7BBE-4014-B241-1685DC2168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6197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405869" y="1685894"/>
            <a:ext cx="5422900" cy="241701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405867" y="4547879"/>
            <a:ext cx="5422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5869" y="4251608"/>
            <a:ext cx="5422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10" name="组合 9">
            <a:extLst>
              <a:ext uri="{FF2B5EF4-FFF2-40B4-BE49-F238E27FC236}">
                <a16:creationId xmlns:a16="http://schemas.microsoft.com/office/drawing/2014/main" id="{214C149A-2C20-4CCA-B0BD-BDCD34CEF5B0}"/>
              </a:ext>
            </a:extLst>
          </p:cNvPr>
          <p:cNvGrpSpPr/>
          <p:nvPr userDrawn="1"/>
        </p:nvGrpSpPr>
        <p:grpSpPr>
          <a:xfrm>
            <a:off x="1564223" y="732429"/>
            <a:ext cx="3640653" cy="4320293"/>
            <a:chOff x="7790935" y="732429"/>
            <a:chExt cx="3640653" cy="4320293"/>
          </a:xfrm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C507EFDC-0CFB-45CE-B13C-03774FB1D327}"/>
                </a:ext>
              </a:extLst>
            </p:cNvPr>
            <p:cNvSpPr/>
            <p:nvPr/>
          </p:nvSpPr>
          <p:spPr>
            <a:xfrm>
              <a:off x="8581503" y="3888967"/>
              <a:ext cx="713037" cy="673424"/>
            </a:xfrm>
            <a:custGeom>
              <a:avLst/>
              <a:gdLst>
                <a:gd name="connsiteX0" fmla="*/ 861974 w 919929"/>
                <a:gd name="connsiteY0" fmla="*/ 654888 h 868822"/>
                <a:gd name="connsiteX1" fmla="*/ 820475 w 919929"/>
                <a:gd name="connsiteY1" fmla="*/ 599283 h 868822"/>
                <a:gd name="connsiteX2" fmla="*/ 824359 w 919929"/>
                <a:gd name="connsiteY2" fmla="*/ 591208 h 868822"/>
                <a:gd name="connsiteX3" fmla="*/ 859419 w 919929"/>
                <a:gd name="connsiteY3" fmla="*/ 445451 h 868822"/>
                <a:gd name="connsiteX4" fmla="*/ 859623 w 919929"/>
                <a:gd name="connsiteY4" fmla="*/ 436558 h 868822"/>
                <a:gd name="connsiteX5" fmla="*/ 922485 w 919929"/>
                <a:gd name="connsiteY5" fmla="*/ 403440 h 868822"/>
                <a:gd name="connsiteX6" fmla="*/ 907971 w 919929"/>
                <a:gd name="connsiteY6" fmla="*/ 322895 h 868822"/>
                <a:gd name="connsiteX7" fmla="*/ 837034 w 919929"/>
                <a:gd name="connsiteY7" fmla="*/ 311243 h 868822"/>
                <a:gd name="connsiteX8" fmla="*/ 833763 w 919929"/>
                <a:gd name="connsiteY8" fmla="*/ 302964 h 868822"/>
                <a:gd name="connsiteX9" fmla="*/ 749641 w 919929"/>
                <a:gd name="connsiteY9" fmla="*/ 176422 h 868822"/>
                <a:gd name="connsiteX10" fmla="*/ 743201 w 919929"/>
                <a:gd name="connsiteY10" fmla="*/ 169983 h 868822"/>
                <a:gd name="connsiteX11" fmla="*/ 762928 w 919929"/>
                <a:gd name="connsiteY11" fmla="*/ 104463 h 868822"/>
                <a:gd name="connsiteX12" fmla="*/ 692401 w 919929"/>
                <a:gd name="connsiteY12" fmla="*/ 57240 h 868822"/>
                <a:gd name="connsiteX13" fmla="*/ 633627 w 919929"/>
                <a:gd name="connsiteY13" fmla="*/ 96490 h 868822"/>
                <a:gd name="connsiteX14" fmla="*/ 625041 w 919929"/>
                <a:gd name="connsiteY14" fmla="*/ 92811 h 868822"/>
                <a:gd name="connsiteX15" fmla="*/ 471004 w 919929"/>
                <a:gd name="connsiteY15" fmla="*/ 59693 h 868822"/>
                <a:gd name="connsiteX16" fmla="*/ 461600 w 919929"/>
                <a:gd name="connsiteY16" fmla="*/ 59489 h 868822"/>
                <a:gd name="connsiteX17" fmla="*/ 426541 w 919929"/>
                <a:gd name="connsiteY17" fmla="*/ 0 h 868822"/>
                <a:gd name="connsiteX18" fmla="*/ 341294 w 919929"/>
                <a:gd name="connsiteY18" fmla="*/ 13697 h 868822"/>
                <a:gd name="connsiteX19" fmla="*/ 329028 w 919929"/>
                <a:gd name="connsiteY19" fmla="*/ 80852 h 868822"/>
                <a:gd name="connsiteX20" fmla="*/ 320238 w 919929"/>
                <a:gd name="connsiteY20" fmla="*/ 83918 h 868822"/>
                <a:gd name="connsiteX21" fmla="*/ 186439 w 919929"/>
                <a:gd name="connsiteY21" fmla="*/ 163441 h 868822"/>
                <a:gd name="connsiteX22" fmla="*/ 179693 w 919929"/>
                <a:gd name="connsiteY22" fmla="*/ 169574 h 868822"/>
                <a:gd name="connsiteX23" fmla="*/ 110494 w 919929"/>
                <a:gd name="connsiteY23" fmla="*/ 150971 h 868822"/>
                <a:gd name="connsiteX24" fmla="*/ 60511 w 919929"/>
                <a:gd name="connsiteY24" fmla="*/ 217615 h 868822"/>
                <a:gd name="connsiteX25" fmla="*/ 102010 w 919929"/>
                <a:gd name="connsiteY25" fmla="*/ 273219 h 868822"/>
                <a:gd name="connsiteX26" fmla="*/ 98126 w 919929"/>
                <a:gd name="connsiteY26" fmla="*/ 281294 h 868822"/>
                <a:gd name="connsiteX27" fmla="*/ 63066 w 919929"/>
                <a:gd name="connsiteY27" fmla="*/ 427052 h 868822"/>
                <a:gd name="connsiteX28" fmla="*/ 62862 w 919929"/>
                <a:gd name="connsiteY28" fmla="*/ 435945 h 868822"/>
                <a:gd name="connsiteX29" fmla="*/ 0 w 919929"/>
                <a:gd name="connsiteY29" fmla="*/ 469062 h 868822"/>
                <a:gd name="connsiteX30" fmla="*/ 14514 w 919929"/>
                <a:gd name="connsiteY30" fmla="*/ 549607 h 868822"/>
                <a:gd name="connsiteX31" fmla="*/ 85451 w 919929"/>
                <a:gd name="connsiteY31" fmla="*/ 561260 h 868822"/>
                <a:gd name="connsiteX32" fmla="*/ 88722 w 919929"/>
                <a:gd name="connsiteY32" fmla="*/ 569539 h 868822"/>
                <a:gd name="connsiteX33" fmla="*/ 172845 w 919929"/>
                <a:gd name="connsiteY33" fmla="*/ 696080 h 868822"/>
                <a:gd name="connsiteX34" fmla="*/ 179284 w 919929"/>
                <a:gd name="connsiteY34" fmla="*/ 702520 h 868822"/>
                <a:gd name="connsiteX35" fmla="*/ 159659 w 919929"/>
                <a:gd name="connsiteY35" fmla="*/ 768039 h 868822"/>
                <a:gd name="connsiteX36" fmla="*/ 230187 w 919929"/>
                <a:gd name="connsiteY36" fmla="*/ 815262 h 868822"/>
                <a:gd name="connsiteX37" fmla="*/ 288960 w 919929"/>
                <a:gd name="connsiteY37" fmla="*/ 776012 h 868822"/>
                <a:gd name="connsiteX38" fmla="*/ 297546 w 919929"/>
                <a:gd name="connsiteY38" fmla="*/ 779692 h 868822"/>
                <a:gd name="connsiteX39" fmla="*/ 451583 w 919929"/>
                <a:gd name="connsiteY39" fmla="*/ 812809 h 868822"/>
                <a:gd name="connsiteX40" fmla="*/ 460987 w 919929"/>
                <a:gd name="connsiteY40" fmla="*/ 813014 h 868822"/>
                <a:gd name="connsiteX41" fmla="*/ 496047 w 919929"/>
                <a:gd name="connsiteY41" fmla="*/ 872503 h 868822"/>
                <a:gd name="connsiteX42" fmla="*/ 581191 w 919929"/>
                <a:gd name="connsiteY42" fmla="*/ 858806 h 868822"/>
                <a:gd name="connsiteX43" fmla="*/ 593457 w 919929"/>
                <a:gd name="connsiteY43" fmla="*/ 791651 h 868822"/>
                <a:gd name="connsiteX44" fmla="*/ 602248 w 919929"/>
                <a:gd name="connsiteY44" fmla="*/ 788584 h 868822"/>
                <a:gd name="connsiteX45" fmla="*/ 736046 w 919929"/>
                <a:gd name="connsiteY45" fmla="*/ 709061 h 868822"/>
                <a:gd name="connsiteX46" fmla="*/ 742792 w 919929"/>
                <a:gd name="connsiteY46" fmla="*/ 702929 h 868822"/>
                <a:gd name="connsiteX47" fmla="*/ 811991 w 919929"/>
                <a:gd name="connsiteY47" fmla="*/ 721532 h 868822"/>
                <a:gd name="connsiteX48" fmla="*/ 861974 w 919929"/>
                <a:gd name="connsiteY48" fmla="*/ 654888 h 868822"/>
                <a:gd name="connsiteX49" fmla="*/ 514036 w 919929"/>
                <a:gd name="connsiteY49" fmla="*/ 729811 h 868822"/>
                <a:gd name="connsiteX50" fmla="*/ 460476 w 919929"/>
                <a:gd name="connsiteY50" fmla="*/ 734104 h 868822"/>
                <a:gd name="connsiteX51" fmla="*/ 279045 w 919929"/>
                <a:gd name="connsiteY51" fmla="*/ 679215 h 868822"/>
                <a:gd name="connsiteX52" fmla="*/ 150766 w 919929"/>
                <a:gd name="connsiteY52" fmla="*/ 486336 h 868822"/>
                <a:gd name="connsiteX53" fmla="*/ 408244 w 919929"/>
                <a:gd name="connsiteY53" fmla="*/ 142896 h 868822"/>
                <a:gd name="connsiteX54" fmla="*/ 643133 w 919929"/>
                <a:gd name="connsiteY54" fmla="*/ 193492 h 868822"/>
                <a:gd name="connsiteX55" fmla="*/ 771412 w 919929"/>
                <a:gd name="connsiteY55" fmla="*/ 386371 h 868822"/>
                <a:gd name="connsiteX56" fmla="*/ 514036 w 919929"/>
                <a:gd name="connsiteY56" fmla="*/ 729811 h 868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919929" h="868822">
                  <a:moveTo>
                    <a:pt x="861974" y="654888"/>
                  </a:moveTo>
                  <a:lnTo>
                    <a:pt x="820475" y="599283"/>
                  </a:lnTo>
                  <a:lnTo>
                    <a:pt x="824359" y="591208"/>
                  </a:lnTo>
                  <a:cubicBezTo>
                    <a:pt x="846438" y="545110"/>
                    <a:pt x="858192" y="496149"/>
                    <a:pt x="859419" y="445451"/>
                  </a:cubicBezTo>
                  <a:lnTo>
                    <a:pt x="859623" y="436558"/>
                  </a:lnTo>
                  <a:lnTo>
                    <a:pt x="922485" y="403440"/>
                  </a:lnTo>
                  <a:lnTo>
                    <a:pt x="907971" y="322895"/>
                  </a:lnTo>
                  <a:lnTo>
                    <a:pt x="837034" y="311243"/>
                  </a:lnTo>
                  <a:lnTo>
                    <a:pt x="833763" y="302964"/>
                  </a:lnTo>
                  <a:cubicBezTo>
                    <a:pt x="814853" y="255536"/>
                    <a:pt x="786540" y="213015"/>
                    <a:pt x="749641" y="176422"/>
                  </a:cubicBezTo>
                  <a:lnTo>
                    <a:pt x="743201" y="169983"/>
                  </a:lnTo>
                  <a:lnTo>
                    <a:pt x="762928" y="104463"/>
                  </a:lnTo>
                  <a:lnTo>
                    <a:pt x="692401" y="57240"/>
                  </a:lnTo>
                  <a:lnTo>
                    <a:pt x="633627" y="96490"/>
                  </a:lnTo>
                  <a:lnTo>
                    <a:pt x="625041" y="92811"/>
                  </a:lnTo>
                  <a:cubicBezTo>
                    <a:pt x="576387" y="71959"/>
                    <a:pt x="524462" y="60818"/>
                    <a:pt x="471004" y="59693"/>
                  </a:cubicBezTo>
                  <a:lnTo>
                    <a:pt x="461600" y="59489"/>
                  </a:lnTo>
                  <a:lnTo>
                    <a:pt x="426541" y="0"/>
                  </a:lnTo>
                  <a:lnTo>
                    <a:pt x="341294" y="13697"/>
                  </a:lnTo>
                  <a:lnTo>
                    <a:pt x="329028" y="80852"/>
                  </a:lnTo>
                  <a:lnTo>
                    <a:pt x="320238" y="83918"/>
                  </a:lnTo>
                  <a:cubicBezTo>
                    <a:pt x="270153" y="101805"/>
                    <a:pt x="225076" y="128586"/>
                    <a:pt x="186439" y="163441"/>
                  </a:cubicBezTo>
                  <a:lnTo>
                    <a:pt x="179693" y="169574"/>
                  </a:lnTo>
                  <a:lnTo>
                    <a:pt x="110494" y="150971"/>
                  </a:lnTo>
                  <a:lnTo>
                    <a:pt x="60511" y="217615"/>
                  </a:lnTo>
                  <a:lnTo>
                    <a:pt x="102010" y="273219"/>
                  </a:lnTo>
                  <a:lnTo>
                    <a:pt x="98126" y="281294"/>
                  </a:lnTo>
                  <a:cubicBezTo>
                    <a:pt x="76048" y="327393"/>
                    <a:pt x="64293" y="376354"/>
                    <a:pt x="63066" y="427052"/>
                  </a:cubicBezTo>
                  <a:lnTo>
                    <a:pt x="62862" y="435945"/>
                  </a:lnTo>
                  <a:lnTo>
                    <a:pt x="0" y="469062"/>
                  </a:lnTo>
                  <a:lnTo>
                    <a:pt x="14514" y="549607"/>
                  </a:lnTo>
                  <a:lnTo>
                    <a:pt x="85451" y="561260"/>
                  </a:lnTo>
                  <a:lnTo>
                    <a:pt x="88722" y="569539"/>
                  </a:lnTo>
                  <a:cubicBezTo>
                    <a:pt x="107632" y="616967"/>
                    <a:pt x="135945" y="659488"/>
                    <a:pt x="172845" y="696080"/>
                  </a:cubicBezTo>
                  <a:lnTo>
                    <a:pt x="179284" y="702520"/>
                  </a:lnTo>
                  <a:lnTo>
                    <a:pt x="159659" y="768039"/>
                  </a:lnTo>
                  <a:lnTo>
                    <a:pt x="230187" y="815262"/>
                  </a:lnTo>
                  <a:lnTo>
                    <a:pt x="288960" y="776012"/>
                  </a:lnTo>
                  <a:lnTo>
                    <a:pt x="297546" y="779692"/>
                  </a:lnTo>
                  <a:cubicBezTo>
                    <a:pt x="346200" y="800544"/>
                    <a:pt x="398125" y="811685"/>
                    <a:pt x="451583" y="812809"/>
                  </a:cubicBezTo>
                  <a:lnTo>
                    <a:pt x="460987" y="813014"/>
                  </a:lnTo>
                  <a:lnTo>
                    <a:pt x="496047" y="872503"/>
                  </a:lnTo>
                  <a:lnTo>
                    <a:pt x="581191" y="858806"/>
                  </a:lnTo>
                  <a:lnTo>
                    <a:pt x="593457" y="791651"/>
                  </a:lnTo>
                  <a:lnTo>
                    <a:pt x="602248" y="788584"/>
                  </a:lnTo>
                  <a:cubicBezTo>
                    <a:pt x="652333" y="770697"/>
                    <a:pt x="697409" y="743917"/>
                    <a:pt x="736046" y="709061"/>
                  </a:cubicBezTo>
                  <a:lnTo>
                    <a:pt x="742792" y="702929"/>
                  </a:lnTo>
                  <a:lnTo>
                    <a:pt x="811991" y="721532"/>
                  </a:lnTo>
                  <a:lnTo>
                    <a:pt x="861974" y="654888"/>
                  </a:lnTo>
                  <a:close/>
                  <a:moveTo>
                    <a:pt x="514036" y="729811"/>
                  </a:moveTo>
                  <a:cubicBezTo>
                    <a:pt x="496149" y="732673"/>
                    <a:pt x="478261" y="734104"/>
                    <a:pt x="460476" y="734104"/>
                  </a:cubicBezTo>
                  <a:cubicBezTo>
                    <a:pt x="395877" y="734104"/>
                    <a:pt x="332912" y="715297"/>
                    <a:pt x="279045" y="679215"/>
                  </a:cubicBezTo>
                  <a:cubicBezTo>
                    <a:pt x="210459" y="633219"/>
                    <a:pt x="164872" y="564735"/>
                    <a:pt x="150766" y="486336"/>
                  </a:cubicBezTo>
                  <a:cubicBezTo>
                    <a:pt x="121635" y="324531"/>
                    <a:pt x="237137" y="170494"/>
                    <a:pt x="408244" y="142896"/>
                  </a:cubicBezTo>
                  <a:cubicBezTo>
                    <a:pt x="491140" y="129506"/>
                    <a:pt x="574547" y="147495"/>
                    <a:pt x="643133" y="193492"/>
                  </a:cubicBezTo>
                  <a:cubicBezTo>
                    <a:pt x="711719" y="239488"/>
                    <a:pt x="757307" y="307972"/>
                    <a:pt x="771412" y="386371"/>
                  </a:cubicBezTo>
                  <a:cubicBezTo>
                    <a:pt x="800748" y="548176"/>
                    <a:pt x="685246" y="702213"/>
                    <a:pt x="514036" y="72981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CDAEF57E-DD95-4D9A-8D77-74E082CA53AA}"/>
                </a:ext>
              </a:extLst>
            </p:cNvPr>
            <p:cNvSpPr/>
            <p:nvPr/>
          </p:nvSpPr>
          <p:spPr>
            <a:xfrm>
              <a:off x="9116201" y="4398392"/>
              <a:ext cx="522893" cy="491203"/>
            </a:xfrm>
            <a:custGeom>
              <a:avLst/>
              <a:gdLst>
                <a:gd name="connsiteX0" fmla="*/ 603781 w 674615"/>
                <a:gd name="connsiteY0" fmla="*/ 433185 h 633729"/>
                <a:gd name="connsiteX1" fmla="*/ 629437 w 674615"/>
                <a:gd name="connsiteY1" fmla="*/ 326473 h 633729"/>
                <a:gd name="connsiteX2" fmla="*/ 629641 w 674615"/>
                <a:gd name="connsiteY2" fmla="*/ 317580 h 633729"/>
                <a:gd name="connsiteX3" fmla="*/ 675842 w 674615"/>
                <a:gd name="connsiteY3" fmla="*/ 293253 h 633729"/>
                <a:gd name="connsiteX4" fmla="*/ 666131 w 674615"/>
                <a:gd name="connsiteY4" fmla="*/ 238977 h 633729"/>
                <a:gd name="connsiteX5" fmla="*/ 614002 w 674615"/>
                <a:gd name="connsiteY5" fmla="*/ 230493 h 633729"/>
                <a:gd name="connsiteX6" fmla="*/ 610731 w 674615"/>
                <a:gd name="connsiteY6" fmla="*/ 222214 h 633729"/>
                <a:gd name="connsiteX7" fmla="*/ 549198 w 674615"/>
                <a:gd name="connsiteY7" fmla="*/ 129608 h 633729"/>
                <a:gd name="connsiteX8" fmla="*/ 542759 w 674615"/>
                <a:gd name="connsiteY8" fmla="*/ 123168 h 633729"/>
                <a:gd name="connsiteX9" fmla="*/ 557273 w 674615"/>
                <a:gd name="connsiteY9" fmla="*/ 75025 h 633729"/>
                <a:gd name="connsiteX10" fmla="*/ 509743 w 674615"/>
                <a:gd name="connsiteY10" fmla="*/ 43135 h 633729"/>
                <a:gd name="connsiteX11" fmla="*/ 466507 w 674615"/>
                <a:gd name="connsiteY11" fmla="*/ 71959 h 633729"/>
                <a:gd name="connsiteX12" fmla="*/ 457921 w 674615"/>
                <a:gd name="connsiteY12" fmla="*/ 68279 h 633729"/>
                <a:gd name="connsiteX13" fmla="*/ 345076 w 674615"/>
                <a:gd name="connsiteY13" fmla="*/ 43952 h 633729"/>
                <a:gd name="connsiteX14" fmla="*/ 335672 w 674615"/>
                <a:gd name="connsiteY14" fmla="*/ 43748 h 633729"/>
                <a:gd name="connsiteX15" fmla="*/ 309914 w 674615"/>
                <a:gd name="connsiteY15" fmla="*/ 0 h 633729"/>
                <a:gd name="connsiteX16" fmla="*/ 252572 w 674615"/>
                <a:gd name="connsiteY16" fmla="*/ 9199 h 633729"/>
                <a:gd name="connsiteX17" fmla="*/ 243577 w 674615"/>
                <a:gd name="connsiteY17" fmla="*/ 58467 h 633729"/>
                <a:gd name="connsiteX18" fmla="*/ 234787 w 674615"/>
                <a:gd name="connsiteY18" fmla="*/ 61635 h 633729"/>
                <a:gd name="connsiteX19" fmla="*/ 136865 w 674615"/>
                <a:gd name="connsiteY19" fmla="*/ 119897 h 633729"/>
                <a:gd name="connsiteX20" fmla="*/ 130119 w 674615"/>
                <a:gd name="connsiteY20" fmla="*/ 126030 h 633729"/>
                <a:gd name="connsiteX21" fmla="*/ 79216 w 674615"/>
                <a:gd name="connsiteY21" fmla="*/ 112334 h 633729"/>
                <a:gd name="connsiteX22" fmla="*/ 45485 w 674615"/>
                <a:gd name="connsiteY22" fmla="*/ 157308 h 633729"/>
                <a:gd name="connsiteX23" fmla="*/ 75945 w 674615"/>
                <a:gd name="connsiteY23" fmla="*/ 198194 h 633729"/>
                <a:gd name="connsiteX24" fmla="*/ 72061 w 674615"/>
                <a:gd name="connsiteY24" fmla="*/ 206269 h 633729"/>
                <a:gd name="connsiteX25" fmla="*/ 46405 w 674615"/>
                <a:gd name="connsiteY25" fmla="*/ 312981 h 633729"/>
                <a:gd name="connsiteX26" fmla="*/ 46201 w 674615"/>
                <a:gd name="connsiteY26" fmla="*/ 321873 h 633729"/>
                <a:gd name="connsiteX27" fmla="*/ 0 w 674615"/>
                <a:gd name="connsiteY27" fmla="*/ 346200 h 633729"/>
                <a:gd name="connsiteX28" fmla="*/ 9813 w 674615"/>
                <a:gd name="connsiteY28" fmla="*/ 400476 h 633729"/>
                <a:gd name="connsiteX29" fmla="*/ 61942 w 674615"/>
                <a:gd name="connsiteY29" fmla="*/ 408960 h 633729"/>
                <a:gd name="connsiteX30" fmla="*/ 65213 w 674615"/>
                <a:gd name="connsiteY30" fmla="*/ 417239 h 633729"/>
                <a:gd name="connsiteX31" fmla="*/ 126746 w 674615"/>
                <a:gd name="connsiteY31" fmla="*/ 509846 h 633729"/>
                <a:gd name="connsiteX32" fmla="*/ 133185 w 674615"/>
                <a:gd name="connsiteY32" fmla="*/ 516285 h 633729"/>
                <a:gd name="connsiteX33" fmla="*/ 118773 w 674615"/>
                <a:gd name="connsiteY33" fmla="*/ 564428 h 633729"/>
                <a:gd name="connsiteX34" fmla="*/ 166201 w 674615"/>
                <a:gd name="connsiteY34" fmla="*/ 596319 h 633729"/>
                <a:gd name="connsiteX35" fmla="*/ 209437 w 674615"/>
                <a:gd name="connsiteY35" fmla="*/ 567494 h 633729"/>
                <a:gd name="connsiteX36" fmla="*/ 218023 w 674615"/>
                <a:gd name="connsiteY36" fmla="*/ 571174 h 633729"/>
                <a:gd name="connsiteX37" fmla="*/ 330868 w 674615"/>
                <a:gd name="connsiteY37" fmla="*/ 595501 h 633729"/>
                <a:gd name="connsiteX38" fmla="*/ 340272 w 674615"/>
                <a:gd name="connsiteY38" fmla="*/ 595705 h 633729"/>
                <a:gd name="connsiteX39" fmla="*/ 366030 w 674615"/>
                <a:gd name="connsiteY39" fmla="*/ 639453 h 633729"/>
                <a:gd name="connsiteX40" fmla="*/ 423475 w 674615"/>
                <a:gd name="connsiteY40" fmla="*/ 630254 h 633729"/>
                <a:gd name="connsiteX41" fmla="*/ 432469 w 674615"/>
                <a:gd name="connsiteY41" fmla="*/ 580885 h 633729"/>
                <a:gd name="connsiteX42" fmla="*/ 441260 w 674615"/>
                <a:gd name="connsiteY42" fmla="*/ 577818 h 633729"/>
                <a:gd name="connsiteX43" fmla="*/ 539181 w 674615"/>
                <a:gd name="connsiteY43" fmla="*/ 519556 h 633729"/>
                <a:gd name="connsiteX44" fmla="*/ 545927 w 674615"/>
                <a:gd name="connsiteY44" fmla="*/ 513423 h 633729"/>
                <a:gd name="connsiteX45" fmla="*/ 596830 w 674615"/>
                <a:gd name="connsiteY45" fmla="*/ 527120 h 633729"/>
                <a:gd name="connsiteX46" fmla="*/ 630561 w 674615"/>
                <a:gd name="connsiteY46" fmla="*/ 482145 h 633729"/>
                <a:gd name="connsiteX47" fmla="*/ 600101 w 674615"/>
                <a:gd name="connsiteY47" fmla="*/ 441260 h 633729"/>
                <a:gd name="connsiteX48" fmla="*/ 603781 w 674615"/>
                <a:gd name="connsiteY48" fmla="*/ 433185 h 633729"/>
                <a:gd name="connsiteX49" fmla="*/ 377887 w 674615"/>
                <a:gd name="connsiteY49" fmla="*/ 541634 h 633729"/>
                <a:gd name="connsiteX50" fmla="*/ 337410 w 674615"/>
                <a:gd name="connsiteY50" fmla="*/ 544905 h 633729"/>
                <a:gd name="connsiteX51" fmla="*/ 200238 w 674615"/>
                <a:gd name="connsiteY51" fmla="*/ 503406 h 633729"/>
                <a:gd name="connsiteX52" fmla="*/ 103237 w 674615"/>
                <a:gd name="connsiteY52" fmla="*/ 357546 h 633729"/>
                <a:gd name="connsiteX53" fmla="*/ 143713 w 674615"/>
                <a:gd name="connsiteY53" fmla="*/ 189505 h 633729"/>
                <a:gd name="connsiteX54" fmla="*/ 297955 w 674615"/>
                <a:gd name="connsiteY54" fmla="*/ 97819 h 633729"/>
                <a:gd name="connsiteX55" fmla="*/ 475604 w 674615"/>
                <a:gd name="connsiteY55" fmla="*/ 136047 h 633729"/>
                <a:gd name="connsiteX56" fmla="*/ 572605 w 674615"/>
                <a:gd name="connsiteY56" fmla="*/ 281907 h 633729"/>
                <a:gd name="connsiteX57" fmla="*/ 377887 w 674615"/>
                <a:gd name="connsiteY57" fmla="*/ 541634 h 633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674615" h="633729">
                  <a:moveTo>
                    <a:pt x="603781" y="433185"/>
                  </a:moveTo>
                  <a:cubicBezTo>
                    <a:pt x="619931" y="399454"/>
                    <a:pt x="628517" y="363577"/>
                    <a:pt x="629437" y="326473"/>
                  </a:cubicBezTo>
                  <a:lnTo>
                    <a:pt x="629641" y="317580"/>
                  </a:lnTo>
                  <a:lnTo>
                    <a:pt x="675842" y="293253"/>
                  </a:lnTo>
                  <a:lnTo>
                    <a:pt x="666131" y="238977"/>
                  </a:lnTo>
                  <a:lnTo>
                    <a:pt x="614002" y="230493"/>
                  </a:lnTo>
                  <a:lnTo>
                    <a:pt x="610731" y="222214"/>
                  </a:lnTo>
                  <a:cubicBezTo>
                    <a:pt x="596932" y="187563"/>
                    <a:pt x="576183" y="156388"/>
                    <a:pt x="549198" y="129608"/>
                  </a:cubicBezTo>
                  <a:lnTo>
                    <a:pt x="542759" y="123168"/>
                  </a:lnTo>
                  <a:lnTo>
                    <a:pt x="557273" y="75025"/>
                  </a:lnTo>
                  <a:lnTo>
                    <a:pt x="509743" y="43135"/>
                  </a:lnTo>
                  <a:lnTo>
                    <a:pt x="466507" y="71959"/>
                  </a:lnTo>
                  <a:lnTo>
                    <a:pt x="457921" y="68279"/>
                  </a:lnTo>
                  <a:cubicBezTo>
                    <a:pt x="422248" y="53049"/>
                    <a:pt x="384326" y="44872"/>
                    <a:pt x="345076" y="43952"/>
                  </a:cubicBezTo>
                  <a:lnTo>
                    <a:pt x="335672" y="43748"/>
                  </a:lnTo>
                  <a:lnTo>
                    <a:pt x="309914" y="0"/>
                  </a:lnTo>
                  <a:lnTo>
                    <a:pt x="252572" y="9199"/>
                  </a:lnTo>
                  <a:lnTo>
                    <a:pt x="243577" y="58467"/>
                  </a:lnTo>
                  <a:lnTo>
                    <a:pt x="234787" y="61635"/>
                  </a:lnTo>
                  <a:cubicBezTo>
                    <a:pt x="198092" y="74719"/>
                    <a:pt x="165179" y="94344"/>
                    <a:pt x="136865" y="119897"/>
                  </a:cubicBezTo>
                  <a:lnTo>
                    <a:pt x="130119" y="126030"/>
                  </a:lnTo>
                  <a:lnTo>
                    <a:pt x="79216" y="112334"/>
                  </a:lnTo>
                  <a:lnTo>
                    <a:pt x="45485" y="157308"/>
                  </a:lnTo>
                  <a:lnTo>
                    <a:pt x="75945" y="198194"/>
                  </a:lnTo>
                  <a:lnTo>
                    <a:pt x="72061" y="206269"/>
                  </a:lnTo>
                  <a:cubicBezTo>
                    <a:pt x="55911" y="239999"/>
                    <a:pt x="47325" y="275877"/>
                    <a:pt x="46405" y="312981"/>
                  </a:cubicBezTo>
                  <a:lnTo>
                    <a:pt x="46201" y="321873"/>
                  </a:lnTo>
                  <a:lnTo>
                    <a:pt x="0" y="346200"/>
                  </a:lnTo>
                  <a:lnTo>
                    <a:pt x="9813" y="400476"/>
                  </a:lnTo>
                  <a:lnTo>
                    <a:pt x="61942" y="408960"/>
                  </a:lnTo>
                  <a:lnTo>
                    <a:pt x="65213" y="417239"/>
                  </a:lnTo>
                  <a:cubicBezTo>
                    <a:pt x="79012" y="451890"/>
                    <a:pt x="99761" y="483065"/>
                    <a:pt x="126746" y="509846"/>
                  </a:cubicBezTo>
                  <a:lnTo>
                    <a:pt x="133185" y="516285"/>
                  </a:lnTo>
                  <a:lnTo>
                    <a:pt x="118773" y="564428"/>
                  </a:lnTo>
                  <a:lnTo>
                    <a:pt x="166201" y="596319"/>
                  </a:lnTo>
                  <a:lnTo>
                    <a:pt x="209437" y="567494"/>
                  </a:lnTo>
                  <a:lnTo>
                    <a:pt x="218023" y="571174"/>
                  </a:lnTo>
                  <a:cubicBezTo>
                    <a:pt x="253696" y="586404"/>
                    <a:pt x="291618" y="594581"/>
                    <a:pt x="330868" y="595501"/>
                  </a:cubicBezTo>
                  <a:lnTo>
                    <a:pt x="340272" y="595705"/>
                  </a:lnTo>
                  <a:lnTo>
                    <a:pt x="366030" y="639453"/>
                  </a:lnTo>
                  <a:lnTo>
                    <a:pt x="423475" y="630254"/>
                  </a:lnTo>
                  <a:lnTo>
                    <a:pt x="432469" y="580885"/>
                  </a:lnTo>
                  <a:lnTo>
                    <a:pt x="441260" y="577818"/>
                  </a:lnTo>
                  <a:cubicBezTo>
                    <a:pt x="477955" y="564735"/>
                    <a:pt x="510970" y="545110"/>
                    <a:pt x="539181" y="519556"/>
                  </a:cubicBezTo>
                  <a:lnTo>
                    <a:pt x="545927" y="513423"/>
                  </a:lnTo>
                  <a:lnTo>
                    <a:pt x="596830" y="527120"/>
                  </a:lnTo>
                  <a:lnTo>
                    <a:pt x="630561" y="482145"/>
                  </a:lnTo>
                  <a:lnTo>
                    <a:pt x="600101" y="441260"/>
                  </a:lnTo>
                  <a:lnTo>
                    <a:pt x="603781" y="433185"/>
                  </a:lnTo>
                  <a:close/>
                  <a:moveTo>
                    <a:pt x="377887" y="541634"/>
                  </a:moveTo>
                  <a:cubicBezTo>
                    <a:pt x="364394" y="543781"/>
                    <a:pt x="350800" y="544905"/>
                    <a:pt x="337410" y="544905"/>
                  </a:cubicBezTo>
                  <a:cubicBezTo>
                    <a:pt x="288551" y="544905"/>
                    <a:pt x="240920" y="530697"/>
                    <a:pt x="200238" y="503406"/>
                  </a:cubicBezTo>
                  <a:cubicBezTo>
                    <a:pt x="148415" y="468653"/>
                    <a:pt x="113867" y="416830"/>
                    <a:pt x="103237" y="357546"/>
                  </a:cubicBezTo>
                  <a:cubicBezTo>
                    <a:pt x="92606" y="298262"/>
                    <a:pt x="106916" y="238568"/>
                    <a:pt x="143713" y="189505"/>
                  </a:cubicBezTo>
                  <a:cubicBezTo>
                    <a:pt x="180511" y="140443"/>
                    <a:pt x="235298" y="107836"/>
                    <a:pt x="297955" y="97819"/>
                  </a:cubicBezTo>
                  <a:cubicBezTo>
                    <a:pt x="360613" y="87700"/>
                    <a:pt x="423781" y="101294"/>
                    <a:pt x="475604" y="136047"/>
                  </a:cubicBezTo>
                  <a:cubicBezTo>
                    <a:pt x="527427" y="170800"/>
                    <a:pt x="561975" y="222623"/>
                    <a:pt x="572605" y="281907"/>
                  </a:cubicBezTo>
                  <a:cubicBezTo>
                    <a:pt x="594581" y="404360"/>
                    <a:pt x="507290" y="520783"/>
                    <a:pt x="377887" y="541634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FF0EB02-4E46-4291-BA58-8AC28566E18B}"/>
                </a:ext>
              </a:extLst>
            </p:cNvPr>
            <p:cNvSpPr/>
            <p:nvPr/>
          </p:nvSpPr>
          <p:spPr>
            <a:xfrm>
              <a:off x="7793365" y="734889"/>
              <a:ext cx="3636487" cy="4317833"/>
            </a:xfrm>
            <a:custGeom>
              <a:avLst/>
              <a:gdLst>
                <a:gd name="connsiteX0" fmla="*/ 4685094 w 4691642"/>
                <a:gd name="connsiteY0" fmla="*/ 5575389 h 5570686"/>
                <a:gd name="connsiteX1" fmla="*/ 4352489 w 4691642"/>
                <a:gd name="connsiteY1" fmla="*/ 5560874 h 5570686"/>
                <a:gd name="connsiteX2" fmla="*/ 4252216 w 4691642"/>
                <a:gd name="connsiteY2" fmla="*/ 5560977 h 5570686"/>
                <a:gd name="connsiteX3" fmla="*/ 3870956 w 4691642"/>
                <a:gd name="connsiteY3" fmla="*/ 5560465 h 5570686"/>
                <a:gd name="connsiteX4" fmla="*/ 3813410 w 4691642"/>
                <a:gd name="connsiteY4" fmla="*/ 5560465 h 5570686"/>
                <a:gd name="connsiteX5" fmla="*/ 3709866 w 4691642"/>
                <a:gd name="connsiteY5" fmla="*/ 5560261 h 5570686"/>
                <a:gd name="connsiteX6" fmla="*/ 3606221 w 4691642"/>
                <a:gd name="connsiteY6" fmla="*/ 5560057 h 5570686"/>
                <a:gd name="connsiteX7" fmla="*/ 3399441 w 4691642"/>
                <a:gd name="connsiteY7" fmla="*/ 5562510 h 5570686"/>
                <a:gd name="connsiteX8" fmla="*/ 3311843 w 4691642"/>
                <a:gd name="connsiteY8" fmla="*/ 5565678 h 5570686"/>
                <a:gd name="connsiteX9" fmla="*/ 3154535 w 4691642"/>
                <a:gd name="connsiteY9" fmla="*/ 5569869 h 5570686"/>
                <a:gd name="connsiteX10" fmla="*/ 2994570 w 4691642"/>
                <a:gd name="connsiteY10" fmla="*/ 5561078 h 5570686"/>
                <a:gd name="connsiteX11" fmla="*/ 2992832 w 4691642"/>
                <a:gd name="connsiteY11" fmla="*/ 5560874 h 5570686"/>
                <a:gd name="connsiteX12" fmla="*/ 2991810 w 4691642"/>
                <a:gd name="connsiteY12" fmla="*/ 5562101 h 5570686"/>
                <a:gd name="connsiteX13" fmla="*/ 2982917 w 4691642"/>
                <a:gd name="connsiteY13" fmla="*/ 5565678 h 5570686"/>
                <a:gd name="connsiteX14" fmla="*/ 2973309 w 4691642"/>
                <a:gd name="connsiteY14" fmla="*/ 5561181 h 5570686"/>
                <a:gd name="connsiteX15" fmla="*/ 2821316 w 4691642"/>
                <a:gd name="connsiteY15" fmla="*/ 5301045 h 5570686"/>
                <a:gd name="connsiteX16" fmla="*/ 2770720 w 4691642"/>
                <a:gd name="connsiteY16" fmla="*/ 5206701 h 5570686"/>
                <a:gd name="connsiteX17" fmla="*/ 2553208 w 4691642"/>
                <a:gd name="connsiteY17" fmla="*/ 4797435 h 5570686"/>
                <a:gd name="connsiteX18" fmla="*/ 2510482 w 4691642"/>
                <a:gd name="connsiteY18" fmla="*/ 4711983 h 5570686"/>
                <a:gd name="connsiteX19" fmla="*/ 2455286 w 4691642"/>
                <a:gd name="connsiteY19" fmla="*/ 4602001 h 5570686"/>
                <a:gd name="connsiteX20" fmla="*/ 2432799 w 4691642"/>
                <a:gd name="connsiteY20" fmla="*/ 4556311 h 5570686"/>
                <a:gd name="connsiteX21" fmla="*/ 2346121 w 4691642"/>
                <a:gd name="connsiteY21" fmla="*/ 4411268 h 5570686"/>
                <a:gd name="connsiteX22" fmla="*/ 2284690 w 4691642"/>
                <a:gd name="connsiteY22" fmla="*/ 4347384 h 5570686"/>
                <a:gd name="connsiteX23" fmla="*/ 2178490 w 4691642"/>
                <a:gd name="connsiteY23" fmla="*/ 4225238 h 5570686"/>
                <a:gd name="connsiteX24" fmla="*/ 2078933 w 4691642"/>
                <a:gd name="connsiteY24" fmla="*/ 4035426 h 5570686"/>
                <a:gd name="connsiteX25" fmla="*/ 1974470 w 4691642"/>
                <a:gd name="connsiteY25" fmla="*/ 3923194 h 5570686"/>
                <a:gd name="connsiteX26" fmla="*/ 1921829 w 4691642"/>
                <a:gd name="connsiteY26" fmla="*/ 3862684 h 5570686"/>
                <a:gd name="connsiteX27" fmla="*/ 1673141 w 4691642"/>
                <a:gd name="connsiteY27" fmla="*/ 3669396 h 5570686"/>
                <a:gd name="connsiteX28" fmla="*/ 1458389 w 4691642"/>
                <a:gd name="connsiteY28" fmla="*/ 3514541 h 5570686"/>
                <a:gd name="connsiteX29" fmla="*/ 1456958 w 4691642"/>
                <a:gd name="connsiteY29" fmla="*/ 3513008 h 5570686"/>
                <a:gd name="connsiteX30" fmla="*/ 1335221 w 4691642"/>
                <a:gd name="connsiteY30" fmla="*/ 3380027 h 5570686"/>
                <a:gd name="connsiteX31" fmla="*/ 1332972 w 4691642"/>
                <a:gd name="connsiteY31" fmla="*/ 3377369 h 5570686"/>
                <a:gd name="connsiteX32" fmla="*/ 1330621 w 4691642"/>
                <a:gd name="connsiteY32" fmla="*/ 3379925 h 5570686"/>
                <a:gd name="connsiteX33" fmla="*/ 1181081 w 4691642"/>
                <a:gd name="connsiteY33" fmla="*/ 3555325 h 5570686"/>
                <a:gd name="connsiteX34" fmla="*/ 1172393 w 4691642"/>
                <a:gd name="connsiteY34" fmla="*/ 3566159 h 5570686"/>
                <a:gd name="connsiteX35" fmla="*/ 1029599 w 4691642"/>
                <a:gd name="connsiteY35" fmla="*/ 3783467 h 5570686"/>
                <a:gd name="connsiteX36" fmla="*/ 990758 w 4691642"/>
                <a:gd name="connsiteY36" fmla="*/ 3952837 h 5570686"/>
                <a:gd name="connsiteX37" fmla="*/ 983603 w 4691642"/>
                <a:gd name="connsiteY37" fmla="*/ 3999038 h 5570686"/>
                <a:gd name="connsiteX38" fmla="*/ 843467 w 4691642"/>
                <a:gd name="connsiteY38" fmla="*/ 4284625 h 5570686"/>
                <a:gd name="connsiteX39" fmla="*/ 487352 w 4691642"/>
                <a:gd name="connsiteY39" fmla="*/ 4451030 h 5570686"/>
                <a:gd name="connsiteX40" fmla="*/ 453928 w 4691642"/>
                <a:gd name="connsiteY40" fmla="*/ 4452359 h 5570686"/>
                <a:gd name="connsiteX41" fmla="*/ 1220 w 4691642"/>
                <a:gd name="connsiteY41" fmla="*/ 4038084 h 5570686"/>
                <a:gd name="connsiteX42" fmla="*/ 92293 w 4691642"/>
                <a:gd name="connsiteY42" fmla="*/ 3750350 h 5570686"/>
                <a:gd name="connsiteX43" fmla="*/ 398221 w 4691642"/>
                <a:gd name="connsiteY43" fmla="*/ 3551952 h 5570686"/>
                <a:gd name="connsiteX44" fmla="*/ 981456 w 4691642"/>
                <a:gd name="connsiteY44" fmla="*/ 3090045 h 5570686"/>
                <a:gd name="connsiteX45" fmla="*/ 1087862 w 4691642"/>
                <a:gd name="connsiteY45" fmla="*/ 2975053 h 5570686"/>
                <a:gd name="connsiteX46" fmla="*/ 1089190 w 4691642"/>
                <a:gd name="connsiteY46" fmla="*/ 2973622 h 5570686"/>
                <a:gd name="connsiteX47" fmla="*/ 1088373 w 4691642"/>
                <a:gd name="connsiteY47" fmla="*/ 2971885 h 5570686"/>
                <a:gd name="connsiteX48" fmla="*/ 1069156 w 4691642"/>
                <a:gd name="connsiteY48" fmla="*/ 2933248 h 5570686"/>
                <a:gd name="connsiteX49" fmla="*/ 986158 w 4691642"/>
                <a:gd name="connsiteY49" fmla="*/ 2710114 h 5570686"/>
                <a:gd name="connsiteX50" fmla="*/ 1047589 w 4691642"/>
                <a:gd name="connsiteY50" fmla="*/ 2493623 h 5570686"/>
                <a:gd name="connsiteX51" fmla="*/ 1178628 w 4691642"/>
                <a:gd name="connsiteY51" fmla="*/ 2440370 h 5570686"/>
                <a:gd name="connsiteX52" fmla="*/ 1198355 w 4691642"/>
                <a:gd name="connsiteY52" fmla="*/ 2441596 h 5570686"/>
                <a:gd name="connsiteX53" fmla="*/ 1205408 w 4691642"/>
                <a:gd name="connsiteY53" fmla="*/ 2442516 h 5570686"/>
                <a:gd name="connsiteX54" fmla="*/ 1201217 w 4691642"/>
                <a:gd name="connsiteY54" fmla="*/ 2437099 h 5570686"/>
                <a:gd name="connsiteX55" fmla="*/ 1171166 w 4691642"/>
                <a:gd name="connsiteY55" fmla="*/ 2375055 h 5570686"/>
                <a:gd name="connsiteX56" fmla="*/ 1249974 w 4691642"/>
                <a:gd name="connsiteY56" fmla="*/ 2138122 h 5570686"/>
                <a:gd name="connsiteX57" fmla="*/ 1393994 w 4691642"/>
                <a:gd name="connsiteY57" fmla="*/ 2059621 h 5570686"/>
                <a:gd name="connsiteX58" fmla="*/ 1396243 w 4691642"/>
                <a:gd name="connsiteY58" fmla="*/ 2059621 h 5570686"/>
                <a:gd name="connsiteX59" fmla="*/ 1396856 w 4691642"/>
                <a:gd name="connsiteY59" fmla="*/ 2057577 h 5570686"/>
                <a:gd name="connsiteX60" fmla="*/ 1404317 w 4691642"/>
                <a:gd name="connsiteY60" fmla="*/ 2038769 h 5570686"/>
                <a:gd name="connsiteX61" fmla="*/ 1419650 w 4691642"/>
                <a:gd name="connsiteY61" fmla="*/ 2008003 h 5570686"/>
                <a:gd name="connsiteX62" fmla="*/ 1420978 w 4691642"/>
                <a:gd name="connsiteY62" fmla="*/ 2005856 h 5570686"/>
                <a:gd name="connsiteX63" fmla="*/ 1418934 w 4691642"/>
                <a:gd name="connsiteY63" fmla="*/ 2004323 h 5570686"/>
                <a:gd name="connsiteX64" fmla="*/ 1366907 w 4691642"/>
                <a:gd name="connsiteY64" fmla="*/ 1901495 h 5570686"/>
                <a:gd name="connsiteX65" fmla="*/ 1481898 w 4691642"/>
                <a:gd name="connsiteY65" fmla="*/ 1686436 h 5570686"/>
                <a:gd name="connsiteX66" fmla="*/ 1642579 w 4691642"/>
                <a:gd name="connsiteY66" fmla="*/ 1632467 h 5570686"/>
                <a:gd name="connsiteX67" fmla="*/ 1726088 w 4691642"/>
                <a:gd name="connsiteY67" fmla="*/ 1646163 h 5570686"/>
                <a:gd name="connsiteX68" fmla="*/ 1734572 w 4691642"/>
                <a:gd name="connsiteY68" fmla="*/ 1649128 h 5570686"/>
                <a:gd name="connsiteX69" fmla="*/ 1729666 w 4691642"/>
                <a:gd name="connsiteY69" fmla="*/ 1641973 h 5570686"/>
                <a:gd name="connsiteX70" fmla="*/ 1692664 w 4691642"/>
                <a:gd name="connsiteY70" fmla="*/ 1441632 h 5570686"/>
                <a:gd name="connsiteX71" fmla="*/ 1909972 w 4691642"/>
                <a:gd name="connsiteY71" fmla="*/ 1289231 h 5570686"/>
                <a:gd name="connsiteX72" fmla="*/ 1963941 w 4691642"/>
                <a:gd name="connsiteY72" fmla="*/ 1284631 h 5570686"/>
                <a:gd name="connsiteX73" fmla="*/ 2173788 w 4691642"/>
                <a:gd name="connsiteY73" fmla="*/ 1363949 h 5570686"/>
                <a:gd name="connsiteX74" fmla="*/ 2292663 w 4691642"/>
                <a:gd name="connsiteY74" fmla="*/ 1485074 h 5570686"/>
                <a:gd name="connsiteX75" fmla="*/ 2295116 w 4691642"/>
                <a:gd name="connsiteY75" fmla="*/ 1487833 h 5570686"/>
                <a:gd name="connsiteX76" fmla="*/ 2297467 w 4691642"/>
                <a:gd name="connsiteY76" fmla="*/ 1485176 h 5570686"/>
                <a:gd name="connsiteX77" fmla="*/ 2483089 w 4691642"/>
                <a:gd name="connsiteY77" fmla="*/ 1266232 h 5570686"/>
                <a:gd name="connsiteX78" fmla="*/ 2616274 w 4691642"/>
                <a:gd name="connsiteY78" fmla="*/ 1111889 h 5570686"/>
                <a:gd name="connsiteX79" fmla="*/ 2704587 w 4691642"/>
                <a:gd name="connsiteY79" fmla="*/ 1010799 h 5570686"/>
                <a:gd name="connsiteX80" fmla="*/ 2906870 w 4691642"/>
                <a:gd name="connsiteY80" fmla="*/ 751072 h 5570686"/>
                <a:gd name="connsiteX81" fmla="*/ 2945813 w 4691642"/>
                <a:gd name="connsiteY81" fmla="*/ 527835 h 5570686"/>
                <a:gd name="connsiteX82" fmla="*/ 2950004 w 4691642"/>
                <a:gd name="connsiteY82" fmla="*/ 403338 h 5570686"/>
                <a:gd name="connsiteX83" fmla="*/ 3105677 w 4691642"/>
                <a:gd name="connsiteY83" fmla="*/ 175196 h 5570686"/>
                <a:gd name="connsiteX84" fmla="*/ 3403938 w 4691642"/>
                <a:gd name="connsiteY84" fmla="*/ 41601 h 5570686"/>
                <a:gd name="connsiteX85" fmla="*/ 3431025 w 4691642"/>
                <a:gd name="connsiteY85" fmla="*/ 33424 h 5570686"/>
                <a:gd name="connsiteX86" fmla="*/ 3590889 w 4691642"/>
                <a:gd name="connsiteY86" fmla="*/ 0 h 5570686"/>
                <a:gd name="connsiteX87" fmla="*/ 3663768 w 4691642"/>
                <a:gd name="connsiteY87" fmla="*/ 22998 h 5570686"/>
                <a:gd name="connsiteX88" fmla="*/ 3680735 w 4691642"/>
                <a:gd name="connsiteY88" fmla="*/ 62249 h 5570686"/>
                <a:gd name="connsiteX89" fmla="*/ 3585880 w 4691642"/>
                <a:gd name="connsiteY89" fmla="*/ 151073 h 5570686"/>
                <a:gd name="connsiteX90" fmla="*/ 3567073 w 4691642"/>
                <a:gd name="connsiteY90" fmla="*/ 162419 h 5570686"/>
                <a:gd name="connsiteX91" fmla="*/ 3506153 w 4691642"/>
                <a:gd name="connsiteY91" fmla="*/ 197683 h 5570686"/>
                <a:gd name="connsiteX92" fmla="*/ 3394637 w 4691642"/>
                <a:gd name="connsiteY92" fmla="*/ 270255 h 5570686"/>
                <a:gd name="connsiteX93" fmla="*/ 3354671 w 4691642"/>
                <a:gd name="connsiteY93" fmla="*/ 491549 h 5570686"/>
                <a:gd name="connsiteX94" fmla="*/ 3609083 w 4691642"/>
                <a:gd name="connsiteY94" fmla="*/ 745961 h 5570686"/>
                <a:gd name="connsiteX95" fmla="*/ 3680633 w 4691642"/>
                <a:gd name="connsiteY95" fmla="*/ 726540 h 5570686"/>
                <a:gd name="connsiteX96" fmla="*/ 3953750 w 4691642"/>
                <a:gd name="connsiteY96" fmla="*/ 548585 h 5570686"/>
                <a:gd name="connsiteX97" fmla="*/ 4030513 w 4691642"/>
                <a:gd name="connsiteY97" fmla="*/ 494820 h 5570686"/>
                <a:gd name="connsiteX98" fmla="*/ 4037770 w 4691642"/>
                <a:gd name="connsiteY98" fmla="*/ 492674 h 5570686"/>
                <a:gd name="connsiteX99" fmla="*/ 4055249 w 4691642"/>
                <a:gd name="connsiteY99" fmla="*/ 505655 h 5570686"/>
                <a:gd name="connsiteX100" fmla="*/ 3921655 w 4691642"/>
                <a:gd name="connsiteY100" fmla="*/ 876795 h 5570686"/>
                <a:gd name="connsiteX101" fmla="*/ 3577499 w 4691642"/>
                <a:gd name="connsiteY101" fmla="*/ 1101258 h 5570686"/>
                <a:gd name="connsiteX102" fmla="*/ 3455250 w 4691642"/>
                <a:gd name="connsiteY102" fmla="*/ 1131105 h 5570686"/>
                <a:gd name="connsiteX103" fmla="*/ 3297635 w 4691642"/>
                <a:gd name="connsiteY103" fmla="*/ 1173115 h 5570686"/>
                <a:gd name="connsiteX104" fmla="*/ 3064075 w 4691642"/>
                <a:gd name="connsiteY104" fmla="*/ 1346471 h 5570686"/>
                <a:gd name="connsiteX105" fmla="*/ 2690686 w 4691642"/>
                <a:gd name="connsiteY105" fmla="*/ 1789570 h 5570686"/>
                <a:gd name="connsiteX106" fmla="*/ 2683429 w 4691642"/>
                <a:gd name="connsiteY106" fmla="*/ 1798974 h 5570686"/>
                <a:gd name="connsiteX107" fmla="*/ 2686087 w 4691642"/>
                <a:gd name="connsiteY107" fmla="*/ 1800609 h 5570686"/>
                <a:gd name="connsiteX108" fmla="*/ 2884587 w 4691642"/>
                <a:gd name="connsiteY108" fmla="*/ 2002687 h 5570686"/>
                <a:gd name="connsiteX109" fmla="*/ 2997125 w 4691642"/>
                <a:gd name="connsiteY109" fmla="*/ 2232568 h 5570686"/>
                <a:gd name="connsiteX110" fmla="*/ 3085949 w 4691642"/>
                <a:gd name="connsiteY110" fmla="*/ 2615974 h 5570686"/>
                <a:gd name="connsiteX111" fmla="*/ 3104246 w 4691642"/>
                <a:gd name="connsiteY111" fmla="*/ 2708069 h 5570686"/>
                <a:gd name="connsiteX112" fmla="*/ 3173956 w 4691642"/>
                <a:gd name="connsiteY112" fmla="*/ 2997336 h 5570686"/>
                <a:gd name="connsiteX113" fmla="*/ 3227618 w 4691642"/>
                <a:gd name="connsiteY113" fmla="*/ 3136450 h 5570686"/>
                <a:gd name="connsiteX114" fmla="*/ 3272286 w 4691642"/>
                <a:gd name="connsiteY114" fmla="*/ 3249806 h 5570686"/>
                <a:gd name="connsiteX115" fmla="*/ 3615420 w 4691642"/>
                <a:gd name="connsiteY115" fmla="*/ 3798289 h 5570686"/>
                <a:gd name="connsiteX116" fmla="*/ 3762098 w 4691642"/>
                <a:gd name="connsiteY116" fmla="*/ 4047283 h 5570686"/>
                <a:gd name="connsiteX117" fmla="*/ 3790411 w 4691642"/>
                <a:gd name="connsiteY117" fmla="*/ 4093893 h 5570686"/>
                <a:gd name="connsiteX118" fmla="*/ 4020803 w 4691642"/>
                <a:gd name="connsiteY118" fmla="*/ 4482716 h 5570686"/>
                <a:gd name="connsiteX119" fmla="*/ 4262642 w 4691642"/>
                <a:gd name="connsiteY119" fmla="*/ 4867758 h 5570686"/>
                <a:gd name="connsiteX120" fmla="*/ 4691023 w 4691642"/>
                <a:gd name="connsiteY120" fmla="*/ 5563123 h 5570686"/>
                <a:gd name="connsiteX121" fmla="*/ 4691534 w 4691642"/>
                <a:gd name="connsiteY121" fmla="*/ 5564860 h 5570686"/>
                <a:gd name="connsiteX122" fmla="*/ 4691432 w 4691642"/>
                <a:gd name="connsiteY122" fmla="*/ 5573038 h 5570686"/>
                <a:gd name="connsiteX123" fmla="*/ 4686832 w 4691642"/>
                <a:gd name="connsiteY123" fmla="*/ 5575286 h 5570686"/>
                <a:gd name="connsiteX124" fmla="*/ 4685094 w 4691642"/>
                <a:gd name="connsiteY124" fmla="*/ 5575389 h 5570686"/>
                <a:gd name="connsiteX125" fmla="*/ 449021 w 4691642"/>
                <a:gd name="connsiteY125" fmla="*/ 4288509 h 5570686"/>
                <a:gd name="connsiteX126" fmla="*/ 458629 w 4691642"/>
                <a:gd name="connsiteY126" fmla="*/ 4289225 h 5570686"/>
                <a:gd name="connsiteX127" fmla="*/ 497471 w 4691642"/>
                <a:gd name="connsiteY127" fmla="*/ 4304352 h 5570686"/>
                <a:gd name="connsiteX128" fmla="*/ 533042 w 4691642"/>
                <a:gd name="connsiteY128" fmla="*/ 4319071 h 5570686"/>
                <a:gd name="connsiteX129" fmla="*/ 544183 w 4691642"/>
                <a:gd name="connsiteY129" fmla="*/ 4320298 h 5570686"/>
                <a:gd name="connsiteX130" fmla="*/ 591099 w 4691642"/>
                <a:gd name="connsiteY130" fmla="*/ 4282785 h 5570686"/>
                <a:gd name="connsiteX131" fmla="*/ 620844 w 4691642"/>
                <a:gd name="connsiteY131" fmla="*/ 4249054 h 5570686"/>
                <a:gd name="connsiteX132" fmla="*/ 643638 w 4691642"/>
                <a:gd name="connsiteY132" fmla="*/ 4244148 h 5570686"/>
                <a:gd name="connsiteX133" fmla="*/ 652939 w 4691642"/>
                <a:gd name="connsiteY133" fmla="*/ 4244659 h 5570686"/>
                <a:gd name="connsiteX134" fmla="*/ 669907 w 4691642"/>
                <a:gd name="connsiteY134" fmla="*/ 4247214 h 5570686"/>
                <a:gd name="connsiteX135" fmla="*/ 689430 w 4691642"/>
                <a:gd name="connsiteY135" fmla="*/ 4249667 h 5570686"/>
                <a:gd name="connsiteX136" fmla="*/ 721525 w 4691642"/>
                <a:gd name="connsiteY136" fmla="*/ 4230145 h 5570686"/>
                <a:gd name="connsiteX137" fmla="*/ 731542 w 4691642"/>
                <a:gd name="connsiteY137" fmla="*/ 4190996 h 5570686"/>
                <a:gd name="connsiteX138" fmla="*/ 746670 w 4691642"/>
                <a:gd name="connsiteY138" fmla="*/ 4147248 h 5570686"/>
                <a:gd name="connsiteX139" fmla="*/ 766499 w 4691642"/>
                <a:gd name="connsiteY139" fmla="*/ 4137231 h 5570686"/>
                <a:gd name="connsiteX140" fmla="*/ 781832 w 4691642"/>
                <a:gd name="connsiteY140" fmla="*/ 4131201 h 5570686"/>
                <a:gd name="connsiteX141" fmla="*/ 815460 w 4691642"/>
                <a:gd name="connsiteY141" fmla="*/ 4100639 h 5570686"/>
                <a:gd name="connsiteX142" fmla="*/ 804830 w 4691642"/>
                <a:gd name="connsiteY142" fmla="*/ 4079787 h 5570686"/>
                <a:gd name="connsiteX143" fmla="*/ 791644 w 4691642"/>
                <a:gd name="connsiteY143" fmla="*/ 4061491 h 5570686"/>
                <a:gd name="connsiteX144" fmla="*/ 804932 w 4691642"/>
                <a:gd name="connsiteY144" fmla="*/ 3998527 h 5570686"/>
                <a:gd name="connsiteX145" fmla="*/ 811371 w 4691642"/>
                <a:gd name="connsiteY145" fmla="*/ 3986158 h 5570686"/>
                <a:gd name="connsiteX146" fmla="*/ 800332 w 4691642"/>
                <a:gd name="connsiteY146" fmla="*/ 3911235 h 5570686"/>
                <a:gd name="connsiteX147" fmla="*/ 788987 w 4691642"/>
                <a:gd name="connsiteY147" fmla="*/ 3905614 h 5570686"/>
                <a:gd name="connsiteX148" fmla="*/ 781116 w 4691642"/>
                <a:gd name="connsiteY148" fmla="*/ 3902036 h 5570686"/>
                <a:gd name="connsiteX149" fmla="*/ 756891 w 4691642"/>
                <a:gd name="connsiteY149" fmla="*/ 3878833 h 5570686"/>
                <a:gd name="connsiteX150" fmla="*/ 755256 w 4691642"/>
                <a:gd name="connsiteY150" fmla="*/ 3832224 h 5570686"/>
                <a:gd name="connsiteX151" fmla="*/ 750452 w 4691642"/>
                <a:gd name="connsiteY151" fmla="*/ 3782956 h 5570686"/>
                <a:gd name="connsiteX152" fmla="*/ 717232 w 4691642"/>
                <a:gd name="connsiteY152" fmla="*/ 3768135 h 5570686"/>
                <a:gd name="connsiteX153" fmla="*/ 693416 w 4691642"/>
                <a:gd name="connsiteY153" fmla="*/ 3766909 h 5570686"/>
                <a:gd name="connsiteX154" fmla="*/ 644353 w 4691642"/>
                <a:gd name="connsiteY154" fmla="*/ 3752599 h 5570686"/>
                <a:gd name="connsiteX155" fmla="*/ 628919 w 4691642"/>
                <a:gd name="connsiteY155" fmla="*/ 3730214 h 5570686"/>
                <a:gd name="connsiteX156" fmla="*/ 618391 w 4691642"/>
                <a:gd name="connsiteY156" fmla="*/ 3712122 h 5570686"/>
                <a:gd name="connsiteX157" fmla="*/ 591099 w 4691642"/>
                <a:gd name="connsiteY157" fmla="*/ 3698834 h 5570686"/>
                <a:gd name="connsiteX158" fmla="*/ 555835 w 4691642"/>
                <a:gd name="connsiteY158" fmla="*/ 3709362 h 5570686"/>
                <a:gd name="connsiteX159" fmla="*/ 530895 w 4691642"/>
                <a:gd name="connsiteY159" fmla="*/ 3718050 h 5570686"/>
                <a:gd name="connsiteX160" fmla="*/ 522309 w 4691642"/>
                <a:gd name="connsiteY160" fmla="*/ 3718561 h 5570686"/>
                <a:gd name="connsiteX161" fmla="*/ 469464 w 4691642"/>
                <a:gd name="connsiteY161" fmla="*/ 3694030 h 5570686"/>
                <a:gd name="connsiteX162" fmla="*/ 431440 w 4691642"/>
                <a:gd name="connsiteY162" fmla="*/ 3675631 h 5570686"/>
                <a:gd name="connsiteX163" fmla="*/ 391372 w 4691642"/>
                <a:gd name="connsiteY163" fmla="*/ 3713246 h 5570686"/>
                <a:gd name="connsiteX164" fmla="*/ 364694 w 4691642"/>
                <a:gd name="connsiteY164" fmla="*/ 3749021 h 5570686"/>
                <a:gd name="connsiteX165" fmla="*/ 334030 w 4691642"/>
                <a:gd name="connsiteY165" fmla="*/ 3759651 h 5570686"/>
                <a:gd name="connsiteX166" fmla="*/ 331168 w 4691642"/>
                <a:gd name="connsiteY166" fmla="*/ 3759549 h 5570686"/>
                <a:gd name="connsiteX167" fmla="*/ 325751 w 4691642"/>
                <a:gd name="connsiteY167" fmla="*/ 3758220 h 5570686"/>
                <a:gd name="connsiteX168" fmla="*/ 319005 w 4691642"/>
                <a:gd name="connsiteY168" fmla="*/ 3756687 h 5570686"/>
                <a:gd name="connsiteX169" fmla="*/ 302344 w 4691642"/>
                <a:gd name="connsiteY169" fmla="*/ 3752087 h 5570686"/>
                <a:gd name="connsiteX170" fmla="*/ 282105 w 4691642"/>
                <a:gd name="connsiteY170" fmla="*/ 3758731 h 5570686"/>
                <a:gd name="connsiteX171" fmla="*/ 281390 w 4691642"/>
                <a:gd name="connsiteY171" fmla="*/ 3759243 h 5570686"/>
                <a:gd name="connsiteX172" fmla="*/ 281083 w 4691642"/>
                <a:gd name="connsiteY172" fmla="*/ 3760060 h 5570686"/>
                <a:gd name="connsiteX173" fmla="*/ 275155 w 4691642"/>
                <a:gd name="connsiteY173" fmla="*/ 3785205 h 5570686"/>
                <a:gd name="connsiteX174" fmla="*/ 271373 w 4691642"/>
                <a:gd name="connsiteY174" fmla="*/ 3804319 h 5570686"/>
                <a:gd name="connsiteX175" fmla="*/ 270759 w 4691642"/>
                <a:gd name="connsiteY175" fmla="*/ 3805852 h 5570686"/>
                <a:gd name="connsiteX176" fmla="*/ 268408 w 4691642"/>
                <a:gd name="connsiteY176" fmla="*/ 3811781 h 5570686"/>
                <a:gd name="connsiteX177" fmla="*/ 240810 w 4691642"/>
                <a:gd name="connsiteY177" fmla="*/ 3835188 h 5570686"/>
                <a:gd name="connsiteX178" fmla="*/ 239175 w 4691642"/>
                <a:gd name="connsiteY178" fmla="*/ 3836108 h 5570686"/>
                <a:gd name="connsiteX179" fmla="*/ 223127 w 4691642"/>
                <a:gd name="connsiteY179" fmla="*/ 3841218 h 5570686"/>
                <a:gd name="connsiteX180" fmla="*/ 195427 w 4691642"/>
                <a:gd name="connsiteY180" fmla="*/ 3854200 h 5570686"/>
                <a:gd name="connsiteX181" fmla="*/ 182037 w 4691642"/>
                <a:gd name="connsiteY181" fmla="*/ 3913586 h 5570686"/>
                <a:gd name="connsiteX182" fmla="*/ 189601 w 4691642"/>
                <a:gd name="connsiteY182" fmla="*/ 3929941 h 5570686"/>
                <a:gd name="connsiteX183" fmla="*/ 198698 w 4691642"/>
                <a:gd name="connsiteY183" fmla="*/ 3958254 h 5570686"/>
                <a:gd name="connsiteX184" fmla="*/ 179584 w 4691642"/>
                <a:gd name="connsiteY184" fmla="*/ 3998731 h 5570686"/>
                <a:gd name="connsiteX185" fmla="*/ 162208 w 4691642"/>
                <a:gd name="connsiteY185" fmla="*/ 4051269 h 5570686"/>
                <a:gd name="connsiteX186" fmla="*/ 196552 w 4691642"/>
                <a:gd name="connsiteY186" fmla="*/ 4091746 h 5570686"/>
                <a:gd name="connsiteX187" fmla="*/ 230385 w 4691642"/>
                <a:gd name="connsiteY187" fmla="*/ 4133245 h 5570686"/>
                <a:gd name="connsiteX188" fmla="*/ 228238 w 4691642"/>
                <a:gd name="connsiteY188" fmla="*/ 4162376 h 5570686"/>
                <a:gd name="connsiteX189" fmla="*/ 225683 w 4691642"/>
                <a:gd name="connsiteY189" fmla="*/ 4191405 h 5570686"/>
                <a:gd name="connsiteX190" fmla="*/ 278017 w 4691642"/>
                <a:gd name="connsiteY190" fmla="*/ 4232802 h 5570686"/>
                <a:gd name="connsiteX191" fmla="*/ 288749 w 4691642"/>
                <a:gd name="connsiteY191" fmla="*/ 4234642 h 5570686"/>
                <a:gd name="connsiteX192" fmla="*/ 349567 w 4691642"/>
                <a:gd name="connsiteY192" fmla="*/ 4271337 h 5570686"/>
                <a:gd name="connsiteX193" fmla="*/ 356619 w 4691642"/>
                <a:gd name="connsiteY193" fmla="*/ 4281559 h 5570686"/>
                <a:gd name="connsiteX194" fmla="*/ 388101 w 4691642"/>
                <a:gd name="connsiteY194" fmla="*/ 4309565 h 5570686"/>
                <a:gd name="connsiteX195" fmla="*/ 388204 w 4691642"/>
                <a:gd name="connsiteY195" fmla="*/ 4309565 h 5570686"/>
                <a:gd name="connsiteX196" fmla="*/ 413655 w 4691642"/>
                <a:gd name="connsiteY196" fmla="*/ 4299344 h 5570686"/>
                <a:gd name="connsiteX197" fmla="*/ 425205 w 4691642"/>
                <a:gd name="connsiteY197" fmla="*/ 4293620 h 5570686"/>
                <a:gd name="connsiteX198" fmla="*/ 449021 w 4691642"/>
                <a:gd name="connsiteY198" fmla="*/ 4288509 h 5570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</a:cxnLst>
              <a:rect l="l" t="t" r="r" b="b"/>
              <a:pathLst>
                <a:path w="4691642" h="5570686">
                  <a:moveTo>
                    <a:pt x="4685094" y="5575389"/>
                  </a:moveTo>
                  <a:cubicBezTo>
                    <a:pt x="4573578" y="5561999"/>
                    <a:pt x="4459609" y="5560874"/>
                    <a:pt x="4352489" y="5560874"/>
                  </a:cubicBezTo>
                  <a:lnTo>
                    <a:pt x="4252216" y="5560977"/>
                  </a:lnTo>
                  <a:cubicBezTo>
                    <a:pt x="4125164" y="5560670"/>
                    <a:pt x="3998009" y="5560465"/>
                    <a:pt x="3870956" y="5560465"/>
                  </a:cubicBezTo>
                  <a:lnTo>
                    <a:pt x="3813410" y="5560465"/>
                  </a:lnTo>
                  <a:cubicBezTo>
                    <a:pt x="3778963" y="5560465"/>
                    <a:pt x="3744415" y="5560363"/>
                    <a:pt x="3709866" y="5560261"/>
                  </a:cubicBezTo>
                  <a:cubicBezTo>
                    <a:pt x="3675318" y="5560159"/>
                    <a:pt x="3640769" y="5560057"/>
                    <a:pt x="3606221" y="5560057"/>
                  </a:cubicBezTo>
                  <a:cubicBezTo>
                    <a:pt x="3522814" y="5560057"/>
                    <a:pt x="3459032" y="5560772"/>
                    <a:pt x="3399441" y="5562510"/>
                  </a:cubicBezTo>
                  <a:cubicBezTo>
                    <a:pt x="3370105" y="5563327"/>
                    <a:pt x="3340975" y="5564452"/>
                    <a:pt x="3311843" y="5565678"/>
                  </a:cubicBezTo>
                  <a:cubicBezTo>
                    <a:pt x="3260225" y="5567723"/>
                    <a:pt x="3206869" y="5569869"/>
                    <a:pt x="3154535" y="5569869"/>
                  </a:cubicBezTo>
                  <a:cubicBezTo>
                    <a:pt x="3094740" y="5569869"/>
                    <a:pt x="3042508" y="5567007"/>
                    <a:pt x="2994570" y="5561078"/>
                  </a:cubicBezTo>
                  <a:lnTo>
                    <a:pt x="2992832" y="5560874"/>
                  </a:lnTo>
                  <a:lnTo>
                    <a:pt x="2991810" y="5562101"/>
                  </a:lnTo>
                  <a:cubicBezTo>
                    <a:pt x="2989970" y="5564349"/>
                    <a:pt x="2986495" y="5565678"/>
                    <a:pt x="2982917" y="5565678"/>
                  </a:cubicBezTo>
                  <a:cubicBezTo>
                    <a:pt x="2978829" y="5565678"/>
                    <a:pt x="2975353" y="5564043"/>
                    <a:pt x="2973309" y="5561181"/>
                  </a:cubicBezTo>
                  <a:cubicBezTo>
                    <a:pt x="2915456" y="5479205"/>
                    <a:pt x="2867517" y="5388643"/>
                    <a:pt x="2821316" y="5301045"/>
                  </a:cubicBezTo>
                  <a:cubicBezTo>
                    <a:pt x="2804553" y="5269359"/>
                    <a:pt x="2787892" y="5237774"/>
                    <a:pt x="2770720" y="5206701"/>
                  </a:cubicBezTo>
                  <a:cubicBezTo>
                    <a:pt x="2682918" y="5047042"/>
                    <a:pt x="2613821" y="4917025"/>
                    <a:pt x="2553208" y="4797435"/>
                  </a:cubicBezTo>
                  <a:cubicBezTo>
                    <a:pt x="2538796" y="4769019"/>
                    <a:pt x="2524588" y="4740501"/>
                    <a:pt x="2510482" y="4711983"/>
                  </a:cubicBezTo>
                  <a:cubicBezTo>
                    <a:pt x="2492288" y="4675288"/>
                    <a:pt x="2473992" y="4638491"/>
                    <a:pt x="2455286" y="4602001"/>
                  </a:cubicBezTo>
                  <a:cubicBezTo>
                    <a:pt x="2447722" y="4587180"/>
                    <a:pt x="2440261" y="4571847"/>
                    <a:pt x="2432799" y="4556311"/>
                  </a:cubicBezTo>
                  <a:cubicBezTo>
                    <a:pt x="2408268" y="4505408"/>
                    <a:pt x="2382919" y="4452665"/>
                    <a:pt x="2346121" y="4411268"/>
                  </a:cubicBezTo>
                  <a:cubicBezTo>
                    <a:pt x="2325985" y="4388679"/>
                    <a:pt x="2305031" y="4367725"/>
                    <a:pt x="2284690" y="4347384"/>
                  </a:cubicBezTo>
                  <a:cubicBezTo>
                    <a:pt x="2245951" y="4308747"/>
                    <a:pt x="2209256" y="4272257"/>
                    <a:pt x="2178490" y="4225238"/>
                  </a:cubicBezTo>
                  <a:cubicBezTo>
                    <a:pt x="2141590" y="4168918"/>
                    <a:pt x="2108166" y="4105136"/>
                    <a:pt x="2078933" y="4035426"/>
                  </a:cubicBezTo>
                  <a:cubicBezTo>
                    <a:pt x="2040398" y="4001286"/>
                    <a:pt x="2006871" y="3961627"/>
                    <a:pt x="1974470" y="3923194"/>
                  </a:cubicBezTo>
                  <a:cubicBezTo>
                    <a:pt x="1957400" y="3902956"/>
                    <a:pt x="1939717" y="3882104"/>
                    <a:pt x="1921829" y="3862684"/>
                  </a:cubicBezTo>
                  <a:cubicBezTo>
                    <a:pt x="1846804" y="3781219"/>
                    <a:pt x="1763192" y="3716210"/>
                    <a:pt x="1673141" y="3669396"/>
                  </a:cubicBezTo>
                  <a:cubicBezTo>
                    <a:pt x="1589530" y="3625955"/>
                    <a:pt x="1524419" y="3584865"/>
                    <a:pt x="1458389" y="3514541"/>
                  </a:cubicBezTo>
                  <a:lnTo>
                    <a:pt x="1456958" y="3513008"/>
                  </a:lnTo>
                  <a:cubicBezTo>
                    <a:pt x="1416481" y="3469874"/>
                    <a:pt x="1374675" y="3425308"/>
                    <a:pt x="1335221" y="3380027"/>
                  </a:cubicBezTo>
                  <a:lnTo>
                    <a:pt x="1332972" y="3377369"/>
                  </a:lnTo>
                  <a:lnTo>
                    <a:pt x="1330621" y="3379925"/>
                  </a:lnTo>
                  <a:cubicBezTo>
                    <a:pt x="1274403" y="3442991"/>
                    <a:pt x="1225442" y="3500333"/>
                    <a:pt x="1181081" y="3555325"/>
                  </a:cubicBezTo>
                  <a:lnTo>
                    <a:pt x="1172393" y="3566159"/>
                  </a:lnTo>
                  <a:cubicBezTo>
                    <a:pt x="1117810" y="3633621"/>
                    <a:pt x="1061388" y="3703433"/>
                    <a:pt x="1029599" y="3783467"/>
                  </a:cubicBezTo>
                  <a:cubicBezTo>
                    <a:pt x="1007930" y="3838050"/>
                    <a:pt x="999242" y="3896414"/>
                    <a:pt x="990758" y="3952837"/>
                  </a:cubicBezTo>
                  <a:cubicBezTo>
                    <a:pt x="988407" y="3968271"/>
                    <a:pt x="986158" y="3983705"/>
                    <a:pt x="983603" y="3999038"/>
                  </a:cubicBezTo>
                  <a:cubicBezTo>
                    <a:pt x="968271" y="4091133"/>
                    <a:pt x="939548" y="4197027"/>
                    <a:pt x="843467" y="4284625"/>
                  </a:cubicBezTo>
                  <a:cubicBezTo>
                    <a:pt x="736653" y="4381933"/>
                    <a:pt x="610111" y="4441115"/>
                    <a:pt x="487352" y="4451030"/>
                  </a:cubicBezTo>
                  <a:cubicBezTo>
                    <a:pt x="476313" y="4451950"/>
                    <a:pt x="465069" y="4452359"/>
                    <a:pt x="453928" y="4452359"/>
                  </a:cubicBezTo>
                  <a:cubicBezTo>
                    <a:pt x="227523" y="4452359"/>
                    <a:pt x="20334" y="4262649"/>
                    <a:pt x="1220" y="4038084"/>
                  </a:cubicBezTo>
                  <a:cubicBezTo>
                    <a:pt x="-6957" y="3941286"/>
                    <a:pt x="26262" y="3836414"/>
                    <a:pt x="92293" y="3750350"/>
                  </a:cubicBezTo>
                  <a:cubicBezTo>
                    <a:pt x="166705" y="3653451"/>
                    <a:pt x="268408" y="3600912"/>
                    <a:pt x="398221" y="3551952"/>
                  </a:cubicBezTo>
                  <a:cubicBezTo>
                    <a:pt x="644660" y="3459039"/>
                    <a:pt x="815869" y="3271373"/>
                    <a:pt x="981456" y="3090045"/>
                  </a:cubicBezTo>
                  <a:cubicBezTo>
                    <a:pt x="1016107" y="3052123"/>
                    <a:pt x="1051882" y="3012873"/>
                    <a:pt x="1087862" y="2975053"/>
                  </a:cubicBezTo>
                  <a:lnTo>
                    <a:pt x="1089190" y="2973622"/>
                  </a:lnTo>
                  <a:lnTo>
                    <a:pt x="1088373" y="2971885"/>
                  </a:lnTo>
                  <a:cubicBezTo>
                    <a:pt x="1082035" y="2959006"/>
                    <a:pt x="1075698" y="2946127"/>
                    <a:pt x="1069156" y="2933248"/>
                  </a:cubicBezTo>
                  <a:cubicBezTo>
                    <a:pt x="1033688" y="2862311"/>
                    <a:pt x="996993" y="2788921"/>
                    <a:pt x="986158" y="2710114"/>
                  </a:cubicBezTo>
                  <a:cubicBezTo>
                    <a:pt x="973995" y="2621391"/>
                    <a:pt x="996380" y="2542482"/>
                    <a:pt x="1047589" y="2493623"/>
                  </a:cubicBezTo>
                  <a:cubicBezTo>
                    <a:pt x="1082035" y="2460710"/>
                    <a:pt x="1132223" y="2440370"/>
                    <a:pt x="1178628" y="2440370"/>
                  </a:cubicBezTo>
                  <a:cubicBezTo>
                    <a:pt x="1185272" y="2440370"/>
                    <a:pt x="1191916" y="2440779"/>
                    <a:pt x="1198355" y="2441596"/>
                  </a:cubicBezTo>
                  <a:lnTo>
                    <a:pt x="1205408" y="2442516"/>
                  </a:lnTo>
                  <a:lnTo>
                    <a:pt x="1201217" y="2437099"/>
                  </a:lnTo>
                  <a:cubicBezTo>
                    <a:pt x="1185374" y="2416860"/>
                    <a:pt x="1175562" y="2396622"/>
                    <a:pt x="1171166" y="2375055"/>
                  </a:cubicBezTo>
                  <a:cubicBezTo>
                    <a:pt x="1157163" y="2306980"/>
                    <a:pt x="1190383" y="2207321"/>
                    <a:pt x="1249974" y="2138122"/>
                  </a:cubicBezTo>
                  <a:cubicBezTo>
                    <a:pt x="1293108" y="2088139"/>
                    <a:pt x="1344215" y="2060234"/>
                    <a:pt x="1393994" y="2059621"/>
                  </a:cubicBezTo>
                  <a:lnTo>
                    <a:pt x="1396243" y="2059621"/>
                  </a:lnTo>
                  <a:lnTo>
                    <a:pt x="1396856" y="2057577"/>
                  </a:lnTo>
                  <a:cubicBezTo>
                    <a:pt x="1398593" y="2051546"/>
                    <a:pt x="1401149" y="2045209"/>
                    <a:pt x="1404317" y="2038769"/>
                  </a:cubicBezTo>
                  <a:cubicBezTo>
                    <a:pt x="1407895" y="2028650"/>
                    <a:pt x="1412903" y="2018633"/>
                    <a:pt x="1419650" y="2008003"/>
                  </a:cubicBezTo>
                  <a:lnTo>
                    <a:pt x="1420978" y="2005856"/>
                  </a:lnTo>
                  <a:lnTo>
                    <a:pt x="1418934" y="2004323"/>
                  </a:lnTo>
                  <a:cubicBezTo>
                    <a:pt x="1384999" y="1978974"/>
                    <a:pt x="1367520" y="1944425"/>
                    <a:pt x="1366907" y="1901495"/>
                  </a:cubicBezTo>
                  <a:cubicBezTo>
                    <a:pt x="1365680" y="1820950"/>
                    <a:pt x="1423840" y="1732330"/>
                    <a:pt x="1481898" y="1686436"/>
                  </a:cubicBezTo>
                  <a:cubicBezTo>
                    <a:pt x="1525953" y="1651581"/>
                    <a:pt x="1583091" y="1632467"/>
                    <a:pt x="1642579" y="1632467"/>
                  </a:cubicBezTo>
                  <a:cubicBezTo>
                    <a:pt x="1671608" y="1632467"/>
                    <a:pt x="1699717" y="1637066"/>
                    <a:pt x="1726088" y="1646163"/>
                  </a:cubicBezTo>
                  <a:lnTo>
                    <a:pt x="1734572" y="1649128"/>
                  </a:lnTo>
                  <a:lnTo>
                    <a:pt x="1729666" y="1641973"/>
                  </a:lnTo>
                  <a:cubicBezTo>
                    <a:pt x="1701557" y="1601394"/>
                    <a:pt x="1659445" y="1521462"/>
                    <a:pt x="1692664" y="1441632"/>
                  </a:cubicBezTo>
                  <a:cubicBezTo>
                    <a:pt x="1728439" y="1355875"/>
                    <a:pt x="1827485" y="1303336"/>
                    <a:pt x="1909972" y="1289231"/>
                  </a:cubicBezTo>
                  <a:cubicBezTo>
                    <a:pt x="1927962" y="1286164"/>
                    <a:pt x="1946054" y="1284631"/>
                    <a:pt x="1963941" y="1284631"/>
                  </a:cubicBezTo>
                  <a:cubicBezTo>
                    <a:pt x="2040091" y="1284631"/>
                    <a:pt x="2112664" y="1312024"/>
                    <a:pt x="2173788" y="1363949"/>
                  </a:cubicBezTo>
                  <a:cubicBezTo>
                    <a:pt x="2216718" y="1400338"/>
                    <a:pt x="2255355" y="1443472"/>
                    <a:pt x="2292663" y="1485074"/>
                  </a:cubicBezTo>
                  <a:lnTo>
                    <a:pt x="2295116" y="1487833"/>
                  </a:lnTo>
                  <a:lnTo>
                    <a:pt x="2297467" y="1485176"/>
                  </a:lnTo>
                  <a:cubicBezTo>
                    <a:pt x="2356445" y="1410355"/>
                    <a:pt x="2420840" y="1337067"/>
                    <a:pt x="2483089" y="1266232"/>
                  </a:cubicBezTo>
                  <a:cubicBezTo>
                    <a:pt x="2527245" y="1215943"/>
                    <a:pt x="2572935" y="1164018"/>
                    <a:pt x="2616274" y="1111889"/>
                  </a:cubicBezTo>
                  <a:cubicBezTo>
                    <a:pt x="2644281" y="1078260"/>
                    <a:pt x="2674945" y="1043916"/>
                    <a:pt x="2704587" y="1010799"/>
                  </a:cubicBezTo>
                  <a:cubicBezTo>
                    <a:pt x="2778080" y="928516"/>
                    <a:pt x="2854127" y="843371"/>
                    <a:pt x="2906870" y="751072"/>
                  </a:cubicBezTo>
                  <a:cubicBezTo>
                    <a:pt x="2949186" y="676864"/>
                    <a:pt x="2947551" y="604496"/>
                    <a:pt x="2945813" y="527835"/>
                  </a:cubicBezTo>
                  <a:cubicBezTo>
                    <a:pt x="2944894" y="487358"/>
                    <a:pt x="2943973" y="445553"/>
                    <a:pt x="2950004" y="403338"/>
                  </a:cubicBezTo>
                  <a:cubicBezTo>
                    <a:pt x="2962576" y="315536"/>
                    <a:pt x="3014910" y="238773"/>
                    <a:pt x="3105677" y="175196"/>
                  </a:cubicBezTo>
                  <a:cubicBezTo>
                    <a:pt x="3184075" y="120204"/>
                    <a:pt x="3281588" y="76559"/>
                    <a:pt x="3403938" y="41601"/>
                  </a:cubicBezTo>
                  <a:cubicBezTo>
                    <a:pt x="3411707" y="39353"/>
                    <a:pt x="3420804" y="36593"/>
                    <a:pt x="3431025" y="33424"/>
                  </a:cubicBezTo>
                  <a:cubicBezTo>
                    <a:pt x="3476306" y="19319"/>
                    <a:pt x="3538351" y="0"/>
                    <a:pt x="3590889" y="0"/>
                  </a:cubicBezTo>
                  <a:cubicBezTo>
                    <a:pt x="3623495" y="0"/>
                    <a:pt x="3648026" y="7768"/>
                    <a:pt x="3663768" y="22998"/>
                  </a:cubicBezTo>
                  <a:cubicBezTo>
                    <a:pt x="3676953" y="35775"/>
                    <a:pt x="3682473" y="48654"/>
                    <a:pt x="3680735" y="62249"/>
                  </a:cubicBezTo>
                  <a:cubicBezTo>
                    <a:pt x="3676238" y="97717"/>
                    <a:pt x="3621860" y="129812"/>
                    <a:pt x="3585880" y="151073"/>
                  </a:cubicBezTo>
                  <a:cubicBezTo>
                    <a:pt x="3578827" y="155264"/>
                    <a:pt x="3572388" y="159046"/>
                    <a:pt x="3567073" y="162419"/>
                  </a:cubicBezTo>
                  <a:cubicBezTo>
                    <a:pt x="3547550" y="174889"/>
                    <a:pt x="3526494" y="186439"/>
                    <a:pt x="3506153" y="197683"/>
                  </a:cubicBezTo>
                  <a:cubicBezTo>
                    <a:pt x="3467516" y="219046"/>
                    <a:pt x="3427550" y="241124"/>
                    <a:pt x="3394637" y="270255"/>
                  </a:cubicBezTo>
                  <a:cubicBezTo>
                    <a:pt x="3330651" y="326984"/>
                    <a:pt x="3317261" y="401396"/>
                    <a:pt x="3354671" y="491549"/>
                  </a:cubicBezTo>
                  <a:cubicBezTo>
                    <a:pt x="3365506" y="517614"/>
                    <a:pt x="3464347" y="746063"/>
                    <a:pt x="3609083" y="745961"/>
                  </a:cubicBezTo>
                  <a:cubicBezTo>
                    <a:pt x="3633103" y="745961"/>
                    <a:pt x="3657124" y="739419"/>
                    <a:pt x="3680633" y="726540"/>
                  </a:cubicBezTo>
                  <a:cubicBezTo>
                    <a:pt x="3775079" y="674411"/>
                    <a:pt x="3865948" y="610425"/>
                    <a:pt x="3953750" y="548585"/>
                  </a:cubicBezTo>
                  <a:cubicBezTo>
                    <a:pt x="3979406" y="530493"/>
                    <a:pt x="4005062" y="512503"/>
                    <a:pt x="4030513" y="494820"/>
                  </a:cubicBezTo>
                  <a:cubicBezTo>
                    <a:pt x="4032659" y="493389"/>
                    <a:pt x="4035010" y="492674"/>
                    <a:pt x="4037770" y="492674"/>
                  </a:cubicBezTo>
                  <a:cubicBezTo>
                    <a:pt x="4045436" y="492674"/>
                    <a:pt x="4053614" y="498704"/>
                    <a:pt x="4055249" y="505655"/>
                  </a:cubicBezTo>
                  <a:cubicBezTo>
                    <a:pt x="4092046" y="658057"/>
                    <a:pt x="3974090" y="815978"/>
                    <a:pt x="3921655" y="876795"/>
                  </a:cubicBezTo>
                  <a:cubicBezTo>
                    <a:pt x="3831399" y="981463"/>
                    <a:pt x="3712422" y="1059146"/>
                    <a:pt x="3577499" y="1101258"/>
                  </a:cubicBezTo>
                  <a:cubicBezTo>
                    <a:pt x="3537533" y="1113729"/>
                    <a:pt x="3495727" y="1122519"/>
                    <a:pt x="3455250" y="1131105"/>
                  </a:cubicBezTo>
                  <a:cubicBezTo>
                    <a:pt x="3402814" y="1142144"/>
                    <a:pt x="3348538" y="1153592"/>
                    <a:pt x="3297635" y="1173115"/>
                  </a:cubicBezTo>
                  <a:cubicBezTo>
                    <a:pt x="3204927" y="1208686"/>
                    <a:pt x="3137057" y="1272672"/>
                    <a:pt x="3064075" y="1346471"/>
                  </a:cubicBezTo>
                  <a:cubicBezTo>
                    <a:pt x="2927517" y="1484767"/>
                    <a:pt x="2807108" y="1639724"/>
                    <a:pt x="2690686" y="1789570"/>
                  </a:cubicBezTo>
                  <a:lnTo>
                    <a:pt x="2683429" y="1798974"/>
                  </a:lnTo>
                  <a:lnTo>
                    <a:pt x="2686087" y="1800609"/>
                  </a:lnTo>
                  <a:cubicBezTo>
                    <a:pt x="2758863" y="1844868"/>
                    <a:pt x="2858625" y="1914068"/>
                    <a:pt x="2884587" y="2002687"/>
                  </a:cubicBezTo>
                  <a:cubicBezTo>
                    <a:pt x="2938965" y="2073931"/>
                    <a:pt x="2976682" y="2151001"/>
                    <a:pt x="2997125" y="2232568"/>
                  </a:cubicBezTo>
                  <a:cubicBezTo>
                    <a:pt x="3034127" y="2380574"/>
                    <a:pt x="3062338" y="2502414"/>
                    <a:pt x="3085949" y="2615974"/>
                  </a:cubicBezTo>
                  <a:cubicBezTo>
                    <a:pt x="3092287" y="2646638"/>
                    <a:pt x="3098317" y="2677405"/>
                    <a:pt x="3104246" y="2708069"/>
                  </a:cubicBezTo>
                  <a:cubicBezTo>
                    <a:pt x="3122849" y="2803640"/>
                    <a:pt x="3141963" y="2902379"/>
                    <a:pt x="3173956" y="2997336"/>
                  </a:cubicBezTo>
                  <a:cubicBezTo>
                    <a:pt x="3189595" y="3043742"/>
                    <a:pt x="3208913" y="3090862"/>
                    <a:pt x="3227618" y="3136450"/>
                  </a:cubicBezTo>
                  <a:cubicBezTo>
                    <a:pt x="3242849" y="3173554"/>
                    <a:pt x="3258589" y="3211884"/>
                    <a:pt x="3272286" y="3249806"/>
                  </a:cubicBezTo>
                  <a:cubicBezTo>
                    <a:pt x="3398623" y="3424388"/>
                    <a:pt x="3508913" y="3614507"/>
                    <a:pt x="3615420" y="3798289"/>
                  </a:cubicBezTo>
                  <a:cubicBezTo>
                    <a:pt x="3663052" y="3880469"/>
                    <a:pt x="3712319" y="3965409"/>
                    <a:pt x="3762098" y="4047283"/>
                  </a:cubicBezTo>
                  <a:lnTo>
                    <a:pt x="3790411" y="4093893"/>
                  </a:lnTo>
                  <a:cubicBezTo>
                    <a:pt x="3867481" y="4220536"/>
                    <a:pt x="3947106" y="4351575"/>
                    <a:pt x="4020803" y="4482716"/>
                  </a:cubicBezTo>
                  <a:cubicBezTo>
                    <a:pt x="4051160" y="4536788"/>
                    <a:pt x="4149184" y="4690110"/>
                    <a:pt x="4262642" y="4867758"/>
                  </a:cubicBezTo>
                  <a:cubicBezTo>
                    <a:pt x="4435691" y="5138524"/>
                    <a:pt x="4651057" y="5475525"/>
                    <a:pt x="4691023" y="5563123"/>
                  </a:cubicBezTo>
                  <a:lnTo>
                    <a:pt x="4691534" y="5564860"/>
                  </a:lnTo>
                  <a:cubicBezTo>
                    <a:pt x="4692965" y="5567620"/>
                    <a:pt x="4692863" y="5570891"/>
                    <a:pt x="4691432" y="5573038"/>
                  </a:cubicBezTo>
                  <a:cubicBezTo>
                    <a:pt x="4690410" y="5574468"/>
                    <a:pt x="4688876" y="5575286"/>
                    <a:pt x="4686832" y="5575286"/>
                  </a:cubicBezTo>
                  <a:lnTo>
                    <a:pt x="4685094" y="5575389"/>
                  </a:lnTo>
                  <a:close/>
                  <a:moveTo>
                    <a:pt x="449021" y="4288509"/>
                  </a:moveTo>
                  <a:cubicBezTo>
                    <a:pt x="452088" y="4288509"/>
                    <a:pt x="455359" y="4288713"/>
                    <a:pt x="458629" y="4289225"/>
                  </a:cubicBezTo>
                  <a:cubicBezTo>
                    <a:pt x="472633" y="4291269"/>
                    <a:pt x="484694" y="4297606"/>
                    <a:pt x="497471" y="4304352"/>
                  </a:cubicBezTo>
                  <a:cubicBezTo>
                    <a:pt x="508612" y="4310281"/>
                    <a:pt x="520265" y="4316311"/>
                    <a:pt x="533042" y="4319071"/>
                  </a:cubicBezTo>
                  <a:cubicBezTo>
                    <a:pt x="536926" y="4319889"/>
                    <a:pt x="540605" y="4320298"/>
                    <a:pt x="544183" y="4320298"/>
                  </a:cubicBezTo>
                  <a:cubicBezTo>
                    <a:pt x="568101" y="4320298"/>
                    <a:pt x="579856" y="4301184"/>
                    <a:pt x="591099" y="4282785"/>
                  </a:cubicBezTo>
                  <a:cubicBezTo>
                    <a:pt x="599277" y="4269395"/>
                    <a:pt x="607760" y="4255596"/>
                    <a:pt x="620844" y="4249054"/>
                  </a:cubicBezTo>
                  <a:cubicBezTo>
                    <a:pt x="627590" y="4245681"/>
                    <a:pt x="634847" y="4244148"/>
                    <a:pt x="643638" y="4244148"/>
                  </a:cubicBezTo>
                  <a:cubicBezTo>
                    <a:pt x="646704" y="4244148"/>
                    <a:pt x="649770" y="4244352"/>
                    <a:pt x="652939" y="4244659"/>
                  </a:cubicBezTo>
                  <a:cubicBezTo>
                    <a:pt x="658970" y="4245272"/>
                    <a:pt x="664592" y="4246294"/>
                    <a:pt x="669907" y="4247214"/>
                  </a:cubicBezTo>
                  <a:cubicBezTo>
                    <a:pt x="676755" y="4248441"/>
                    <a:pt x="683297" y="4249667"/>
                    <a:pt x="689430" y="4249667"/>
                  </a:cubicBezTo>
                  <a:cubicBezTo>
                    <a:pt x="703024" y="4249667"/>
                    <a:pt x="712939" y="4243637"/>
                    <a:pt x="721525" y="4230145"/>
                  </a:cubicBezTo>
                  <a:cubicBezTo>
                    <a:pt x="728987" y="4218390"/>
                    <a:pt x="730315" y="4204386"/>
                    <a:pt x="731542" y="4190996"/>
                  </a:cubicBezTo>
                  <a:cubicBezTo>
                    <a:pt x="733075" y="4174438"/>
                    <a:pt x="734506" y="4158901"/>
                    <a:pt x="746670" y="4147248"/>
                  </a:cubicBezTo>
                  <a:cubicBezTo>
                    <a:pt x="752598" y="4141525"/>
                    <a:pt x="759344" y="4139480"/>
                    <a:pt x="766499" y="4137231"/>
                  </a:cubicBezTo>
                  <a:cubicBezTo>
                    <a:pt x="771508" y="4135698"/>
                    <a:pt x="776721" y="4134063"/>
                    <a:pt x="781832" y="4131201"/>
                  </a:cubicBezTo>
                  <a:cubicBezTo>
                    <a:pt x="803910" y="4118731"/>
                    <a:pt x="813927" y="4109531"/>
                    <a:pt x="815460" y="4100639"/>
                  </a:cubicBezTo>
                  <a:cubicBezTo>
                    <a:pt x="816789" y="4092768"/>
                    <a:pt x="810963" y="4086431"/>
                    <a:pt x="804830" y="4079787"/>
                  </a:cubicBezTo>
                  <a:cubicBezTo>
                    <a:pt x="800128" y="4074676"/>
                    <a:pt x="794710" y="4068850"/>
                    <a:pt x="791644" y="4061491"/>
                  </a:cubicBezTo>
                  <a:cubicBezTo>
                    <a:pt x="782854" y="4040026"/>
                    <a:pt x="793995" y="4018867"/>
                    <a:pt x="804932" y="3998527"/>
                  </a:cubicBezTo>
                  <a:cubicBezTo>
                    <a:pt x="807181" y="3994336"/>
                    <a:pt x="809327" y="3990247"/>
                    <a:pt x="811371" y="3986158"/>
                  </a:cubicBezTo>
                  <a:cubicBezTo>
                    <a:pt x="824966" y="3958356"/>
                    <a:pt x="832837" y="3935154"/>
                    <a:pt x="800332" y="3911235"/>
                  </a:cubicBezTo>
                  <a:cubicBezTo>
                    <a:pt x="797061" y="3908884"/>
                    <a:pt x="792973" y="3907147"/>
                    <a:pt x="788987" y="3905614"/>
                  </a:cubicBezTo>
                  <a:cubicBezTo>
                    <a:pt x="786227" y="3904489"/>
                    <a:pt x="783467" y="3903365"/>
                    <a:pt x="781116" y="3902036"/>
                  </a:cubicBezTo>
                  <a:cubicBezTo>
                    <a:pt x="769975" y="3895494"/>
                    <a:pt x="762104" y="3889361"/>
                    <a:pt x="756891" y="3878833"/>
                  </a:cubicBezTo>
                  <a:cubicBezTo>
                    <a:pt x="750349" y="3865648"/>
                    <a:pt x="752803" y="3848680"/>
                    <a:pt x="755256" y="3832224"/>
                  </a:cubicBezTo>
                  <a:cubicBezTo>
                    <a:pt x="758016" y="3813416"/>
                    <a:pt x="760673" y="3795529"/>
                    <a:pt x="750452" y="3782956"/>
                  </a:cubicBezTo>
                  <a:cubicBezTo>
                    <a:pt x="744012" y="3774881"/>
                    <a:pt x="733075" y="3770077"/>
                    <a:pt x="717232" y="3768135"/>
                  </a:cubicBezTo>
                  <a:cubicBezTo>
                    <a:pt x="708442" y="3767011"/>
                    <a:pt x="700775" y="3767011"/>
                    <a:pt x="693416" y="3766909"/>
                  </a:cubicBezTo>
                  <a:cubicBezTo>
                    <a:pt x="675835" y="3766806"/>
                    <a:pt x="661934" y="3766704"/>
                    <a:pt x="644353" y="3752599"/>
                  </a:cubicBezTo>
                  <a:cubicBezTo>
                    <a:pt x="635767" y="3745648"/>
                    <a:pt x="632394" y="3738186"/>
                    <a:pt x="628919" y="3730214"/>
                  </a:cubicBezTo>
                  <a:cubicBezTo>
                    <a:pt x="626261" y="3724285"/>
                    <a:pt x="623501" y="3718050"/>
                    <a:pt x="618391" y="3712122"/>
                  </a:cubicBezTo>
                  <a:cubicBezTo>
                    <a:pt x="610725" y="3703229"/>
                    <a:pt x="601730" y="3698834"/>
                    <a:pt x="591099" y="3698834"/>
                  </a:cubicBezTo>
                  <a:cubicBezTo>
                    <a:pt x="579242" y="3698834"/>
                    <a:pt x="567386" y="3704149"/>
                    <a:pt x="555835" y="3709362"/>
                  </a:cubicBezTo>
                  <a:cubicBezTo>
                    <a:pt x="546841" y="3713348"/>
                    <a:pt x="538357" y="3717130"/>
                    <a:pt x="530895" y="3718050"/>
                  </a:cubicBezTo>
                  <a:cubicBezTo>
                    <a:pt x="527931" y="3718357"/>
                    <a:pt x="525069" y="3718561"/>
                    <a:pt x="522309" y="3718561"/>
                  </a:cubicBezTo>
                  <a:cubicBezTo>
                    <a:pt x="500537" y="3718561"/>
                    <a:pt x="486125" y="3707931"/>
                    <a:pt x="469464" y="3694030"/>
                  </a:cubicBezTo>
                  <a:cubicBezTo>
                    <a:pt x="454745" y="3681662"/>
                    <a:pt x="442275" y="3675631"/>
                    <a:pt x="431440" y="3675631"/>
                  </a:cubicBezTo>
                  <a:cubicBezTo>
                    <a:pt x="412224" y="3675631"/>
                    <a:pt x="402105" y="3693927"/>
                    <a:pt x="391372" y="3713246"/>
                  </a:cubicBezTo>
                  <a:cubicBezTo>
                    <a:pt x="383808" y="3726840"/>
                    <a:pt x="375938" y="3740946"/>
                    <a:pt x="364694" y="3749021"/>
                  </a:cubicBezTo>
                  <a:cubicBezTo>
                    <a:pt x="354677" y="3756176"/>
                    <a:pt x="344660" y="3759651"/>
                    <a:pt x="334030" y="3759651"/>
                  </a:cubicBezTo>
                  <a:cubicBezTo>
                    <a:pt x="333110" y="3759651"/>
                    <a:pt x="332088" y="3759651"/>
                    <a:pt x="331168" y="3759549"/>
                  </a:cubicBezTo>
                  <a:cubicBezTo>
                    <a:pt x="329533" y="3759447"/>
                    <a:pt x="327693" y="3758834"/>
                    <a:pt x="325751" y="3758220"/>
                  </a:cubicBezTo>
                  <a:cubicBezTo>
                    <a:pt x="323604" y="3757505"/>
                    <a:pt x="321458" y="3756789"/>
                    <a:pt x="319005" y="3756687"/>
                  </a:cubicBezTo>
                  <a:cubicBezTo>
                    <a:pt x="313485" y="3753723"/>
                    <a:pt x="307863" y="3752087"/>
                    <a:pt x="302344" y="3752087"/>
                  </a:cubicBezTo>
                  <a:cubicBezTo>
                    <a:pt x="295597" y="3752087"/>
                    <a:pt x="288749" y="3754336"/>
                    <a:pt x="282105" y="3758731"/>
                  </a:cubicBezTo>
                  <a:lnTo>
                    <a:pt x="281390" y="3759243"/>
                  </a:lnTo>
                  <a:lnTo>
                    <a:pt x="281083" y="3760060"/>
                  </a:lnTo>
                  <a:cubicBezTo>
                    <a:pt x="277505" y="3768135"/>
                    <a:pt x="276279" y="3776823"/>
                    <a:pt x="275155" y="3785205"/>
                  </a:cubicBezTo>
                  <a:cubicBezTo>
                    <a:pt x="274235" y="3791542"/>
                    <a:pt x="273315" y="3798186"/>
                    <a:pt x="271373" y="3804319"/>
                  </a:cubicBezTo>
                  <a:cubicBezTo>
                    <a:pt x="271270" y="3804932"/>
                    <a:pt x="271066" y="3805341"/>
                    <a:pt x="270759" y="3805852"/>
                  </a:cubicBezTo>
                  <a:cubicBezTo>
                    <a:pt x="269839" y="3808305"/>
                    <a:pt x="269226" y="3810043"/>
                    <a:pt x="268408" y="3811781"/>
                  </a:cubicBezTo>
                  <a:cubicBezTo>
                    <a:pt x="262071" y="3824047"/>
                    <a:pt x="253178" y="3828748"/>
                    <a:pt x="240810" y="3835188"/>
                  </a:cubicBezTo>
                  <a:lnTo>
                    <a:pt x="239175" y="3836108"/>
                  </a:lnTo>
                  <a:cubicBezTo>
                    <a:pt x="233349" y="3839174"/>
                    <a:pt x="228340" y="3840196"/>
                    <a:pt x="223127" y="3841218"/>
                  </a:cubicBezTo>
                  <a:cubicBezTo>
                    <a:pt x="214950" y="3842854"/>
                    <a:pt x="206466" y="3844592"/>
                    <a:pt x="195427" y="3854200"/>
                  </a:cubicBezTo>
                  <a:cubicBezTo>
                    <a:pt x="177949" y="3869430"/>
                    <a:pt x="173553" y="3888850"/>
                    <a:pt x="182037" y="3913586"/>
                  </a:cubicBezTo>
                  <a:cubicBezTo>
                    <a:pt x="183979" y="3919412"/>
                    <a:pt x="186841" y="3924728"/>
                    <a:pt x="189601" y="3929941"/>
                  </a:cubicBezTo>
                  <a:cubicBezTo>
                    <a:pt x="194507" y="3939038"/>
                    <a:pt x="199107" y="3947726"/>
                    <a:pt x="198698" y="3958254"/>
                  </a:cubicBezTo>
                  <a:cubicBezTo>
                    <a:pt x="198085" y="3973791"/>
                    <a:pt x="188681" y="3986465"/>
                    <a:pt x="179584" y="3998731"/>
                  </a:cubicBezTo>
                  <a:cubicBezTo>
                    <a:pt x="168136" y="4014063"/>
                    <a:pt x="156279" y="4030009"/>
                    <a:pt x="162208" y="4051269"/>
                  </a:cubicBezTo>
                  <a:cubicBezTo>
                    <a:pt x="167318" y="4069463"/>
                    <a:pt x="182139" y="4080809"/>
                    <a:pt x="196552" y="4091746"/>
                  </a:cubicBezTo>
                  <a:cubicBezTo>
                    <a:pt x="211884" y="4103398"/>
                    <a:pt x="226398" y="4114438"/>
                    <a:pt x="230385" y="4133245"/>
                  </a:cubicBezTo>
                  <a:cubicBezTo>
                    <a:pt x="232429" y="4142853"/>
                    <a:pt x="230385" y="4152359"/>
                    <a:pt x="228238" y="4162376"/>
                  </a:cubicBezTo>
                  <a:cubicBezTo>
                    <a:pt x="226194" y="4171780"/>
                    <a:pt x="224150" y="4181490"/>
                    <a:pt x="225683" y="4191405"/>
                  </a:cubicBezTo>
                  <a:cubicBezTo>
                    <a:pt x="230998" y="4225341"/>
                    <a:pt x="251747" y="4228611"/>
                    <a:pt x="278017" y="4232802"/>
                  </a:cubicBezTo>
                  <a:cubicBezTo>
                    <a:pt x="281492" y="4233313"/>
                    <a:pt x="285069" y="4233927"/>
                    <a:pt x="288749" y="4234642"/>
                  </a:cubicBezTo>
                  <a:cubicBezTo>
                    <a:pt x="315734" y="4239548"/>
                    <a:pt x="331066" y="4248747"/>
                    <a:pt x="349567" y="4271337"/>
                  </a:cubicBezTo>
                  <a:cubicBezTo>
                    <a:pt x="351918" y="4274097"/>
                    <a:pt x="354166" y="4277674"/>
                    <a:pt x="356619" y="4281559"/>
                  </a:cubicBezTo>
                  <a:cubicBezTo>
                    <a:pt x="364081" y="4293108"/>
                    <a:pt x="373383" y="4307419"/>
                    <a:pt x="388101" y="4309565"/>
                  </a:cubicBezTo>
                  <a:cubicBezTo>
                    <a:pt x="388204" y="4309565"/>
                    <a:pt x="388204" y="4309565"/>
                    <a:pt x="388204" y="4309565"/>
                  </a:cubicBezTo>
                  <a:cubicBezTo>
                    <a:pt x="393928" y="4309565"/>
                    <a:pt x="402309" y="4305374"/>
                    <a:pt x="413655" y="4299344"/>
                  </a:cubicBezTo>
                  <a:cubicBezTo>
                    <a:pt x="418357" y="4296788"/>
                    <a:pt x="422854" y="4294437"/>
                    <a:pt x="425205" y="4293620"/>
                  </a:cubicBezTo>
                  <a:cubicBezTo>
                    <a:pt x="433689" y="4289940"/>
                    <a:pt x="441355" y="4288509"/>
                    <a:pt x="449021" y="4288509"/>
                  </a:cubicBezTo>
                  <a:close/>
                </a:path>
              </a:pathLst>
            </a:custGeom>
            <a:solidFill>
              <a:schemeClr val="bg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2C22FA4D-34B2-4D71-A2BD-8A5792134C17}"/>
                </a:ext>
              </a:extLst>
            </p:cNvPr>
            <p:cNvSpPr/>
            <p:nvPr/>
          </p:nvSpPr>
          <p:spPr>
            <a:xfrm>
              <a:off x="8885725" y="1935135"/>
              <a:ext cx="1101246" cy="475358"/>
            </a:xfrm>
            <a:custGeom>
              <a:avLst/>
              <a:gdLst>
                <a:gd name="connsiteX0" fmla="*/ 82906 w 1420780"/>
                <a:gd name="connsiteY0" fmla="*/ 608320 h 613286"/>
                <a:gd name="connsiteX1" fmla="*/ 238067 w 1420780"/>
                <a:gd name="connsiteY1" fmla="*/ 596974 h 613286"/>
                <a:gd name="connsiteX2" fmla="*/ 366346 w 1420780"/>
                <a:gd name="connsiteY2" fmla="*/ 507639 h 613286"/>
                <a:gd name="connsiteX3" fmla="*/ 469378 w 1420780"/>
                <a:gd name="connsiteY3" fmla="*/ 385084 h 613286"/>
                <a:gd name="connsiteX4" fmla="*/ 483893 w 1420780"/>
                <a:gd name="connsiteY4" fmla="*/ 483516 h 613286"/>
                <a:gd name="connsiteX5" fmla="*/ 511695 w 1420780"/>
                <a:gd name="connsiteY5" fmla="*/ 345322 h 613286"/>
                <a:gd name="connsiteX6" fmla="*/ 521917 w 1420780"/>
                <a:gd name="connsiteY6" fmla="*/ 486276 h 613286"/>
                <a:gd name="connsiteX7" fmla="*/ 556772 w 1420780"/>
                <a:gd name="connsiteY7" fmla="*/ 275919 h 613286"/>
                <a:gd name="connsiteX8" fmla="*/ 570673 w 1420780"/>
                <a:gd name="connsiteY8" fmla="*/ 399700 h 613286"/>
                <a:gd name="connsiteX9" fmla="*/ 584676 w 1420780"/>
                <a:gd name="connsiteY9" fmla="*/ 239837 h 613286"/>
                <a:gd name="connsiteX10" fmla="*/ 603484 w 1420780"/>
                <a:gd name="connsiteY10" fmla="*/ 388355 h 613286"/>
                <a:gd name="connsiteX11" fmla="*/ 611968 w 1420780"/>
                <a:gd name="connsiteY11" fmla="*/ 240859 h 613286"/>
                <a:gd name="connsiteX12" fmla="*/ 640690 w 1420780"/>
                <a:gd name="connsiteY12" fmla="*/ 346038 h 613286"/>
                <a:gd name="connsiteX13" fmla="*/ 680656 w 1420780"/>
                <a:gd name="connsiteY13" fmla="*/ 164709 h 613286"/>
                <a:gd name="connsiteX14" fmla="*/ 710093 w 1420780"/>
                <a:gd name="connsiteY14" fmla="*/ 307196 h 613286"/>
                <a:gd name="connsiteX15" fmla="*/ 718782 w 1420780"/>
                <a:gd name="connsiteY15" fmla="*/ 197827 h 613286"/>
                <a:gd name="connsiteX16" fmla="*/ 745664 w 1420780"/>
                <a:gd name="connsiteY16" fmla="*/ 332443 h 613286"/>
                <a:gd name="connsiteX17" fmla="*/ 815068 w 1420780"/>
                <a:gd name="connsiteY17" fmla="*/ 251489 h 613286"/>
                <a:gd name="connsiteX18" fmla="*/ 828253 w 1420780"/>
                <a:gd name="connsiteY18" fmla="*/ 240961 h 613286"/>
                <a:gd name="connsiteX19" fmla="*/ 845834 w 1420780"/>
                <a:gd name="connsiteY19" fmla="*/ 241677 h 613286"/>
                <a:gd name="connsiteX20" fmla="*/ 1199292 w 1420780"/>
                <a:gd name="connsiteY20" fmla="*/ 370160 h 613286"/>
                <a:gd name="connsiteX21" fmla="*/ 1220143 w 1420780"/>
                <a:gd name="connsiteY21" fmla="*/ 389683 h 613286"/>
                <a:gd name="connsiteX22" fmla="*/ 1177725 w 1420780"/>
                <a:gd name="connsiteY22" fmla="*/ 452545 h 613286"/>
                <a:gd name="connsiteX23" fmla="*/ 1260212 w 1420780"/>
                <a:gd name="connsiteY23" fmla="*/ 408695 h 613286"/>
                <a:gd name="connsiteX24" fmla="*/ 1190195 w 1420780"/>
                <a:gd name="connsiteY24" fmla="*/ 472886 h 613286"/>
                <a:gd name="connsiteX25" fmla="*/ 1421404 w 1420780"/>
                <a:gd name="connsiteY25" fmla="*/ 408389 h 613286"/>
                <a:gd name="connsiteX26" fmla="*/ 1331251 w 1420780"/>
                <a:gd name="connsiteY26" fmla="*/ 303210 h 613286"/>
                <a:gd name="connsiteX27" fmla="*/ 1004573 w 1420780"/>
                <a:gd name="connsiteY27" fmla="*/ 111149 h 613286"/>
                <a:gd name="connsiteX28" fmla="*/ 815783 w 1420780"/>
                <a:gd name="connsiteY28" fmla="*/ 18543 h 613286"/>
                <a:gd name="connsiteX29" fmla="*/ 607061 w 1420780"/>
                <a:gd name="connsiteY29" fmla="*/ 16294 h 613286"/>
                <a:gd name="connsiteX30" fmla="*/ 442189 w 1420780"/>
                <a:gd name="connsiteY30" fmla="*/ 137316 h 613286"/>
                <a:gd name="connsiteX31" fmla="*/ 202599 w 1420780"/>
                <a:gd name="connsiteY31" fmla="*/ 323959 h 613286"/>
                <a:gd name="connsiteX32" fmla="*/ 79737 w 1420780"/>
                <a:gd name="connsiteY32" fmla="*/ 416157 h 613286"/>
                <a:gd name="connsiteX33" fmla="*/ 10 w 1420780"/>
                <a:gd name="connsiteY33" fmla="*/ 505288 h 613286"/>
                <a:gd name="connsiteX34" fmla="*/ 82906 w 1420780"/>
                <a:gd name="connsiteY34" fmla="*/ 608320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420780" h="613286">
                  <a:moveTo>
                    <a:pt x="82906" y="608320"/>
                  </a:moveTo>
                  <a:cubicBezTo>
                    <a:pt x="132582" y="626616"/>
                    <a:pt x="189822" y="618439"/>
                    <a:pt x="238067" y="596974"/>
                  </a:cubicBezTo>
                  <a:cubicBezTo>
                    <a:pt x="286312" y="575509"/>
                    <a:pt x="327198" y="541778"/>
                    <a:pt x="366346" y="507639"/>
                  </a:cubicBezTo>
                  <a:cubicBezTo>
                    <a:pt x="407232" y="471966"/>
                    <a:pt x="448220" y="433738"/>
                    <a:pt x="469378" y="385084"/>
                  </a:cubicBezTo>
                  <a:cubicBezTo>
                    <a:pt x="480826" y="416566"/>
                    <a:pt x="485835" y="450194"/>
                    <a:pt x="483893" y="483516"/>
                  </a:cubicBezTo>
                  <a:cubicBezTo>
                    <a:pt x="506278" y="440995"/>
                    <a:pt x="515988" y="392648"/>
                    <a:pt x="511695" y="345322"/>
                  </a:cubicBezTo>
                  <a:cubicBezTo>
                    <a:pt x="525188" y="391012"/>
                    <a:pt x="528663" y="439257"/>
                    <a:pt x="521917" y="486276"/>
                  </a:cubicBezTo>
                  <a:cubicBezTo>
                    <a:pt x="553092" y="420756"/>
                    <a:pt x="565256" y="347264"/>
                    <a:pt x="556772" y="275919"/>
                  </a:cubicBezTo>
                  <a:cubicBezTo>
                    <a:pt x="567198" y="316396"/>
                    <a:pt x="571900" y="358099"/>
                    <a:pt x="570673" y="399700"/>
                  </a:cubicBezTo>
                  <a:cubicBezTo>
                    <a:pt x="590707" y="349002"/>
                    <a:pt x="595511" y="292988"/>
                    <a:pt x="584676" y="239837"/>
                  </a:cubicBezTo>
                  <a:cubicBezTo>
                    <a:pt x="600928" y="287571"/>
                    <a:pt x="607368" y="338372"/>
                    <a:pt x="603484" y="388355"/>
                  </a:cubicBezTo>
                  <a:cubicBezTo>
                    <a:pt x="611968" y="339701"/>
                    <a:pt x="614830" y="290126"/>
                    <a:pt x="611968" y="240859"/>
                  </a:cubicBezTo>
                  <a:cubicBezTo>
                    <a:pt x="624642" y="275101"/>
                    <a:pt x="634250" y="310365"/>
                    <a:pt x="640690" y="346038"/>
                  </a:cubicBezTo>
                  <a:cubicBezTo>
                    <a:pt x="670128" y="290229"/>
                    <a:pt x="684029" y="227060"/>
                    <a:pt x="680656" y="164709"/>
                  </a:cubicBezTo>
                  <a:cubicBezTo>
                    <a:pt x="699361" y="209990"/>
                    <a:pt x="709378" y="258542"/>
                    <a:pt x="710093" y="307196"/>
                  </a:cubicBezTo>
                  <a:cubicBezTo>
                    <a:pt x="721746" y="272034"/>
                    <a:pt x="724710" y="234317"/>
                    <a:pt x="718782" y="197827"/>
                  </a:cubicBezTo>
                  <a:cubicBezTo>
                    <a:pt x="726039" y="243006"/>
                    <a:pt x="735034" y="287878"/>
                    <a:pt x="745664" y="332443"/>
                  </a:cubicBezTo>
                  <a:cubicBezTo>
                    <a:pt x="768764" y="305459"/>
                    <a:pt x="791967" y="278474"/>
                    <a:pt x="815068" y="251489"/>
                  </a:cubicBezTo>
                  <a:cubicBezTo>
                    <a:pt x="818747" y="247196"/>
                    <a:pt x="822734" y="242699"/>
                    <a:pt x="828253" y="240961"/>
                  </a:cubicBezTo>
                  <a:cubicBezTo>
                    <a:pt x="833875" y="239121"/>
                    <a:pt x="840008" y="240348"/>
                    <a:pt x="845834" y="241677"/>
                  </a:cubicBezTo>
                  <a:cubicBezTo>
                    <a:pt x="968900" y="269581"/>
                    <a:pt x="1088082" y="312818"/>
                    <a:pt x="1199292" y="370160"/>
                  </a:cubicBezTo>
                  <a:cubicBezTo>
                    <a:pt x="1208082" y="374760"/>
                    <a:pt x="1217792" y="380382"/>
                    <a:pt x="1220143" y="389683"/>
                  </a:cubicBezTo>
                  <a:cubicBezTo>
                    <a:pt x="1226685" y="415237"/>
                    <a:pt x="1174863" y="426480"/>
                    <a:pt x="1177725" y="452545"/>
                  </a:cubicBezTo>
                  <a:cubicBezTo>
                    <a:pt x="1203482" y="435271"/>
                    <a:pt x="1231183" y="420552"/>
                    <a:pt x="1260212" y="408695"/>
                  </a:cubicBezTo>
                  <a:cubicBezTo>
                    <a:pt x="1231591" y="423925"/>
                    <a:pt x="1207162" y="446310"/>
                    <a:pt x="1190195" y="472886"/>
                  </a:cubicBezTo>
                  <a:cubicBezTo>
                    <a:pt x="1257350" y="428832"/>
                    <a:pt x="1339735" y="405833"/>
                    <a:pt x="1421404" y="408389"/>
                  </a:cubicBezTo>
                  <a:cubicBezTo>
                    <a:pt x="1421097" y="361165"/>
                    <a:pt x="1373669" y="328150"/>
                    <a:pt x="1331251" y="303210"/>
                  </a:cubicBezTo>
                  <a:cubicBezTo>
                    <a:pt x="1222392" y="239224"/>
                    <a:pt x="1113432" y="175135"/>
                    <a:pt x="1004573" y="111149"/>
                  </a:cubicBezTo>
                  <a:cubicBezTo>
                    <a:pt x="944267" y="75681"/>
                    <a:pt x="883245" y="39906"/>
                    <a:pt x="815783" y="18543"/>
                  </a:cubicBezTo>
                  <a:cubicBezTo>
                    <a:pt x="748424" y="-2718"/>
                    <a:pt x="672990" y="-8544"/>
                    <a:pt x="607061" y="16294"/>
                  </a:cubicBezTo>
                  <a:cubicBezTo>
                    <a:pt x="541951" y="40723"/>
                    <a:pt x="492888" y="91626"/>
                    <a:pt x="442189" y="137316"/>
                  </a:cubicBezTo>
                  <a:cubicBezTo>
                    <a:pt x="367266" y="204982"/>
                    <a:pt x="284575" y="264164"/>
                    <a:pt x="202599" y="323959"/>
                  </a:cubicBezTo>
                  <a:cubicBezTo>
                    <a:pt x="161202" y="354113"/>
                    <a:pt x="119907" y="384470"/>
                    <a:pt x="79737" y="416157"/>
                  </a:cubicBezTo>
                  <a:cubicBezTo>
                    <a:pt x="49890" y="439768"/>
                    <a:pt x="-808" y="465833"/>
                    <a:pt x="10" y="505288"/>
                  </a:cubicBezTo>
                  <a:cubicBezTo>
                    <a:pt x="930" y="551080"/>
                    <a:pt x="39669" y="592477"/>
                    <a:pt x="82906" y="60832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A6DCE85-B724-4557-ACF3-B928D5ECD044}"/>
                </a:ext>
              </a:extLst>
            </p:cNvPr>
            <p:cNvSpPr/>
            <p:nvPr/>
          </p:nvSpPr>
          <p:spPr>
            <a:xfrm>
              <a:off x="9099586" y="1736222"/>
              <a:ext cx="388209" cy="221833"/>
            </a:xfrm>
            <a:custGeom>
              <a:avLst/>
              <a:gdLst>
                <a:gd name="connsiteX0" fmla="*/ 57212 w 500850"/>
                <a:gd name="connsiteY0" fmla="*/ 156296 h 286200"/>
                <a:gd name="connsiteX1" fmla="*/ 180789 w 500850"/>
                <a:gd name="connsiteY1" fmla="*/ 57046 h 286200"/>
                <a:gd name="connsiteX2" fmla="*/ 85423 w 500850"/>
                <a:gd name="connsiteY2" fmla="*/ 166006 h 286200"/>
                <a:gd name="connsiteX3" fmla="*/ 214315 w 500850"/>
                <a:gd name="connsiteY3" fmla="*/ 71662 h 286200"/>
                <a:gd name="connsiteX4" fmla="*/ 109954 w 500850"/>
                <a:gd name="connsiteY4" fmla="*/ 199533 h 286200"/>
                <a:gd name="connsiteX5" fmla="*/ 506035 w 500850"/>
                <a:gd name="connsiteY5" fmla="*/ 104371 h 286200"/>
                <a:gd name="connsiteX6" fmla="*/ 308455 w 500850"/>
                <a:gd name="connsiteY6" fmla="*/ 1850 h 286200"/>
                <a:gd name="connsiteX7" fmla="*/ 91760 w 500850"/>
                <a:gd name="connsiteY7" fmla="*/ 59397 h 286200"/>
                <a:gd name="connsiteX8" fmla="*/ 49852 w 500850"/>
                <a:gd name="connsiteY8" fmla="*/ 97318 h 286200"/>
                <a:gd name="connsiteX9" fmla="*/ 1505 w 500850"/>
                <a:gd name="connsiteY9" fmla="*/ 186960 h 286200"/>
                <a:gd name="connsiteX10" fmla="*/ 21743 w 500850"/>
                <a:gd name="connsiteY10" fmla="*/ 288868 h 286200"/>
                <a:gd name="connsiteX11" fmla="*/ 29205 w 500850"/>
                <a:gd name="connsiteY11" fmla="*/ 225495 h 286200"/>
                <a:gd name="connsiteX12" fmla="*/ 57212 w 500850"/>
                <a:gd name="connsiteY12" fmla="*/ 156296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00850" h="286200">
                  <a:moveTo>
                    <a:pt x="57212" y="156296"/>
                  </a:moveTo>
                  <a:cubicBezTo>
                    <a:pt x="85729" y="112037"/>
                    <a:pt x="130806" y="78409"/>
                    <a:pt x="180789" y="57046"/>
                  </a:cubicBezTo>
                  <a:cubicBezTo>
                    <a:pt x="137757" y="82497"/>
                    <a:pt x="103821" y="121339"/>
                    <a:pt x="85423" y="166006"/>
                  </a:cubicBezTo>
                  <a:cubicBezTo>
                    <a:pt x="116291" y="122667"/>
                    <a:pt x="162186" y="89039"/>
                    <a:pt x="214315" y="71662"/>
                  </a:cubicBezTo>
                  <a:cubicBezTo>
                    <a:pt x="163106" y="98443"/>
                    <a:pt x="124469" y="145870"/>
                    <a:pt x="109954" y="199533"/>
                  </a:cubicBezTo>
                  <a:cubicBezTo>
                    <a:pt x="210533" y="103247"/>
                    <a:pt x="369068" y="65121"/>
                    <a:pt x="506035" y="104371"/>
                  </a:cubicBezTo>
                  <a:cubicBezTo>
                    <a:pt x="457177" y="48051"/>
                    <a:pt x="384911" y="10334"/>
                    <a:pt x="308455" y="1850"/>
                  </a:cubicBezTo>
                  <a:cubicBezTo>
                    <a:pt x="231998" y="-6634"/>
                    <a:pt x="152169" y="14320"/>
                    <a:pt x="91760" y="59397"/>
                  </a:cubicBezTo>
                  <a:cubicBezTo>
                    <a:pt x="76530" y="70743"/>
                    <a:pt x="62629" y="83519"/>
                    <a:pt x="49852" y="97318"/>
                  </a:cubicBezTo>
                  <a:cubicBezTo>
                    <a:pt x="26241" y="122974"/>
                    <a:pt x="6615" y="153230"/>
                    <a:pt x="1505" y="186960"/>
                  </a:cubicBezTo>
                  <a:cubicBezTo>
                    <a:pt x="-3095" y="217522"/>
                    <a:pt x="2629" y="263928"/>
                    <a:pt x="21743" y="288868"/>
                  </a:cubicBezTo>
                  <a:cubicBezTo>
                    <a:pt x="33600" y="275376"/>
                    <a:pt x="25934" y="242974"/>
                    <a:pt x="29205" y="225495"/>
                  </a:cubicBezTo>
                  <a:cubicBezTo>
                    <a:pt x="34009" y="201066"/>
                    <a:pt x="43617" y="177454"/>
                    <a:pt x="57212" y="15629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B4B7E6F-4FD2-45D5-9D63-7A73D74CF526}"/>
                </a:ext>
              </a:extLst>
            </p:cNvPr>
            <p:cNvSpPr/>
            <p:nvPr/>
          </p:nvSpPr>
          <p:spPr>
            <a:xfrm>
              <a:off x="8857827" y="2010682"/>
              <a:ext cx="316905" cy="269369"/>
            </a:xfrm>
            <a:custGeom>
              <a:avLst/>
              <a:gdLst>
                <a:gd name="connsiteX0" fmla="*/ 176239 w 408857"/>
                <a:gd name="connsiteY0" fmla="*/ 226492 h 347529"/>
                <a:gd name="connsiteX1" fmla="*/ 202917 w 408857"/>
                <a:gd name="connsiteY1" fmla="*/ 152080 h 347529"/>
                <a:gd name="connsiteX2" fmla="*/ 113889 w 408857"/>
                <a:gd name="connsiteY2" fmla="*/ 238860 h 347529"/>
                <a:gd name="connsiteX3" fmla="*/ 71061 w 408857"/>
                <a:gd name="connsiteY3" fmla="*/ 351296 h 347529"/>
                <a:gd name="connsiteX4" fmla="*/ 226 w 408857"/>
                <a:gd name="connsiteY4" fmla="*/ 230069 h 347529"/>
                <a:gd name="connsiteX5" fmla="*/ 18420 w 408857"/>
                <a:gd name="connsiteY5" fmla="*/ 174158 h 347529"/>
                <a:gd name="connsiteX6" fmla="*/ 163769 w 408857"/>
                <a:gd name="connsiteY6" fmla="*/ 28502 h 347529"/>
                <a:gd name="connsiteX7" fmla="*/ 372287 w 408857"/>
                <a:gd name="connsiteY7" fmla="*/ 15010 h 347529"/>
                <a:gd name="connsiteX8" fmla="*/ 414297 w 408857"/>
                <a:gd name="connsiteY8" fmla="*/ 47003 h 347529"/>
                <a:gd name="connsiteX9" fmla="*/ 337432 w 408857"/>
                <a:gd name="connsiteY9" fmla="*/ 67037 h 347529"/>
                <a:gd name="connsiteX10" fmla="*/ 268948 w 408857"/>
                <a:gd name="connsiteY10" fmla="*/ 104857 h 347529"/>
                <a:gd name="connsiteX11" fmla="*/ 176239 w 408857"/>
                <a:gd name="connsiteY11" fmla="*/ 226492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08857" h="347529">
                  <a:moveTo>
                    <a:pt x="176239" y="226492"/>
                  </a:moveTo>
                  <a:cubicBezTo>
                    <a:pt x="176444" y="199814"/>
                    <a:pt x="185950" y="173340"/>
                    <a:pt x="202917" y="152080"/>
                  </a:cubicBezTo>
                  <a:cubicBezTo>
                    <a:pt x="170107" y="178042"/>
                    <a:pt x="138522" y="205742"/>
                    <a:pt x="113889" y="238860"/>
                  </a:cubicBezTo>
                  <a:cubicBezTo>
                    <a:pt x="89357" y="271977"/>
                    <a:pt x="72083" y="310819"/>
                    <a:pt x="71061" y="351296"/>
                  </a:cubicBezTo>
                  <a:cubicBezTo>
                    <a:pt x="31708" y="320938"/>
                    <a:pt x="-3147" y="278008"/>
                    <a:pt x="226" y="230069"/>
                  </a:cubicBezTo>
                  <a:cubicBezTo>
                    <a:pt x="1657" y="210444"/>
                    <a:pt x="9323" y="191739"/>
                    <a:pt x="18420" y="174158"/>
                  </a:cubicBezTo>
                  <a:cubicBezTo>
                    <a:pt x="49902" y="113136"/>
                    <a:pt x="99987" y="59678"/>
                    <a:pt x="163769" y="28502"/>
                  </a:cubicBezTo>
                  <a:cubicBezTo>
                    <a:pt x="227551" y="-2673"/>
                    <a:pt x="305439" y="-9930"/>
                    <a:pt x="372287" y="15010"/>
                  </a:cubicBezTo>
                  <a:cubicBezTo>
                    <a:pt x="387925" y="20836"/>
                    <a:pt x="409391" y="30649"/>
                    <a:pt x="414297" y="47003"/>
                  </a:cubicBezTo>
                  <a:cubicBezTo>
                    <a:pt x="391503" y="57123"/>
                    <a:pt x="361759" y="57531"/>
                    <a:pt x="337432" y="67037"/>
                  </a:cubicBezTo>
                  <a:cubicBezTo>
                    <a:pt x="312900" y="76543"/>
                    <a:pt x="289800" y="89422"/>
                    <a:pt x="268948" y="104857"/>
                  </a:cubicBezTo>
                  <a:cubicBezTo>
                    <a:pt x="226938" y="136032"/>
                    <a:pt x="193616" y="178349"/>
                    <a:pt x="176239" y="22649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43462159-5BC3-4A43-B7D7-A40241A909EB}"/>
                </a:ext>
              </a:extLst>
            </p:cNvPr>
            <p:cNvSpPr/>
            <p:nvPr/>
          </p:nvSpPr>
          <p:spPr>
            <a:xfrm>
              <a:off x="8562093" y="2344134"/>
              <a:ext cx="404054" cy="681346"/>
            </a:xfrm>
            <a:custGeom>
              <a:avLst/>
              <a:gdLst>
                <a:gd name="connsiteX0" fmla="*/ 420714 w 521293"/>
                <a:gd name="connsiteY0" fmla="*/ 235809 h 879044"/>
                <a:gd name="connsiteX1" fmla="*/ 405586 w 521293"/>
                <a:gd name="connsiteY1" fmla="*/ 369096 h 879044"/>
                <a:gd name="connsiteX2" fmla="*/ 435228 w 521293"/>
                <a:gd name="connsiteY2" fmla="*/ 294071 h 879044"/>
                <a:gd name="connsiteX3" fmla="*/ 430219 w 521293"/>
                <a:gd name="connsiteY3" fmla="*/ 404462 h 879044"/>
                <a:gd name="connsiteX4" fmla="*/ 460168 w 521293"/>
                <a:gd name="connsiteY4" fmla="*/ 324735 h 879044"/>
                <a:gd name="connsiteX5" fmla="*/ 523030 w 521293"/>
                <a:gd name="connsiteY5" fmla="*/ 569232 h 879044"/>
                <a:gd name="connsiteX6" fmla="*/ 297954 w 521293"/>
                <a:gd name="connsiteY6" fmla="*/ 414275 h 879044"/>
                <a:gd name="connsiteX7" fmla="*/ 256659 w 521293"/>
                <a:gd name="connsiteY7" fmla="*/ 460783 h 879044"/>
                <a:gd name="connsiteX8" fmla="*/ 191651 w 521293"/>
                <a:gd name="connsiteY8" fmla="*/ 663372 h 879044"/>
                <a:gd name="connsiteX9" fmla="*/ 180407 w 521293"/>
                <a:gd name="connsiteY9" fmla="*/ 566370 h 879044"/>
                <a:gd name="connsiteX10" fmla="*/ 168346 w 521293"/>
                <a:gd name="connsiteY10" fmla="*/ 721634 h 879044"/>
                <a:gd name="connsiteX11" fmla="*/ 142997 w 521293"/>
                <a:gd name="connsiteY11" fmla="*/ 653866 h 879044"/>
                <a:gd name="connsiteX12" fmla="*/ 196455 w 521293"/>
                <a:gd name="connsiteY12" fmla="*/ 840714 h 879044"/>
                <a:gd name="connsiteX13" fmla="*/ 96285 w 521293"/>
                <a:gd name="connsiteY13" fmla="*/ 753934 h 879044"/>
                <a:gd name="connsiteX14" fmla="*/ 111515 w 521293"/>
                <a:gd name="connsiteY14" fmla="*/ 810356 h 879044"/>
                <a:gd name="connsiteX15" fmla="*/ 132469 w 521293"/>
                <a:gd name="connsiteY15" fmla="*/ 848176 h 879044"/>
                <a:gd name="connsiteX16" fmla="*/ 114479 w 521293"/>
                <a:gd name="connsiteY16" fmla="*/ 882519 h 879044"/>
                <a:gd name="connsiteX17" fmla="*/ 22282 w 521293"/>
                <a:gd name="connsiteY17" fmla="*/ 683917 h 879044"/>
                <a:gd name="connsiteX18" fmla="*/ 2146 w 521293"/>
                <a:gd name="connsiteY18" fmla="*/ 547869 h 879044"/>
                <a:gd name="connsiteX19" fmla="*/ 39147 w 521293"/>
                <a:gd name="connsiteY19" fmla="*/ 462214 h 879044"/>
                <a:gd name="connsiteX20" fmla="*/ 98125 w 521293"/>
                <a:gd name="connsiteY20" fmla="*/ 408040 h 879044"/>
                <a:gd name="connsiteX21" fmla="*/ 228755 w 521293"/>
                <a:gd name="connsiteY21" fmla="*/ 388415 h 879044"/>
                <a:gd name="connsiteX22" fmla="*/ 229470 w 521293"/>
                <a:gd name="connsiteY22" fmla="*/ 357035 h 879044"/>
                <a:gd name="connsiteX23" fmla="*/ 206370 w 521293"/>
                <a:gd name="connsiteY23" fmla="*/ 331175 h 879044"/>
                <a:gd name="connsiteX24" fmla="*/ 189913 w 521293"/>
                <a:gd name="connsiteY24" fmla="*/ 257069 h 879044"/>
                <a:gd name="connsiteX25" fmla="*/ 252980 w 521293"/>
                <a:gd name="connsiteY25" fmla="*/ 87291 h 879044"/>
                <a:gd name="connsiteX26" fmla="*/ 416114 w 521293"/>
                <a:gd name="connsiteY26" fmla="*/ 0 h 879044"/>
                <a:gd name="connsiteX27" fmla="*/ 431957 w 521293"/>
                <a:gd name="connsiteY27" fmla="*/ 64804 h 879044"/>
                <a:gd name="connsiteX28" fmla="*/ 484598 w 521293"/>
                <a:gd name="connsiteY28" fmla="*/ 116627 h 879044"/>
                <a:gd name="connsiteX29" fmla="*/ 486846 w 521293"/>
                <a:gd name="connsiteY29" fmla="*/ 137887 h 879044"/>
                <a:gd name="connsiteX30" fmla="*/ 458737 w 521293"/>
                <a:gd name="connsiteY30" fmla="*/ 165485 h 879044"/>
                <a:gd name="connsiteX31" fmla="*/ 420714 w 521293"/>
                <a:gd name="connsiteY31" fmla="*/ 235809 h 879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21293" h="879044">
                  <a:moveTo>
                    <a:pt x="420714" y="235809"/>
                  </a:moveTo>
                  <a:cubicBezTo>
                    <a:pt x="406710" y="278739"/>
                    <a:pt x="404359" y="324224"/>
                    <a:pt x="405586" y="369096"/>
                  </a:cubicBezTo>
                  <a:cubicBezTo>
                    <a:pt x="409879" y="342521"/>
                    <a:pt x="419998" y="316762"/>
                    <a:pt x="435228" y="294071"/>
                  </a:cubicBezTo>
                  <a:cubicBezTo>
                    <a:pt x="422553" y="329437"/>
                    <a:pt x="420816" y="368279"/>
                    <a:pt x="430219" y="404462"/>
                  </a:cubicBezTo>
                  <a:cubicBezTo>
                    <a:pt x="436148" y="376762"/>
                    <a:pt x="446267" y="349778"/>
                    <a:pt x="460168" y="324735"/>
                  </a:cubicBezTo>
                  <a:cubicBezTo>
                    <a:pt x="442281" y="410493"/>
                    <a:pt x="456897" y="508108"/>
                    <a:pt x="523030" y="569232"/>
                  </a:cubicBezTo>
                  <a:cubicBezTo>
                    <a:pt x="441054" y="527426"/>
                    <a:pt x="365109" y="475195"/>
                    <a:pt x="297954" y="414275"/>
                  </a:cubicBezTo>
                  <a:cubicBezTo>
                    <a:pt x="290492" y="433491"/>
                    <a:pt x="271685" y="446166"/>
                    <a:pt x="256659" y="460783"/>
                  </a:cubicBezTo>
                  <a:cubicBezTo>
                    <a:pt x="203508" y="512605"/>
                    <a:pt x="196046" y="591311"/>
                    <a:pt x="191651" y="663372"/>
                  </a:cubicBezTo>
                  <a:cubicBezTo>
                    <a:pt x="182861" y="631787"/>
                    <a:pt x="179079" y="598977"/>
                    <a:pt x="180407" y="566370"/>
                  </a:cubicBezTo>
                  <a:cubicBezTo>
                    <a:pt x="170493" y="617477"/>
                    <a:pt x="166404" y="669709"/>
                    <a:pt x="168346" y="721634"/>
                  </a:cubicBezTo>
                  <a:cubicBezTo>
                    <a:pt x="154649" y="701293"/>
                    <a:pt x="145859" y="677886"/>
                    <a:pt x="142997" y="653866"/>
                  </a:cubicBezTo>
                  <a:cubicBezTo>
                    <a:pt x="132878" y="719590"/>
                    <a:pt x="152707" y="788891"/>
                    <a:pt x="196455" y="840714"/>
                  </a:cubicBezTo>
                  <a:cubicBezTo>
                    <a:pt x="156898" y="819146"/>
                    <a:pt x="122452" y="789300"/>
                    <a:pt x="96285" y="753934"/>
                  </a:cubicBezTo>
                  <a:cubicBezTo>
                    <a:pt x="95978" y="773559"/>
                    <a:pt x="101293" y="793286"/>
                    <a:pt x="111515" y="810356"/>
                  </a:cubicBezTo>
                  <a:cubicBezTo>
                    <a:pt x="118977" y="822826"/>
                    <a:pt x="128994" y="834274"/>
                    <a:pt x="132469" y="848176"/>
                  </a:cubicBezTo>
                  <a:cubicBezTo>
                    <a:pt x="135944" y="862077"/>
                    <a:pt x="129300" y="879862"/>
                    <a:pt x="114479" y="882519"/>
                  </a:cubicBezTo>
                  <a:cubicBezTo>
                    <a:pt x="76966" y="819453"/>
                    <a:pt x="45995" y="752809"/>
                    <a:pt x="22282" y="683917"/>
                  </a:cubicBezTo>
                  <a:cubicBezTo>
                    <a:pt x="7154" y="639964"/>
                    <a:pt x="-5112" y="593559"/>
                    <a:pt x="2146" y="547869"/>
                  </a:cubicBezTo>
                  <a:cubicBezTo>
                    <a:pt x="7052" y="517103"/>
                    <a:pt x="20749" y="487972"/>
                    <a:pt x="39147" y="462214"/>
                  </a:cubicBezTo>
                  <a:cubicBezTo>
                    <a:pt x="54684" y="440544"/>
                    <a:pt x="73900" y="420715"/>
                    <a:pt x="98125" y="408040"/>
                  </a:cubicBezTo>
                  <a:cubicBezTo>
                    <a:pt x="137171" y="387597"/>
                    <a:pt x="184087" y="387699"/>
                    <a:pt x="228755" y="388415"/>
                  </a:cubicBezTo>
                  <a:cubicBezTo>
                    <a:pt x="237341" y="380544"/>
                    <a:pt x="235705" y="366745"/>
                    <a:pt x="229470" y="357035"/>
                  </a:cubicBezTo>
                  <a:cubicBezTo>
                    <a:pt x="223235" y="347427"/>
                    <a:pt x="213525" y="340170"/>
                    <a:pt x="206370" y="331175"/>
                  </a:cubicBezTo>
                  <a:cubicBezTo>
                    <a:pt x="190016" y="310527"/>
                    <a:pt x="188278" y="282827"/>
                    <a:pt x="189913" y="257069"/>
                  </a:cubicBezTo>
                  <a:cubicBezTo>
                    <a:pt x="193900" y="196252"/>
                    <a:pt x="213729" y="135536"/>
                    <a:pt x="252980" y="87291"/>
                  </a:cubicBezTo>
                  <a:cubicBezTo>
                    <a:pt x="292230" y="39046"/>
                    <a:pt x="351923" y="4395"/>
                    <a:pt x="416114" y="0"/>
                  </a:cubicBezTo>
                  <a:cubicBezTo>
                    <a:pt x="407732" y="613"/>
                    <a:pt x="429197" y="59898"/>
                    <a:pt x="431957" y="64804"/>
                  </a:cubicBezTo>
                  <a:cubicBezTo>
                    <a:pt x="445449" y="88620"/>
                    <a:pt x="465177" y="98841"/>
                    <a:pt x="484598" y="116627"/>
                  </a:cubicBezTo>
                  <a:cubicBezTo>
                    <a:pt x="497477" y="128483"/>
                    <a:pt x="498499" y="123373"/>
                    <a:pt x="486846" y="137887"/>
                  </a:cubicBezTo>
                  <a:cubicBezTo>
                    <a:pt x="478874" y="147802"/>
                    <a:pt x="467017" y="155366"/>
                    <a:pt x="458737" y="165485"/>
                  </a:cubicBezTo>
                  <a:cubicBezTo>
                    <a:pt x="441463" y="186439"/>
                    <a:pt x="428993" y="210664"/>
                    <a:pt x="420714" y="23580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A18EE05-3E97-42FE-8D82-76D3F128DE64}"/>
                </a:ext>
              </a:extLst>
            </p:cNvPr>
            <p:cNvSpPr/>
            <p:nvPr/>
          </p:nvSpPr>
          <p:spPr>
            <a:xfrm>
              <a:off x="9541077" y="2549013"/>
              <a:ext cx="340673" cy="522893"/>
            </a:xfrm>
            <a:custGeom>
              <a:avLst/>
              <a:gdLst>
                <a:gd name="connsiteX0" fmla="*/ 42336 w 439522"/>
                <a:gd name="connsiteY0" fmla="*/ 467018 h 674615"/>
                <a:gd name="connsiteX1" fmla="*/ 50717 w 439522"/>
                <a:gd name="connsiteY1" fmla="*/ 225996 h 674615"/>
                <a:gd name="connsiteX2" fmla="*/ 85368 w 439522"/>
                <a:gd name="connsiteY2" fmla="*/ 467938 h 674615"/>
                <a:gd name="connsiteX3" fmla="*/ 96305 w 439522"/>
                <a:gd name="connsiteY3" fmla="*/ 270459 h 674615"/>
                <a:gd name="connsiteX4" fmla="*/ 150479 w 439522"/>
                <a:gd name="connsiteY4" fmla="*/ 531822 h 674615"/>
                <a:gd name="connsiteX5" fmla="*/ 383017 w 439522"/>
                <a:gd name="connsiteY5" fmla="*/ 681975 h 674615"/>
                <a:gd name="connsiteX6" fmla="*/ 291841 w 439522"/>
                <a:gd name="connsiteY6" fmla="*/ 592537 h 674615"/>
                <a:gd name="connsiteX7" fmla="*/ 235725 w 439522"/>
                <a:gd name="connsiteY7" fmla="*/ 316251 h 674615"/>
                <a:gd name="connsiteX8" fmla="*/ 325061 w 439522"/>
                <a:gd name="connsiteY8" fmla="*/ 541328 h 674615"/>
                <a:gd name="connsiteX9" fmla="*/ 279371 w 439522"/>
                <a:gd name="connsiteY9" fmla="*/ 318602 h 674615"/>
                <a:gd name="connsiteX10" fmla="*/ 334260 w 439522"/>
                <a:gd name="connsiteY10" fmla="*/ 457512 h 674615"/>
                <a:gd name="connsiteX11" fmla="*/ 448536 w 439522"/>
                <a:gd name="connsiteY11" fmla="*/ 562077 h 674615"/>
                <a:gd name="connsiteX12" fmla="*/ 342335 w 439522"/>
                <a:gd name="connsiteY12" fmla="*/ 348551 h 674615"/>
                <a:gd name="connsiteX13" fmla="*/ 359098 w 439522"/>
                <a:gd name="connsiteY13" fmla="*/ 228347 h 674615"/>
                <a:gd name="connsiteX14" fmla="*/ 369217 w 439522"/>
                <a:gd name="connsiteY14" fmla="*/ 107836 h 674615"/>
                <a:gd name="connsiteX15" fmla="*/ 298690 w 439522"/>
                <a:gd name="connsiteY15" fmla="*/ 12266 h 674615"/>
                <a:gd name="connsiteX16" fmla="*/ 222744 w 439522"/>
                <a:gd name="connsiteY16" fmla="*/ 2146 h 674615"/>
                <a:gd name="connsiteX17" fmla="*/ 164278 w 439522"/>
                <a:gd name="connsiteY17" fmla="*/ 8688 h 674615"/>
                <a:gd name="connsiteX18" fmla="*/ 86697 w 439522"/>
                <a:gd name="connsiteY18" fmla="*/ 130528 h 674615"/>
                <a:gd name="connsiteX19" fmla="*/ 92216 w 439522"/>
                <a:gd name="connsiteY19" fmla="*/ 26474 h 674615"/>
                <a:gd name="connsiteX20" fmla="*/ 61859 w 439522"/>
                <a:gd name="connsiteY20" fmla="*/ 137274 h 674615"/>
                <a:gd name="connsiteX21" fmla="*/ 58588 w 439522"/>
                <a:gd name="connsiteY21" fmla="*/ 33935 h 674615"/>
                <a:gd name="connsiteX22" fmla="*/ 46629 w 439522"/>
                <a:gd name="connsiteY22" fmla="*/ 167427 h 674615"/>
                <a:gd name="connsiteX23" fmla="*/ 35590 w 439522"/>
                <a:gd name="connsiteY23" fmla="*/ 0 h 674615"/>
                <a:gd name="connsiteX24" fmla="*/ 7481 w 439522"/>
                <a:gd name="connsiteY24" fmla="*/ 106814 h 674615"/>
                <a:gd name="connsiteX25" fmla="*/ 121 w 439522"/>
                <a:gd name="connsiteY25" fmla="*/ 227120 h 674615"/>
                <a:gd name="connsiteX26" fmla="*/ 42336 w 439522"/>
                <a:gd name="connsiteY26" fmla="*/ 46701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9522" h="674615">
                  <a:moveTo>
                    <a:pt x="42336" y="467018"/>
                  </a:moveTo>
                  <a:cubicBezTo>
                    <a:pt x="30070" y="386473"/>
                    <a:pt x="18418" y="301430"/>
                    <a:pt x="50717" y="225996"/>
                  </a:cubicBezTo>
                  <a:cubicBezTo>
                    <a:pt x="42642" y="307768"/>
                    <a:pt x="54499" y="391175"/>
                    <a:pt x="85368" y="467938"/>
                  </a:cubicBezTo>
                  <a:cubicBezTo>
                    <a:pt x="66561" y="403236"/>
                    <a:pt x="70445" y="332912"/>
                    <a:pt x="96305" y="270459"/>
                  </a:cubicBezTo>
                  <a:cubicBezTo>
                    <a:pt x="77600" y="359795"/>
                    <a:pt x="97532" y="455774"/>
                    <a:pt x="150479" y="531822"/>
                  </a:cubicBezTo>
                  <a:cubicBezTo>
                    <a:pt x="203426" y="607869"/>
                    <a:pt x="288877" y="662963"/>
                    <a:pt x="383017" y="681975"/>
                  </a:cubicBezTo>
                  <a:cubicBezTo>
                    <a:pt x="341415" y="666540"/>
                    <a:pt x="312795" y="629947"/>
                    <a:pt x="291841" y="592537"/>
                  </a:cubicBezTo>
                  <a:cubicBezTo>
                    <a:pt x="244720" y="508415"/>
                    <a:pt x="224891" y="410902"/>
                    <a:pt x="235725" y="316251"/>
                  </a:cubicBezTo>
                  <a:cubicBezTo>
                    <a:pt x="246049" y="396592"/>
                    <a:pt x="277020" y="474479"/>
                    <a:pt x="325061" y="541328"/>
                  </a:cubicBezTo>
                  <a:cubicBezTo>
                    <a:pt x="290717" y="472128"/>
                    <a:pt x="274874" y="394854"/>
                    <a:pt x="279371" y="318602"/>
                  </a:cubicBezTo>
                  <a:cubicBezTo>
                    <a:pt x="279678" y="368892"/>
                    <a:pt x="302369" y="417239"/>
                    <a:pt x="334260" y="457512"/>
                  </a:cubicBezTo>
                  <a:cubicBezTo>
                    <a:pt x="366253" y="497682"/>
                    <a:pt x="407139" y="530595"/>
                    <a:pt x="448536" y="562077"/>
                  </a:cubicBezTo>
                  <a:cubicBezTo>
                    <a:pt x="398655" y="497682"/>
                    <a:pt x="346935" y="428279"/>
                    <a:pt x="342335" y="348551"/>
                  </a:cubicBezTo>
                  <a:cubicBezTo>
                    <a:pt x="339984" y="308074"/>
                    <a:pt x="350103" y="268006"/>
                    <a:pt x="359098" y="228347"/>
                  </a:cubicBezTo>
                  <a:cubicBezTo>
                    <a:pt x="368093" y="188688"/>
                    <a:pt x="375964" y="147802"/>
                    <a:pt x="369217" y="107836"/>
                  </a:cubicBezTo>
                  <a:cubicBezTo>
                    <a:pt x="362369" y="67768"/>
                    <a:pt x="338144" y="28211"/>
                    <a:pt x="298690" y="12266"/>
                  </a:cubicBezTo>
                  <a:cubicBezTo>
                    <a:pt x="274976" y="2658"/>
                    <a:pt x="248502" y="2351"/>
                    <a:pt x="222744" y="2146"/>
                  </a:cubicBezTo>
                  <a:cubicBezTo>
                    <a:pt x="203017" y="2044"/>
                    <a:pt x="182676" y="1942"/>
                    <a:pt x="164278" y="8688"/>
                  </a:cubicBezTo>
                  <a:cubicBezTo>
                    <a:pt x="115419" y="26474"/>
                    <a:pt x="97838" y="82078"/>
                    <a:pt x="86697" y="130528"/>
                  </a:cubicBezTo>
                  <a:cubicBezTo>
                    <a:pt x="78520" y="96184"/>
                    <a:pt x="80360" y="59795"/>
                    <a:pt x="92216" y="26474"/>
                  </a:cubicBezTo>
                  <a:cubicBezTo>
                    <a:pt x="72489" y="60204"/>
                    <a:pt x="61961" y="98739"/>
                    <a:pt x="61859" y="137274"/>
                  </a:cubicBezTo>
                  <a:cubicBezTo>
                    <a:pt x="55419" y="103236"/>
                    <a:pt x="54295" y="68279"/>
                    <a:pt x="58588" y="33935"/>
                  </a:cubicBezTo>
                  <a:cubicBezTo>
                    <a:pt x="40598" y="75945"/>
                    <a:pt x="36407" y="123168"/>
                    <a:pt x="46629" y="167427"/>
                  </a:cubicBezTo>
                  <a:cubicBezTo>
                    <a:pt x="32932" y="107836"/>
                    <a:pt x="26492" y="61022"/>
                    <a:pt x="35590" y="0"/>
                  </a:cubicBezTo>
                  <a:cubicBezTo>
                    <a:pt x="12693" y="17683"/>
                    <a:pt x="11262" y="79932"/>
                    <a:pt x="7481" y="106814"/>
                  </a:cubicBezTo>
                  <a:cubicBezTo>
                    <a:pt x="1859" y="146678"/>
                    <a:pt x="-594" y="186848"/>
                    <a:pt x="121" y="227120"/>
                  </a:cubicBezTo>
                  <a:cubicBezTo>
                    <a:pt x="1246" y="308585"/>
                    <a:pt x="15453" y="389744"/>
                    <a:pt x="42336" y="46701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894B22F1-9B39-41DB-9F48-6D6FB95159B5}"/>
                </a:ext>
              </a:extLst>
            </p:cNvPr>
            <p:cNvSpPr/>
            <p:nvPr/>
          </p:nvSpPr>
          <p:spPr>
            <a:xfrm>
              <a:off x="8948954" y="3141704"/>
              <a:ext cx="879412" cy="443667"/>
            </a:xfrm>
            <a:custGeom>
              <a:avLst/>
              <a:gdLst>
                <a:gd name="connsiteX0" fmla="*/ 97206 w 1134580"/>
                <a:gd name="connsiteY0" fmla="*/ 261260 h 572400"/>
                <a:gd name="connsiteX1" fmla="*/ 385042 w 1134580"/>
                <a:gd name="connsiteY1" fmla="*/ 0 h 572400"/>
                <a:gd name="connsiteX2" fmla="*/ 241328 w 1134580"/>
                <a:gd name="connsiteY2" fmla="*/ 140034 h 572400"/>
                <a:gd name="connsiteX3" fmla="*/ 441055 w 1134580"/>
                <a:gd name="connsiteY3" fmla="*/ 9710 h 572400"/>
                <a:gd name="connsiteX4" fmla="*/ 273424 w 1134580"/>
                <a:gd name="connsiteY4" fmla="*/ 160068 h 572400"/>
                <a:gd name="connsiteX5" fmla="*/ 480306 w 1134580"/>
                <a:gd name="connsiteY5" fmla="*/ 29438 h 572400"/>
                <a:gd name="connsiteX6" fmla="*/ 262384 w 1134580"/>
                <a:gd name="connsiteY6" fmla="*/ 214855 h 572400"/>
                <a:gd name="connsiteX7" fmla="*/ 535195 w 1134580"/>
                <a:gd name="connsiteY7" fmla="*/ 102930 h 572400"/>
                <a:gd name="connsiteX8" fmla="*/ 837647 w 1134580"/>
                <a:gd name="connsiteY8" fmla="*/ 122146 h 572400"/>
                <a:gd name="connsiteX9" fmla="*/ 557989 w 1134580"/>
                <a:gd name="connsiteY9" fmla="*/ 203611 h 572400"/>
                <a:gd name="connsiteX10" fmla="*/ 775092 w 1134580"/>
                <a:gd name="connsiteY10" fmla="*/ 209846 h 572400"/>
                <a:gd name="connsiteX11" fmla="*/ 1141838 w 1134580"/>
                <a:gd name="connsiteY11" fmla="*/ 248586 h 572400"/>
                <a:gd name="connsiteX12" fmla="*/ 868107 w 1134580"/>
                <a:gd name="connsiteY12" fmla="*/ 332606 h 572400"/>
                <a:gd name="connsiteX13" fmla="*/ 1074478 w 1134580"/>
                <a:gd name="connsiteY13" fmla="*/ 299080 h 572400"/>
                <a:gd name="connsiteX14" fmla="*/ 869538 w 1134580"/>
                <a:gd name="connsiteY14" fmla="*/ 378705 h 572400"/>
                <a:gd name="connsiteX15" fmla="*/ 1084189 w 1134580"/>
                <a:gd name="connsiteY15" fmla="*/ 324224 h 572400"/>
                <a:gd name="connsiteX16" fmla="*/ 864734 w 1134580"/>
                <a:gd name="connsiteY16" fmla="*/ 433798 h 572400"/>
                <a:gd name="connsiteX17" fmla="*/ 629641 w 1134580"/>
                <a:gd name="connsiteY17" fmla="*/ 559931 h 572400"/>
                <a:gd name="connsiteX18" fmla="*/ 370016 w 1134580"/>
                <a:gd name="connsiteY18" fmla="*/ 543679 h 572400"/>
                <a:gd name="connsiteX19" fmla="*/ 532333 w 1134580"/>
                <a:gd name="connsiteY19" fmla="*/ 442384 h 572400"/>
                <a:gd name="connsiteX20" fmla="*/ 411618 w 1134580"/>
                <a:gd name="connsiteY20" fmla="*/ 514343 h 572400"/>
                <a:gd name="connsiteX21" fmla="*/ 563202 w 1134580"/>
                <a:gd name="connsiteY21" fmla="*/ 363577 h 572400"/>
                <a:gd name="connsiteX22" fmla="*/ 257989 w 1134580"/>
                <a:gd name="connsiteY22" fmla="*/ 451788 h 572400"/>
                <a:gd name="connsiteX23" fmla="*/ 53867 w 1134580"/>
                <a:gd name="connsiteY23" fmla="*/ 372163 h 572400"/>
                <a:gd name="connsiteX24" fmla="*/ 179795 w 1134580"/>
                <a:gd name="connsiteY24" fmla="*/ 342214 h 572400"/>
                <a:gd name="connsiteX25" fmla="*/ 51107 w 1134580"/>
                <a:gd name="connsiteY25" fmla="*/ 364395 h 572400"/>
                <a:gd name="connsiteX26" fmla="*/ 163134 w 1134580"/>
                <a:gd name="connsiteY26" fmla="*/ 302657 h 572400"/>
                <a:gd name="connsiteX27" fmla="*/ 0 w 1134580"/>
                <a:gd name="connsiteY27" fmla="*/ 340988 h 572400"/>
                <a:gd name="connsiteX28" fmla="*/ 97206 w 1134580"/>
                <a:gd name="connsiteY28" fmla="*/ 261260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34580" h="572400">
                  <a:moveTo>
                    <a:pt x="97206" y="261260"/>
                  </a:moveTo>
                  <a:cubicBezTo>
                    <a:pt x="169369" y="130119"/>
                    <a:pt x="250119" y="74617"/>
                    <a:pt x="385042" y="0"/>
                  </a:cubicBezTo>
                  <a:cubicBezTo>
                    <a:pt x="325451" y="33935"/>
                    <a:pt x="275468" y="82692"/>
                    <a:pt x="241328" y="140034"/>
                  </a:cubicBezTo>
                  <a:cubicBezTo>
                    <a:pt x="297444" y="84123"/>
                    <a:pt x="365928" y="39455"/>
                    <a:pt x="441055" y="9710"/>
                  </a:cubicBezTo>
                  <a:cubicBezTo>
                    <a:pt x="375025" y="48245"/>
                    <a:pt x="317580" y="99761"/>
                    <a:pt x="273424" y="160068"/>
                  </a:cubicBezTo>
                  <a:cubicBezTo>
                    <a:pt x="336694" y="109063"/>
                    <a:pt x="406302" y="65213"/>
                    <a:pt x="480306" y="29438"/>
                  </a:cubicBezTo>
                  <a:cubicBezTo>
                    <a:pt x="399659" y="81976"/>
                    <a:pt x="326166" y="144531"/>
                    <a:pt x="262384" y="214855"/>
                  </a:cubicBezTo>
                  <a:cubicBezTo>
                    <a:pt x="332504" y="145758"/>
                    <a:pt x="434411" y="111721"/>
                    <a:pt x="535195" y="102930"/>
                  </a:cubicBezTo>
                  <a:cubicBezTo>
                    <a:pt x="636080" y="94140"/>
                    <a:pt x="737375" y="108143"/>
                    <a:pt x="837647" y="122146"/>
                  </a:cubicBezTo>
                  <a:cubicBezTo>
                    <a:pt x="744428" y="149335"/>
                    <a:pt x="651208" y="176525"/>
                    <a:pt x="557989" y="203611"/>
                  </a:cubicBezTo>
                  <a:cubicBezTo>
                    <a:pt x="624735" y="173254"/>
                    <a:pt x="703440" y="191959"/>
                    <a:pt x="775092" y="209846"/>
                  </a:cubicBezTo>
                  <a:cubicBezTo>
                    <a:pt x="894887" y="239795"/>
                    <a:pt x="1019385" y="266269"/>
                    <a:pt x="1141838" y="248586"/>
                  </a:cubicBezTo>
                  <a:cubicBezTo>
                    <a:pt x="1053115" y="283338"/>
                    <a:pt x="961531" y="311447"/>
                    <a:pt x="868107" y="332606"/>
                  </a:cubicBezTo>
                  <a:cubicBezTo>
                    <a:pt x="936898" y="321465"/>
                    <a:pt x="1005688" y="310221"/>
                    <a:pt x="1074478" y="299080"/>
                  </a:cubicBezTo>
                  <a:cubicBezTo>
                    <a:pt x="1006199" y="325655"/>
                    <a:pt x="937817" y="352129"/>
                    <a:pt x="869538" y="378705"/>
                  </a:cubicBezTo>
                  <a:cubicBezTo>
                    <a:pt x="941088" y="360511"/>
                    <a:pt x="1012639" y="342418"/>
                    <a:pt x="1084189" y="324224"/>
                  </a:cubicBezTo>
                  <a:cubicBezTo>
                    <a:pt x="1009470" y="357955"/>
                    <a:pt x="935262" y="392912"/>
                    <a:pt x="864734" y="433798"/>
                  </a:cubicBezTo>
                  <a:cubicBezTo>
                    <a:pt x="787767" y="478364"/>
                    <a:pt x="714377" y="530391"/>
                    <a:pt x="629641" y="559931"/>
                  </a:cubicBezTo>
                  <a:cubicBezTo>
                    <a:pt x="544905" y="589471"/>
                    <a:pt x="443611" y="593048"/>
                    <a:pt x="370016" y="543679"/>
                  </a:cubicBezTo>
                  <a:cubicBezTo>
                    <a:pt x="430629" y="520783"/>
                    <a:pt x="486234" y="486030"/>
                    <a:pt x="532333" y="442384"/>
                  </a:cubicBezTo>
                  <a:cubicBezTo>
                    <a:pt x="494922" y="470289"/>
                    <a:pt x="454343" y="494411"/>
                    <a:pt x="411618" y="514343"/>
                  </a:cubicBezTo>
                  <a:cubicBezTo>
                    <a:pt x="474991" y="477852"/>
                    <a:pt x="527835" y="425212"/>
                    <a:pt x="563202" y="363577"/>
                  </a:cubicBezTo>
                  <a:cubicBezTo>
                    <a:pt x="467018" y="409062"/>
                    <a:pt x="365519" y="455774"/>
                    <a:pt x="257989" y="451788"/>
                  </a:cubicBezTo>
                  <a:cubicBezTo>
                    <a:pt x="182862" y="449028"/>
                    <a:pt x="109165" y="420204"/>
                    <a:pt x="53867" y="372163"/>
                  </a:cubicBezTo>
                  <a:cubicBezTo>
                    <a:pt x="97819" y="379931"/>
                    <a:pt x="145042" y="368688"/>
                    <a:pt x="179795" y="342214"/>
                  </a:cubicBezTo>
                  <a:cubicBezTo>
                    <a:pt x="136865" y="349676"/>
                    <a:pt x="94037" y="357035"/>
                    <a:pt x="51107" y="364395"/>
                  </a:cubicBezTo>
                  <a:cubicBezTo>
                    <a:pt x="93117" y="353049"/>
                    <a:pt x="131959" y="331584"/>
                    <a:pt x="163134" y="302657"/>
                  </a:cubicBezTo>
                  <a:cubicBezTo>
                    <a:pt x="112231" y="325655"/>
                    <a:pt x="56320" y="338841"/>
                    <a:pt x="0" y="340988"/>
                  </a:cubicBezTo>
                  <a:cubicBezTo>
                    <a:pt x="42828" y="329540"/>
                    <a:pt x="76865" y="298364"/>
                    <a:pt x="97206" y="26126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FCF4B58-F7A7-4048-8624-10CAFE583A23}"/>
                </a:ext>
              </a:extLst>
            </p:cNvPr>
            <p:cNvSpPr/>
            <p:nvPr/>
          </p:nvSpPr>
          <p:spPr>
            <a:xfrm>
              <a:off x="7802110" y="3004723"/>
              <a:ext cx="903180" cy="1140859"/>
            </a:xfrm>
            <a:custGeom>
              <a:avLst/>
              <a:gdLst>
                <a:gd name="connsiteX0" fmla="*/ 1173172 w 1165244"/>
                <a:gd name="connsiteY0" fmla="*/ 24225 h 1471887"/>
                <a:gd name="connsiteX1" fmla="*/ 1100907 w 1165244"/>
                <a:gd name="connsiteY1" fmla="*/ 113151 h 1471887"/>
                <a:gd name="connsiteX2" fmla="*/ 1054808 w 1165244"/>
                <a:gd name="connsiteY2" fmla="*/ 200647 h 1471887"/>
                <a:gd name="connsiteX3" fmla="*/ 1080668 w 1165244"/>
                <a:gd name="connsiteY3" fmla="*/ 286507 h 1471887"/>
                <a:gd name="connsiteX4" fmla="*/ 708710 w 1165244"/>
                <a:gd name="connsiteY4" fmla="*/ 666540 h 1471887"/>
                <a:gd name="connsiteX5" fmla="*/ 738148 w 1165244"/>
                <a:gd name="connsiteY5" fmla="*/ 637205 h 1471887"/>
                <a:gd name="connsiteX6" fmla="*/ 690005 w 1165244"/>
                <a:gd name="connsiteY6" fmla="*/ 666131 h 1471887"/>
                <a:gd name="connsiteX7" fmla="*/ 724042 w 1165244"/>
                <a:gd name="connsiteY7" fmla="*/ 637307 h 1471887"/>
                <a:gd name="connsiteX8" fmla="*/ 673241 w 1165244"/>
                <a:gd name="connsiteY8" fmla="*/ 659181 h 1471887"/>
                <a:gd name="connsiteX9" fmla="*/ 707381 w 1165244"/>
                <a:gd name="connsiteY9" fmla="*/ 635467 h 1471887"/>
                <a:gd name="connsiteX10" fmla="*/ 589834 w 1165244"/>
                <a:gd name="connsiteY10" fmla="*/ 653048 h 1471887"/>
                <a:gd name="connsiteX11" fmla="*/ 734775 w 1165244"/>
                <a:gd name="connsiteY11" fmla="*/ 716523 h 1471887"/>
                <a:gd name="connsiteX12" fmla="*/ 420465 w 1165244"/>
                <a:gd name="connsiteY12" fmla="*/ 688823 h 1471887"/>
                <a:gd name="connsiteX13" fmla="*/ 155423 w 1165244"/>
                <a:gd name="connsiteY13" fmla="*/ 851037 h 1471887"/>
                <a:gd name="connsiteX14" fmla="*/ 72629 w 1165244"/>
                <a:gd name="connsiteY14" fmla="*/ 1036557 h 1471887"/>
                <a:gd name="connsiteX15" fmla="*/ 99001 w 1165244"/>
                <a:gd name="connsiteY15" fmla="*/ 1230253 h 1471887"/>
                <a:gd name="connsiteX16" fmla="*/ 287280 w 1165244"/>
                <a:gd name="connsiteY16" fmla="*/ 1478532 h 1471887"/>
                <a:gd name="connsiteX17" fmla="*/ 29290 w 1165244"/>
                <a:gd name="connsiteY17" fmla="*/ 1234546 h 1471887"/>
                <a:gd name="connsiteX18" fmla="*/ 1181 w 1165244"/>
                <a:gd name="connsiteY18" fmla="*/ 1087971 h 1471887"/>
                <a:gd name="connsiteX19" fmla="*/ 6394 w 1165244"/>
                <a:gd name="connsiteY19" fmla="*/ 992093 h 1471887"/>
                <a:gd name="connsiteX20" fmla="*/ 37365 w 1165244"/>
                <a:gd name="connsiteY20" fmla="*/ 919317 h 1471887"/>
                <a:gd name="connsiteX21" fmla="*/ 211232 w 1165244"/>
                <a:gd name="connsiteY21" fmla="*/ 733184 h 1471887"/>
                <a:gd name="connsiteX22" fmla="*/ 331743 w 1165244"/>
                <a:gd name="connsiteY22" fmla="*/ 665416 h 1471887"/>
                <a:gd name="connsiteX23" fmla="*/ 604860 w 1165244"/>
                <a:gd name="connsiteY23" fmla="*/ 525791 h 1471887"/>
                <a:gd name="connsiteX24" fmla="*/ 970685 w 1165244"/>
                <a:gd name="connsiteY24" fmla="*/ 178875 h 1471887"/>
                <a:gd name="connsiteX25" fmla="*/ 1133820 w 1165244"/>
                <a:gd name="connsiteY25" fmla="*/ 0 h 1471887"/>
                <a:gd name="connsiteX26" fmla="*/ 1173172 w 1165244"/>
                <a:gd name="connsiteY26" fmla="*/ 24225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65244" h="1471887">
                  <a:moveTo>
                    <a:pt x="1173172" y="24225"/>
                  </a:moveTo>
                  <a:cubicBezTo>
                    <a:pt x="1149050" y="53867"/>
                    <a:pt x="1125029" y="83509"/>
                    <a:pt x="1100907" y="113151"/>
                  </a:cubicBezTo>
                  <a:cubicBezTo>
                    <a:pt x="1079544" y="139420"/>
                    <a:pt x="1057363" y="167632"/>
                    <a:pt x="1054808" y="200647"/>
                  </a:cubicBezTo>
                  <a:cubicBezTo>
                    <a:pt x="1052457" y="230698"/>
                    <a:pt x="1066665" y="259420"/>
                    <a:pt x="1080668" y="286507"/>
                  </a:cubicBezTo>
                  <a:cubicBezTo>
                    <a:pt x="973139" y="426541"/>
                    <a:pt x="848028" y="554411"/>
                    <a:pt x="708710" y="666540"/>
                  </a:cubicBezTo>
                  <a:cubicBezTo>
                    <a:pt x="718522" y="656728"/>
                    <a:pt x="728335" y="647017"/>
                    <a:pt x="738148" y="637205"/>
                  </a:cubicBezTo>
                  <a:cubicBezTo>
                    <a:pt x="724042" y="649470"/>
                    <a:pt x="707688" y="659283"/>
                    <a:pt x="690005" y="666131"/>
                  </a:cubicBezTo>
                  <a:cubicBezTo>
                    <a:pt x="699613" y="654888"/>
                    <a:pt x="711163" y="645075"/>
                    <a:pt x="724042" y="637307"/>
                  </a:cubicBezTo>
                  <a:cubicBezTo>
                    <a:pt x="708710" y="647426"/>
                    <a:pt x="691333" y="654888"/>
                    <a:pt x="673241" y="659181"/>
                  </a:cubicBezTo>
                  <a:cubicBezTo>
                    <a:pt x="685609" y="652639"/>
                    <a:pt x="697057" y="644666"/>
                    <a:pt x="707381" y="635467"/>
                  </a:cubicBezTo>
                  <a:cubicBezTo>
                    <a:pt x="673037" y="656319"/>
                    <a:pt x="629289" y="662861"/>
                    <a:pt x="589834" y="653048"/>
                  </a:cubicBezTo>
                  <a:cubicBezTo>
                    <a:pt x="635729" y="680441"/>
                    <a:pt x="704519" y="674002"/>
                    <a:pt x="734775" y="716523"/>
                  </a:cubicBezTo>
                  <a:cubicBezTo>
                    <a:pt x="637160" y="674615"/>
                    <a:pt x="524622" y="664700"/>
                    <a:pt x="420465" y="688823"/>
                  </a:cubicBezTo>
                  <a:cubicBezTo>
                    <a:pt x="316411" y="712946"/>
                    <a:pt x="221454" y="771106"/>
                    <a:pt x="155423" y="851037"/>
                  </a:cubicBezTo>
                  <a:cubicBezTo>
                    <a:pt x="110653" y="905313"/>
                    <a:pt x="83055" y="968379"/>
                    <a:pt x="72629" y="1036557"/>
                  </a:cubicBezTo>
                  <a:cubicBezTo>
                    <a:pt x="62715" y="1101565"/>
                    <a:pt x="76002" y="1168209"/>
                    <a:pt x="99001" y="1230253"/>
                  </a:cubicBezTo>
                  <a:cubicBezTo>
                    <a:pt x="135185" y="1327868"/>
                    <a:pt x="197638" y="1419043"/>
                    <a:pt x="287280" y="1478532"/>
                  </a:cubicBezTo>
                  <a:cubicBezTo>
                    <a:pt x="183839" y="1414443"/>
                    <a:pt x="74367" y="1343507"/>
                    <a:pt x="29290" y="1234546"/>
                  </a:cubicBezTo>
                  <a:cubicBezTo>
                    <a:pt x="10074" y="1188141"/>
                    <a:pt x="4043" y="1137749"/>
                    <a:pt x="1181" y="1087971"/>
                  </a:cubicBezTo>
                  <a:cubicBezTo>
                    <a:pt x="-658" y="1055875"/>
                    <a:pt x="-1272" y="1023371"/>
                    <a:pt x="6394" y="992093"/>
                  </a:cubicBezTo>
                  <a:cubicBezTo>
                    <a:pt x="12629" y="966540"/>
                    <a:pt x="24077" y="942315"/>
                    <a:pt x="37365" y="919317"/>
                  </a:cubicBezTo>
                  <a:cubicBezTo>
                    <a:pt x="79376" y="845824"/>
                    <a:pt x="139273" y="781531"/>
                    <a:pt x="211232" y="733184"/>
                  </a:cubicBezTo>
                  <a:cubicBezTo>
                    <a:pt x="249358" y="707528"/>
                    <a:pt x="290653" y="686472"/>
                    <a:pt x="331743" y="665416"/>
                  </a:cubicBezTo>
                  <a:cubicBezTo>
                    <a:pt x="422816" y="618908"/>
                    <a:pt x="513787" y="572299"/>
                    <a:pt x="604860" y="525791"/>
                  </a:cubicBezTo>
                  <a:cubicBezTo>
                    <a:pt x="754706" y="449130"/>
                    <a:pt x="859374" y="300817"/>
                    <a:pt x="970685" y="178875"/>
                  </a:cubicBezTo>
                  <a:cubicBezTo>
                    <a:pt x="1025063" y="119284"/>
                    <a:pt x="1079442" y="59591"/>
                    <a:pt x="1133820" y="0"/>
                  </a:cubicBezTo>
                  <a:cubicBezTo>
                    <a:pt x="1146903" y="5826"/>
                    <a:pt x="1160089" y="18296"/>
                    <a:pt x="1173172" y="2422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59CA9CD-B1F9-4304-9147-A9B4EB12E1EA}"/>
                </a:ext>
              </a:extLst>
            </p:cNvPr>
            <p:cNvSpPr/>
            <p:nvPr/>
          </p:nvSpPr>
          <p:spPr>
            <a:xfrm>
              <a:off x="7993881" y="3665194"/>
              <a:ext cx="475358" cy="443667"/>
            </a:xfrm>
            <a:custGeom>
              <a:avLst/>
              <a:gdLst>
                <a:gd name="connsiteX0" fmla="*/ 600919 w 613286"/>
                <a:gd name="connsiteY0" fmla="*/ 114324 h 572400"/>
                <a:gd name="connsiteX1" fmla="*/ 603065 w 613286"/>
                <a:gd name="connsiteY1" fmla="*/ 210610 h 572400"/>
                <a:gd name="connsiteX2" fmla="*/ 587018 w 613286"/>
                <a:gd name="connsiteY2" fmla="*/ 241683 h 572400"/>
                <a:gd name="connsiteX3" fmla="*/ 612264 w 613286"/>
                <a:gd name="connsiteY3" fmla="*/ 331325 h 572400"/>
                <a:gd name="connsiteX4" fmla="*/ 571583 w 613286"/>
                <a:gd name="connsiteY4" fmla="*/ 377219 h 572400"/>
                <a:gd name="connsiteX5" fmla="*/ 534070 w 613286"/>
                <a:gd name="connsiteY5" fmla="*/ 403386 h 572400"/>
                <a:gd name="connsiteX6" fmla="*/ 510970 w 613286"/>
                <a:gd name="connsiteY6" fmla="*/ 468293 h 572400"/>
                <a:gd name="connsiteX7" fmla="*/ 443100 w 613286"/>
                <a:gd name="connsiteY7" fmla="*/ 511938 h 572400"/>
                <a:gd name="connsiteX8" fmla="*/ 392299 w 613286"/>
                <a:gd name="connsiteY8" fmla="*/ 514493 h 572400"/>
                <a:gd name="connsiteX9" fmla="*/ 362044 w 613286"/>
                <a:gd name="connsiteY9" fmla="*/ 544544 h 572400"/>
                <a:gd name="connsiteX10" fmla="*/ 241431 w 613286"/>
                <a:gd name="connsiteY10" fmla="*/ 567952 h 572400"/>
                <a:gd name="connsiteX11" fmla="*/ 206575 w 613286"/>
                <a:gd name="connsiteY11" fmla="*/ 550780 h 572400"/>
                <a:gd name="connsiteX12" fmla="*/ 83816 w 613286"/>
                <a:gd name="connsiteY12" fmla="*/ 554153 h 572400"/>
                <a:gd name="connsiteX13" fmla="*/ 41703 w 613286"/>
                <a:gd name="connsiteY13" fmla="*/ 485056 h 572400"/>
                <a:gd name="connsiteX14" fmla="*/ 0 w 613286"/>
                <a:gd name="connsiteY14" fmla="*/ 455822 h 572400"/>
                <a:gd name="connsiteX15" fmla="*/ 90153 w 613286"/>
                <a:gd name="connsiteY15" fmla="*/ 495993 h 572400"/>
                <a:gd name="connsiteX16" fmla="*/ 101499 w 613286"/>
                <a:gd name="connsiteY16" fmla="*/ 516742 h 572400"/>
                <a:gd name="connsiteX17" fmla="*/ 151277 w 613286"/>
                <a:gd name="connsiteY17" fmla="*/ 524511 h 572400"/>
                <a:gd name="connsiteX18" fmla="*/ 203100 w 613286"/>
                <a:gd name="connsiteY18" fmla="*/ 513267 h 572400"/>
                <a:gd name="connsiteX19" fmla="*/ 251448 w 613286"/>
                <a:gd name="connsiteY19" fmla="*/ 533403 h 572400"/>
                <a:gd name="connsiteX20" fmla="*/ 302044 w 613286"/>
                <a:gd name="connsiteY20" fmla="*/ 539843 h 572400"/>
                <a:gd name="connsiteX21" fmla="*/ 346098 w 613286"/>
                <a:gd name="connsiteY21" fmla="*/ 480456 h 572400"/>
                <a:gd name="connsiteX22" fmla="*/ 460374 w 613286"/>
                <a:gd name="connsiteY22" fmla="*/ 463489 h 572400"/>
                <a:gd name="connsiteX23" fmla="*/ 490016 w 613286"/>
                <a:gd name="connsiteY23" fmla="*/ 378139 h 572400"/>
                <a:gd name="connsiteX24" fmla="*/ 558397 w 613286"/>
                <a:gd name="connsiteY24" fmla="*/ 317220 h 572400"/>
                <a:gd name="connsiteX25" fmla="*/ 544190 w 613286"/>
                <a:gd name="connsiteY25" fmla="*/ 266521 h 572400"/>
                <a:gd name="connsiteX26" fmla="*/ 563099 w 613286"/>
                <a:gd name="connsiteY26" fmla="*/ 197322 h 572400"/>
                <a:gd name="connsiteX27" fmla="*/ 556660 w 613286"/>
                <a:gd name="connsiteY27" fmla="*/ 129860 h 572400"/>
                <a:gd name="connsiteX28" fmla="*/ 514241 w 613286"/>
                <a:gd name="connsiteY28" fmla="*/ 109724 h 572400"/>
                <a:gd name="connsiteX29" fmla="*/ 501362 w 613286"/>
                <a:gd name="connsiteY29" fmla="*/ 54324 h 572400"/>
                <a:gd name="connsiteX30" fmla="*/ 515672 w 613286"/>
                <a:gd name="connsiteY30" fmla="*/ 4341 h 572400"/>
                <a:gd name="connsiteX31" fmla="*/ 551447 w 613286"/>
                <a:gd name="connsiteY31" fmla="*/ 82637 h 572400"/>
                <a:gd name="connsiteX32" fmla="*/ 600919 w 613286"/>
                <a:gd name="connsiteY32" fmla="*/ 114324 h 57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13286" h="572400">
                  <a:moveTo>
                    <a:pt x="600919" y="114324"/>
                  </a:moveTo>
                  <a:cubicBezTo>
                    <a:pt x="626063" y="139264"/>
                    <a:pt x="621464" y="180866"/>
                    <a:pt x="603065" y="210610"/>
                  </a:cubicBezTo>
                  <a:cubicBezTo>
                    <a:pt x="596932" y="220627"/>
                    <a:pt x="589266" y="230337"/>
                    <a:pt x="587018" y="241683"/>
                  </a:cubicBezTo>
                  <a:cubicBezTo>
                    <a:pt x="580987" y="272654"/>
                    <a:pt x="616455" y="300048"/>
                    <a:pt x="612264" y="331325"/>
                  </a:cubicBezTo>
                  <a:cubicBezTo>
                    <a:pt x="609505" y="351870"/>
                    <a:pt x="590391" y="366691"/>
                    <a:pt x="571583" y="377219"/>
                  </a:cubicBezTo>
                  <a:cubicBezTo>
                    <a:pt x="558091" y="384783"/>
                    <a:pt x="543576" y="391632"/>
                    <a:pt x="534070" y="403386"/>
                  </a:cubicBezTo>
                  <a:cubicBezTo>
                    <a:pt x="519352" y="421683"/>
                    <a:pt x="520476" y="447134"/>
                    <a:pt x="510970" y="468293"/>
                  </a:cubicBezTo>
                  <a:cubicBezTo>
                    <a:pt x="499624" y="493437"/>
                    <a:pt x="471924" y="511223"/>
                    <a:pt x="443100" y="511938"/>
                  </a:cubicBezTo>
                  <a:cubicBezTo>
                    <a:pt x="425928" y="512347"/>
                    <a:pt x="407733" y="507441"/>
                    <a:pt x="392299" y="514493"/>
                  </a:cubicBezTo>
                  <a:cubicBezTo>
                    <a:pt x="379011" y="520524"/>
                    <a:pt x="371549" y="533812"/>
                    <a:pt x="362044" y="544544"/>
                  </a:cubicBezTo>
                  <a:cubicBezTo>
                    <a:pt x="333730" y="576844"/>
                    <a:pt x="280885" y="587066"/>
                    <a:pt x="241431" y="567952"/>
                  </a:cubicBezTo>
                  <a:cubicBezTo>
                    <a:pt x="229778" y="562330"/>
                    <a:pt x="219148" y="554357"/>
                    <a:pt x="206575" y="550780"/>
                  </a:cubicBezTo>
                  <a:cubicBezTo>
                    <a:pt x="166303" y="539536"/>
                    <a:pt x="118978" y="575822"/>
                    <a:pt x="83816" y="554153"/>
                  </a:cubicBezTo>
                  <a:cubicBezTo>
                    <a:pt x="59898" y="539434"/>
                    <a:pt x="58262" y="506930"/>
                    <a:pt x="41703" y="485056"/>
                  </a:cubicBezTo>
                  <a:cubicBezTo>
                    <a:pt x="31482" y="471564"/>
                    <a:pt x="15945" y="462671"/>
                    <a:pt x="0" y="455822"/>
                  </a:cubicBezTo>
                  <a:cubicBezTo>
                    <a:pt x="34651" y="458173"/>
                    <a:pt x="74208" y="466759"/>
                    <a:pt x="90153" y="495993"/>
                  </a:cubicBezTo>
                  <a:cubicBezTo>
                    <a:pt x="93935" y="502943"/>
                    <a:pt x="96184" y="510814"/>
                    <a:pt x="101499" y="516742"/>
                  </a:cubicBezTo>
                  <a:cubicBezTo>
                    <a:pt x="112947" y="529621"/>
                    <a:pt x="134208" y="529315"/>
                    <a:pt x="151277" y="524511"/>
                  </a:cubicBezTo>
                  <a:cubicBezTo>
                    <a:pt x="168449" y="519809"/>
                    <a:pt x="185315" y="511734"/>
                    <a:pt x="203100" y="513267"/>
                  </a:cubicBezTo>
                  <a:cubicBezTo>
                    <a:pt x="220783" y="514698"/>
                    <a:pt x="235911" y="525226"/>
                    <a:pt x="251448" y="533403"/>
                  </a:cubicBezTo>
                  <a:cubicBezTo>
                    <a:pt x="266984" y="541580"/>
                    <a:pt x="286303" y="547611"/>
                    <a:pt x="302044" y="539843"/>
                  </a:cubicBezTo>
                  <a:cubicBezTo>
                    <a:pt x="325042" y="528497"/>
                    <a:pt x="325757" y="495788"/>
                    <a:pt x="346098" y="480456"/>
                  </a:cubicBezTo>
                  <a:cubicBezTo>
                    <a:pt x="377171" y="457049"/>
                    <a:pt x="430629" y="488327"/>
                    <a:pt x="460374" y="463489"/>
                  </a:cubicBezTo>
                  <a:cubicBezTo>
                    <a:pt x="484599" y="443352"/>
                    <a:pt x="471822" y="403386"/>
                    <a:pt x="490016" y="378139"/>
                  </a:cubicBezTo>
                  <a:cubicBezTo>
                    <a:pt x="508210" y="352995"/>
                    <a:pt x="553491" y="347271"/>
                    <a:pt x="558397" y="317220"/>
                  </a:cubicBezTo>
                  <a:cubicBezTo>
                    <a:pt x="561259" y="299741"/>
                    <a:pt x="547767" y="283898"/>
                    <a:pt x="544190" y="266521"/>
                  </a:cubicBezTo>
                  <a:cubicBezTo>
                    <a:pt x="539386" y="242705"/>
                    <a:pt x="553491" y="219809"/>
                    <a:pt x="563099" y="197322"/>
                  </a:cubicBezTo>
                  <a:cubicBezTo>
                    <a:pt x="572708" y="174937"/>
                    <a:pt x="576489" y="145295"/>
                    <a:pt x="556660" y="129860"/>
                  </a:cubicBezTo>
                  <a:cubicBezTo>
                    <a:pt x="544394" y="120253"/>
                    <a:pt x="526404" y="119332"/>
                    <a:pt x="514241" y="109724"/>
                  </a:cubicBezTo>
                  <a:cubicBezTo>
                    <a:pt x="497171" y="96130"/>
                    <a:pt x="498602" y="73132"/>
                    <a:pt x="501362" y="54324"/>
                  </a:cubicBezTo>
                  <a:cubicBezTo>
                    <a:pt x="503406" y="40423"/>
                    <a:pt x="495842" y="-15897"/>
                    <a:pt x="515672" y="4341"/>
                  </a:cubicBezTo>
                  <a:cubicBezTo>
                    <a:pt x="529777" y="18856"/>
                    <a:pt x="531822" y="66897"/>
                    <a:pt x="551447" y="82637"/>
                  </a:cubicBezTo>
                  <a:cubicBezTo>
                    <a:pt x="566575" y="95006"/>
                    <a:pt x="586813" y="100423"/>
                    <a:pt x="600919" y="11432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F6B051EB-692E-4A1E-AF7F-E5DF8288A538}"/>
                </a:ext>
              </a:extLst>
            </p:cNvPr>
            <p:cNvSpPr/>
            <p:nvPr/>
          </p:nvSpPr>
          <p:spPr>
            <a:xfrm>
              <a:off x="9580619" y="762202"/>
              <a:ext cx="919025" cy="1204239"/>
            </a:xfrm>
            <a:custGeom>
              <a:avLst/>
              <a:gdLst>
                <a:gd name="connsiteX0" fmla="*/ 911250 w 1185687"/>
                <a:gd name="connsiteY0" fmla="*/ 212326 h 1553659"/>
                <a:gd name="connsiteX1" fmla="*/ 827230 w 1185687"/>
                <a:gd name="connsiteY1" fmla="*/ 577436 h 1553659"/>
                <a:gd name="connsiteX2" fmla="*/ 806787 w 1185687"/>
                <a:gd name="connsiteY2" fmla="*/ 461524 h 1553659"/>
                <a:gd name="connsiteX3" fmla="*/ 811387 w 1185687"/>
                <a:gd name="connsiteY3" fmla="*/ 589804 h 1553659"/>
                <a:gd name="connsiteX4" fmla="*/ 776736 w 1185687"/>
                <a:gd name="connsiteY4" fmla="*/ 476754 h 1553659"/>
                <a:gd name="connsiteX5" fmla="*/ 792886 w 1185687"/>
                <a:gd name="connsiteY5" fmla="*/ 609224 h 1553659"/>
                <a:gd name="connsiteX6" fmla="*/ 748525 w 1185687"/>
                <a:gd name="connsiteY6" fmla="*/ 466329 h 1553659"/>
                <a:gd name="connsiteX7" fmla="*/ 778678 w 1185687"/>
                <a:gd name="connsiteY7" fmla="*/ 750689 h 1553659"/>
                <a:gd name="connsiteX8" fmla="*/ 732988 w 1185687"/>
                <a:gd name="connsiteY8" fmla="*/ 697231 h 1553659"/>
                <a:gd name="connsiteX9" fmla="*/ 635476 w 1185687"/>
                <a:gd name="connsiteY9" fmla="*/ 915561 h 1553659"/>
                <a:gd name="connsiteX10" fmla="*/ 661132 w 1185687"/>
                <a:gd name="connsiteY10" fmla="*/ 843806 h 1553659"/>
                <a:gd name="connsiteX11" fmla="*/ 593364 w 1185687"/>
                <a:gd name="connsiteY11" fmla="*/ 946021 h 1553659"/>
                <a:gd name="connsiteX12" fmla="*/ 623517 w 1185687"/>
                <a:gd name="connsiteY12" fmla="*/ 874777 h 1553659"/>
                <a:gd name="connsiteX13" fmla="*/ 269037 w 1185687"/>
                <a:gd name="connsiteY13" fmla="*/ 1291710 h 1553659"/>
                <a:gd name="connsiteX14" fmla="*/ 448730 w 1185687"/>
                <a:gd name="connsiteY14" fmla="*/ 1378286 h 1553659"/>
                <a:gd name="connsiteX15" fmla="*/ 226925 w 1185687"/>
                <a:gd name="connsiteY15" fmla="*/ 1359069 h 1553659"/>
                <a:gd name="connsiteX16" fmla="*/ 115000 w 1185687"/>
                <a:gd name="connsiteY16" fmla="*/ 1527519 h 1553659"/>
                <a:gd name="connsiteX17" fmla="*/ 84438 w 1185687"/>
                <a:gd name="connsiteY17" fmla="*/ 1555832 h 1553659"/>
                <a:gd name="connsiteX18" fmla="*/ 6755 w 1185687"/>
                <a:gd name="connsiteY18" fmla="*/ 1500636 h 1553659"/>
                <a:gd name="connsiteX19" fmla="*/ 9 w 1185687"/>
                <a:gd name="connsiteY19" fmla="*/ 1478967 h 1553659"/>
                <a:gd name="connsiteX20" fmla="*/ 14319 w 1185687"/>
                <a:gd name="connsiteY20" fmla="*/ 1451880 h 1553659"/>
                <a:gd name="connsiteX21" fmla="*/ 552682 w 1185687"/>
                <a:gd name="connsiteY21" fmla="*/ 818253 h 1553659"/>
                <a:gd name="connsiteX22" fmla="*/ 641200 w 1185687"/>
                <a:gd name="connsiteY22" fmla="*/ 689463 h 1553659"/>
                <a:gd name="connsiteX23" fmla="*/ 662154 w 1185687"/>
                <a:gd name="connsiteY23" fmla="*/ 444659 h 1553659"/>
                <a:gd name="connsiteX24" fmla="*/ 723891 w 1185687"/>
                <a:gd name="connsiteY24" fmla="*/ 209975 h 1553659"/>
                <a:gd name="connsiteX25" fmla="*/ 808014 w 1185687"/>
                <a:gd name="connsiteY25" fmla="*/ 146295 h 1553659"/>
                <a:gd name="connsiteX26" fmla="*/ 1110466 w 1185687"/>
                <a:gd name="connsiteY26" fmla="*/ 17914 h 1553659"/>
                <a:gd name="connsiteX27" fmla="*/ 1183754 w 1185687"/>
                <a:gd name="connsiteY27" fmla="*/ 1560 h 1553659"/>
                <a:gd name="connsiteX28" fmla="*/ 1158405 w 1185687"/>
                <a:gd name="connsiteY28" fmla="*/ 30077 h 1553659"/>
                <a:gd name="connsiteX29" fmla="*/ 1028797 w 1185687"/>
                <a:gd name="connsiteY29" fmla="*/ 97437 h 1553659"/>
                <a:gd name="connsiteX30" fmla="*/ 911250 w 1185687"/>
                <a:gd name="connsiteY30" fmla="*/ 212326 h 1553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185687" h="1553659">
                  <a:moveTo>
                    <a:pt x="911250" y="212326"/>
                  </a:moveTo>
                  <a:cubicBezTo>
                    <a:pt x="834692" y="317607"/>
                    <a:pt x="803823" y="451610"/>
                    <a:pt x="827230" y="577436"/>
                  </a:cubicBezTo>
                  <a:cubicBezTo>
                    <a:pt x="820382" y="538799"/>
                    <a:pt x="813636" y="500162"/>
                    <a:pt x="806787" y="461524"/>
                  </a:cubicBezTo>
                  <a:cubicBezTo>
                    <a:pt x="808321" y="504250"/>
                    <a:pt x="809854" y="547078"/>
                    <a:pt x="811387" y="589804"/>
                  </a:cubicBezTo>
                  <a:cubicBezTo>
                    <a:pt x="794113" y="553926"/>
                    <a:pt x="782358" y="515800"/>
                    <a:pt x="776736" y="476754"/>
                  </a:cubicBezTo>
                  <a:cubicBezTo>
                    <a:pt x="778474" y="521218"/>
                    <a:pt x="783891" y="565579"/>
                    <a:pt x="792886" y="609224"/>
                  </a:cubicBezTo>
                  <a:cubicBezTo>
                    <a:pt x="768252" y="564965"/>
                    <a:pt x="753125" y="516107"/>
                    <a:pt x="748525" y="466329"/>
                  </a:cubicBezTo>
                  <a:cubicBezTo>
                    <a:pt x="740348" y="561797"/>
                    <a:pt x="750569" y="658594"/>
                    <a:pt x="778678" y="750689"/>
                  </a:cubicBezTo>
                  <a:cubicBezTo>
                    <a:pt x="763448" y="732904"/>
                    <a:pt x="748218" y="715016"/>
                    <a:pt x="732988" y="697231"/>
                  </a:cubicBezTo>
                  <a:cubicBezTo>
                    <a:pt x="749036" y="777571"/>
                    <a:pt x="690569" y="852495"/>
                    <a:pt x="635476" y="915561"/>
                  </a:cubicBezTo>
                  <a:cubicBezTo>
                    <a:pt x="646822" y="892665"/>
                    <a:pt x="655510" y="868542"/>
                    <a:pt x="661132" y="843806"/>
                  </a:cubicBezTo>
                  <a:cubicBezTo>
                    <a:pt x="645186" y="881319"/>
                    <a:pt x="622086" y="916072"/>
                    <a:pt x="593364" y="946021"/>
                  </a:cubicBezTo>
                  <a:cubicBezTo>
                    <a:pt x="603380" y="922307"/>
                    <a:pt x="613500" y="898593"/>
                    <a:pt x="623517" y="874777"/>
                  </a:cubicBezTo>
                  <a:cubicBezTo>
                    <a:pt x="505970" y="1014198"/>
                    <a:pt x="387810" y="1153107"/>
                    <a:pt x="269037" y="1291710"/>
                  </a:cubicBezTo>
                  <a:cubicBezTo>
                    <a:pt x="340178" y="1276991"/>
                    <a:pt x="419497" y="1315219"/>
                    <a:pt x="448730" y="1378286"/>
                  </a:cubicBezTo>
                  <a:cubicBezTo>
                    <a:pt x="395067" y="1319615"/>
                    <a:pt x="291013" y="1310620"/>
                    <a:pt x="226925" y="1359069"/>
                  </a:cubicBezTo>
                  <a:cubicBezTo>
                    <a:pt x="171729" y="1400875"/>
                    <a:pt x="152104" y="1470688"/>
                    <a:pt x="115000" y="1527519"/>
                  </a:cubicBezTo>
                  <a:cubicBezTo>
                    <a:pt x="107334" y="1539274"/>
                    <a:pt x="98032" y="1551130"/>
                    <a:pt x="84438" y="1555832"/>
                  </a:cubicBezTo>
                  <a:cubicBezTo>
                    <a:pt x="50911" y="1567485"/>
                    <a:pt x="22087" y="1531198"/>
                    <a:pt x="6755" y="1500636"/>
                  </a:cubicBezTo>
                  <a:cubicBezTo>
                    <a:pt x="3280" y="1493788"/>
                    <a:pt x="-196" y="1486531"/>
                    <a:pt x="9" y="1478967"/>
                  </a:cubicBezTo>
                  <a:cubicBezTo>
                    <a:pt x="315" y="1468643"/>
                    <a:pt x="7470" y="1459853"/>
                    <a:pt x="14319" y="1451880"/>
                  </a:cubicBezTo>
                  <a:cubicBezTo>
                    <a:pt x="193807" y="1240603"/>
                    <a:pt x="373296" y="1029428"/>
                    <a:pt x="552682" y="818253"/>
                  </a:cubicBezTo>
                  <a:cubicBezTo>
                    <a:pt x="586719" y="778185"/>
                    <a:pt x="621268" y="737299"/>
                    <a:pt x="641200" y="689463"/>
                  </a:cubicBezTo>
                  <a:cubicBezTo>
                    <a:pt x="673193" y="612700"/>
                    <a:pt x="664402" y="527146"/>
                    <a:pt x="662154" y="444659"/>
                  </a:cubicBezTo>
                  <a:cubicBezTo>
                    <a:pt x="659905" y="362172"/>
                    <a:pt x="667469" y="272939"/>
                    <a:pt x="723891" y="209975"/>
                  </a:cubicBezTo>
                  <a:cubicBezTo>
                    <a:pt x="747196" y="184012"/>
                    <a:pt x="777350" y="164387"/>
                    <a:pt x="808014" y="146295"/>
                  </a:cubicBezTo>
                  <a:cubicBezTo>
                    <a:pt x="902153" y="90895"/>
                    <a:pt x="1004163" y="47658"/>
                    <a:pt x="1110466" y="17914"/>
                  </a:cubicBezTo>
                  <a:cubicBezTo>
                    <a:pt x="1122528" y="14541"/>
                    <a:pt x="1173226" y="-5698"/>
                    <a:pt x="1183754" y="1560"/>
                  </a:cubicBezTo>
                  <a:cubicBezTo>
                    <a:pt x="1206548" y="17198"/>
                    <a:pt x="1168115" y="26500"/>
                    <a:pt x="1158405" y="30077"/>
                  </a:cubicBezTo>
                  <a:cubicBezTo>
                    <a:pt x="1112204" y="46943"/>
                    <a:pt x="1068456" y="69328"/>
                    <a:pt x="1028797" y="97437"/>
                  </a:cubicBezTo>
                  <a:cubicBezTo>
                    <a:pt x="983312" y="129328"/>
                    <a:pt x="943346" y="168169"/>
                    <a:pt x="911250" y="21232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EC27079-F852-4153-AE2F-BD68E3B09F01}"/>
                </a:ext>
              </a:extLst>
            </p:cNvPr>
            <p:cNvSpPr/>
            <p:nvPr/>
          </p:nvSpPr>
          <p:spPr>
            <a:xfrm>
              <a:off x="10392056" y="1140842"/>
              <a:ext cx="522893" cy="229756"/>
            </a:xfrm>
            <a:custGeom>
              <a:avLst/>
              <a:gdLst>
                <a:gd name="connsiteX0" fmla="*/ 116633 w 674615"/>
                <a:gd name="connsiteY0" fmla="*/ 205966 h 296421"/>
                <a:gd name="connsiteX1" fmla="*/ 224776 w 674615"/>
                <a:gd name="connsiteY1" fmla="*/ 285795 h 296421"/>
                <a:gd name="connsiteX2" fmla="*/ 358984 w 674615"/>
                <a:gd name="connsiteY2" fmla="*/ 294279 h 296421"/>
                <a:gd name="connsiteX3" fmla="*/ 408353 w 674615"/>
                <a:gd name="connsiteY3" fmla="*/ 268317 h 296421"/>
                <a:gd name="connsiteX4" fmla="*/ 644775 w 674615"/>
                <a:gd name="connsiteY4" fmla="*/ 78402 h 296421"/>
                <a:gd name="connsiteX5" fmla="*/ 677484 w 674615"/>
                <a:gd name="connsiteY5" fmla="*/ 4 h 296421"/>
                <a:gd name="connsiteX6" fmla="*/ 648353 w 674615"/>
                <a:gd name="connsiteY6" fmla="*/ 14825 h 296421"/>
                <a:gd name="connsiteX7" fmla="*/ 314520 w 674615"/>
                <a:gd name="connsiteY7" fmla="*/ 209339 h 296421"/>
                <a:gd name="connsiteX8" fmla="*/ 264333 w 674615"/>
                <a:gd name="connsiteY8" fmla="*/ 227533 h 296421"/>
                <a:gd name="connsiteX9" fmla="*/ 142391 w 674615"/>
                <a:gd name="connsiteY9" fmla="*/ 185830 h 296421"/>
                <a:gd name="connsiteX10" fmla="*/ 2255 w 674615"/>
                <a:gd name="connsiteY10" fmla="*/ 3275 h 296421"/>
                <a:gd name="connsiteX11" fmla="*/ 39257 w 674615"/>
                <a:gd name="connsiteY11" fmla="*/ 106102 h 296421"/>
                <a:gd name="connsiteX12" fmla="*/ 116633 w 674615"/>
                <a:gd name="connsiteY12" fmla="*/ 205966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74615" h="296421">
                  <a:moveTo>
                    <a:pt x="116633" y="205966"/>
                  </a:moveTo>
                  <a:cubicBezTo>
                    <a:pt x="147809" y="238061"/>
                    <a:pt x="182970" y="267601"/>
                    <a:pt x="224776" y="285795"/>
                  </a:cubicBezTo>
                  <a:cubicBezTo>
                    <a:pt x="266582" y="303990"/>
                    <a:pt x="315952" y="309816"/>
                    <a:pt x="358984" y="294279"/>
                  </a:cubicBezTo>
                  <a:cubicBezTo>
                    <a:pt x="376667" y="287942"/>
                    <a:pt x="392714" y="278232"/>
                    <a:pt x="408353" y="268317"/>
                  </a:cubicBezTo>
                  <a:cubicBezTo>
                    <a:pt x="494520" y="213939"/>
                    <a:pt x="574043" y="150055"/>
                    <a:pt x="644775" y="78402"/>
                  </a:cubicBezTo>
                  <a:cubicBezTo>
                    <a:pt x="666138" y="56733"/>
                    <a:pt x="688319" y="27908"/>
                    <a:pt x="677484" y="4"/>
                  </a:cubicBezTo>
                  <a:cubicBezTo>
                    <a:pt x="666138" y="-201"/>
                    <a:pt x="656734" y="7670"/>
                    <a:pt x="648353" y="14825"/>
                  </a:cubicBezTo>
                  <a:cubicBezTo>
                    <a:pt x="551045" y="97925"/>
                    <a:pt x="431965" y="154143"/>
                    <a:pt x="314520" y="209339"/>
                  </a:cubicBezTo>
                  <a:cubicBezTo>
                    <a:pt x="298473" y="216903"/>
                    <a:pt x="282016" y="224569"/>
                    <a:pt x="264333" y="227533"/>
                  </a:cubicBezTo>
                  <a:cubicBezTo>
                    <a:pt x="220381" y="234893"/>
                    <a:pt x="177042" y="212405"/>
                    <a:pt x="142391" y="185830"/>
                  </a:cubicBezTo>
                  <a:cubicBezTo>
                    <a:pt x="75441" y="134620"/>
                    <a:pt x="42835" y="71963"/>
                    <a:pt x="2255" y="3275"/>
                  </a:cubicBezTo>
                  <a:cubicBezTo>
                    <a:pt x="-9091" y="30770"/>
                    <a:pt x="25356" y="82491"/>
                    <a:pt x="39257" y="106102"/>
                  </a:cubicBezTo>
                  <a:cubicBezTo>
                    <a:pt x="60620" y="142286"/>
                    <a:pt x="87093" y="175506"/>
                    <a:pt x="116633" y="20596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99D1E2C1-A12E-47E0-A23B-1EB356227AD4}"/>
                </a:ext>
              </a:extLst>
            </p:cNvPr>
            <p:cNvSpPr/>
            <p:nvPr/>
          </p:nvSpPr>
          <p:spPr>
            <a:xfrm>
              <a:off x="9458062" y="3439833"/>
              <a:ext cx="475358" cy="356518"/>
            </a:xfrm>
            <a:custGeom>
              <a:avLst/>
              <a:gdLst>
                <a:gd name="connsiteX0" fmla="*/ 0 w 613286"/>
                <a:gd name="connsiteY0" fmla="*/ 450255 h 459964"/>
                <a:gd name="connsiteX1" fmla="*/ 186848 w 613286"/>
                <a:gd name="connsiteY1" fmla="*/ 437887 h 459964"/>
                <a:gd name="connsiteX2" fmla="*/ 347018 w 613286"/>
                <a:gd name="connsiteY2" fmla="*/ 339863 h 459964"/>
                <a:gd name="connsiteX3" fmla="*/ 555536 w 613286"/>
                <a:gd name="connsiteY3" fmla="*/ 161908 h 459964"/>
                <a:gd name="connsiteX4" fmla="*/ 445451 w 613286"/>
                <a:gd name="connsiteY4" fmla="*/ 227120 h 459964"/>
                <a:gd name="connsiteX5" fmla="*/ 618193 w 613286"/>
                <a:gd name="connsiteY5" fmla="*/ 0 h 459964"/>
                <a:gd name="connsiteX6" fmla="*/ 483883 w 613286"/>
                <a:gd name="connsiteY6" fmla="*/ 114276 h 459964"/>
                <a:gd name="connsiteX7" fmla="*/ 348143 w 613286"/>
                <a:gd name="connsiteY7" fmla="*/ 254923 h 459964"/>
                <a:gd name="connsiteX8" fmla="*/ 0 w 613286"/>
                <a:gd name="connsiteY8" fmla="*/ 450255 h 459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3286" h="459964">
                  <a:moveTo>
                    <a:pt x="0" y="450255"/>
                  </a:moveTo>
                  <a:cubicBezTo>
                    <a:pt x="60409" y="469675"/>
                    <a:pt x="127870" y="461089"/>
                    <a:pt x="186848" y="437887"/>
                  </a:cubicBezTo>
                  <a:cubicBezTo>
                    <a:pt x="245724" y="414684"/>
                    <a:pt x="297444" y="377887"/>
                    <a:pt x="347018" y="339863"/>
                  </a:cubicBezTo>
                  <a:cubicBezTo>
                    <a:pt x="419693" y="284054"/>
                    <a:pt x="489300" y="224565"/>
                    <a:pt x="555536" y="161908"/>
                  </a:cubicBezTo>
                  <a:cubicBezTo>
                    <a:pt x="515979" y="178773"/>
                    <a:pt x="478772" y="200851"/>
                    <a:pt x="445451" y="227120"/>
                  </a:cubicBezTo>
                  <a:cubicBezTo>
                    <a:pt x="516183" y="161499"/>
                    <a:pt x="574854" y="84327"/>
                    <a:pt x="618193" y="0"/>
                  </a:cubicBezTo>
                  <a:cubicBezTo>
                    <a:pt x="566268" y="36082"/>
                    <a:pt x="522418" y="66031"/>
                    <a:pt x="483883" y="114276"/>
                  </a:cubicBezTo>
                  <a:cubicBezTo>
                    <a:pt x="443304" y="165076"/>
                    <a:pt x="398228" y="212300"/>
                    <a:pt x="348143" y="254923"/>
                  </a:cubicBezTo>
                  <a:cubicBezTo>
                    <a:pt x="247155" y="340885"/>
                    <a:pt x="128279" y="408040"/>
                    <a:pt x="0" y="450255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3FE0CA6E-177F-48D7-A18D-09F6B88652EF}"/>
                </a:ext>
              </a:extLst>
            </p:cNvPr>
            <p:cNvSpPr/>
            <p:nvPr/>
          </p:nvSpPr>
          <p:spPr>
            <a:xfrm>
              <a:off x="9587281" y="3559544"/>
              <a:ext cx="863566" cy="1378536"/>
            </a:xfrm>
            <a:custGeom>
              <a:avLst/>
              <a:gdLst>
                <a:gd name="connsiteX0" fmla="*/ 0 w 1114137"/>
                <a:gd name="connsiteY0" fmla="*/ 414582 h 1778531"/>
                <a:gd name="connsiteX1" fmla="*/ 176218 w 1114137"/>
                <a:gd name="connsiteY1" fmla="*/ 392401 h 1778531"/>
                <a:gd name="connsiteX2" fmla="*/ 27904 w 1114137"/>
                <a:gd name="connsiteY2" fmla="*/ 445450 h 1778531"/>
                <a:gd name="connsiteX3" fmla="*/ 203611 w 1114137"/>
                <a:gd name="connsiteY3" fmla="*/ 435842 h 1778531"/>
                <a:gd name="connsiteX4" fmla="*/ 109881 w 1114137"/>
                <a:gd name="connsiteY4" fmla="*/ 579862 h 1778531"/>
                <a:gd name="connsiteX5" fmla="*/ 181124 w 1114137"/>
                <a:gd name="connsiteY5" fmla="*/ 749027 h 1778531"/>
                <a:gd name="connsiteX6" fmla="*/ 464565 w 1114137"/>
                <a:gd name="connsiteY6" fmla="*/ 1201837 h 1778531"/>
                <a:gd name="connsiteX7" fmla="*/ 763235 w 1114137"/>
                <a:gd name="connsiteY7" fmla="*/ 1567356 h 1778531"/>
                <a:gd name="connsiteX8" fmla="*/ 659181 w 1114137"/>
                <a:gd name="connsiteY8" fmla="*/ 1527390 h 1778531"/>
                <a:gd name="connsiteX9" fmla="*/ 762622 w 1114137"/>
                <a:gd name="connsiteY9" fmla="*/ 1598633 h 1778531"/>
                <a:gd name="connsiteX10" fmla="*/ 684326 w 1114137"/>
                <a:gd name="connsiteY10" fmla="*/ 1579111 h 1778531"/>
                <a:gd name="connsiteX11" fmla="*/ 1116386 w 1114137"/>
                <a:gd name="connsiteY11" fmla="*/ 1786504 h 1778531"/>
                <a:gd name="connsiteX12" fmla="*/ 953252 w 1114137"/>
                <a:gd name="connsiteY12" fmla="*/ 1594238 h 1778531"/>
                <a:gd name="connsiteX13" fmla="*/ 556251 w 1114137"/>
                <a:gd name="connsiteY13" fmla="*/ 789402 h 1778531"/>
                <a:gd name="connsiteX14" fmla="*/ 543678 w 1114137"/>
                <a:gd name="connsiteY14" fmla="*/ 452912 h 1778531"/>
                <a:gd name="connsiteX15" fmla="*/ 457205 w 1114137"/>
                <a:gd name="connsiteY15" fmla="*/ 542247 h 1778531"/>
                <a:gd name="connsiteX16" fmla="*/ 540101 w 1114137"/>
                <a:gd name="connsiteY16" fmla="*/ 420408 h 1778531"/>
                <a:gd name="connsiteX17" fmla="*/ 408244 w 1114137"/>
                <a:gd name="connsiteY17" fmla="*/ 517103 h 1778531"/>
                <a:gd name="connsiteX18" fmla="*/ 511481 w 1114137"/>
                <a:gd name="connsiteY18" fmla="*/ 388006 h 1778531"/>
                <a:gd name="connsiteX19" fmla="*/ 376558 w 1114137"/>
                <a:gd name="connsiteY19" fmla="*/ 470902 h 1778531"/>
                <a:gd name="connsiteX20" fmla="*/ 559931 w 1114137"/>
                <a:gd name="connsiteY20" fmla="*/ 291311 h 1778531"/>
                <a:gd name="connsiteX21" fmla="*/ 339556 w 1114137"/>
                <a:gd name="connsiteY21" fmla="*/ 412333 h 1778531"/>
                <a:gd name="connsiteX22" fmla="*/ 548381 w 1114137"/>
                <a:gd name="connsiteY22" fmla="*/ 239079 h 1778531"/>
                <a:gd name="connsiteX23" fmla="*/ 316865 w 1114137"/>
                <a:gd name="connsiteY23" fmla="*/ 374105 h 1778531"/>
                <a:gd name="connsiteX24" fmla="*/ 632809 w 1114137"/>
                <a:gd name="connsiteY24" fmla="*/ 0 h 1778531"/>
                <a:gd name="connsiteX25" fmla="*/ 346507 w 1114137"/>
                <a:gd name="connsiteY25" fmla="*/ 240204 h 1778531"/>
                <a:gd name="connsiteX26" fmla="*/ 0 w 1114137"/>
                <a:gd name="connsiteY26" fmla="*/ 414582 h 1778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4137" h="1778531">
                  <a:moveTo>
                    <a:pt x="0" y="414582"/>
                  </a:moveTo>
                  <a:cubicBezTo>
                    <a:pt x="59489" y="420715"/>
                    <a:pt x="120511" y="413049"/>
                    <a:pt x="176218" y="392401"/>
                  </a:cubicBezTo>
                  <a:cubicBezTo>
                    <a:pt x="126746" y="410084"/>
                    <a:pt x="77376" y="427767"/>
                    <a:pt x="27904" y="445450"/>
                  </a:cubicBezTo>
                  <a:cubicBezTo>
                    <a:pt x="86576" y="446575"/>
                    <a:pt x="145451" y="443406"/>
                    <a:pt x="203611" y="435842"/>
                  </a:cubicBezTo>
                  <a:cubicBezTo>
                    <a:pt x="140647" y="450357"/>
                    <a:pt x="105485" y="518738"/>
                    <a:pt x="109881" y="579862"/>
                  </a:cubicBezTo>
                  <a:cubicBezTo>
                    <a:pt x="114276" y="640987"/>
                    <a:pt x="148211" y="696285"/>
                    <a:pt x="181124" y="749027"/>
                  </a:cubicBezTo>
                  <a:cubicBezTo>
                    <a:pt x="275570" y="899998"/>
                    <a:pt x="370119" y="1050867"/>
                    <a:pt x="464565" y="1201837"/>
                  </a:cubicBezTo>
                  <a:cubicBezTo>
                    <a:pt x="548074" y="1335125"/>
                    <a:pt x="634445" y="1471683"/>
                    <a:pt x="763235" y="1567356"/>
                  </a:cubicBezTo>
                  <a:cubicBezTo>
                    <a:pt x="728584" y="1554068"/>
                    <a:pt x="693832" y="1540678"/>
                    <a:pt x="659181" y="1527390"/>
                  </a:cubicBezTo>
                  <a:cubicBezTo>
                    <a:pt x="693627" y="1551104"/>
                    <a:pt x="728176" y="1574920"/>
                    <a:pt x="762622" y="1598633"/>
                  </a:cubicBezTo>
                  <a:cubicBezTo>
                    <a:pt x="736557" y="1592194"/>
                    <a:pt x="710493" y="1585653"/>
                    <a:pt x="684326" y="1579111"/>
                  </a:cubicBezTo>
                  <a:cubicBezTo>
                    <a:pt x="810765" y="1676010"/>
                    <a:pt x="959078" y="1747254"/>
                    <a:pt x="1116386" y="1786504"/>
                  </a:cubicBezTo>
                  <a:cubicBezTo>
                    <a:pt x="1048209" y="1734885"/>
                    <a:pt x="998942" y="1664664"/>
                    <a:pt x="953252" y="1594238"/>
                  </a:cubicBezTo>
                  <a:cubicBezTo>
                    <a:pt x="789198" y="1341360"/>
                    <a:pt x="655910" y="1070696"/>
                    <a:pt x="556251" y="789402"/>
                  </a:cubicBezTo>
                  <a:cubicBezTo>
                    <a:pt x="517409" y="679726"/>
                    <a:pt x="484905" y="554309"/>
                    <a:pt x="543678" y="452912"/>
                  </a:cubicBezTo>
                  <a:cubicBezTo>
                    <a:pt x="514854" y="482657"/>
                    <a:pt x="486030" y="512503"/>
                    <a:pt x="457205" y="542247"/>
                  </a:cubicBezTo>
                  <a:cubicBezTo>
                    <a:pt x="479692" y="498704"/>
                    <a:pt x="507597" y="457716"/>
                    <a:pt x="540101" y="420408"/>
                  </a:cubicBezTo>
                  <a:cubicBezTo>
                    <a:pt x="496149" y="452606"/>
                    <a:pt x="452197" y="484905"/>
                    <a:pt x="408244" y="517103"/>
                  </a:cubicBezTo>
                  <a:cubicBezTo>
                    <a:pt x="442691" y="474071"/>
                    <a:pt x="477035" y="431038"/>
                    <a:pt x="511481" y="388006"/>
                  </a:cubicBezTo>
                  <a:cubicBezTo>
                    <a:pt x="469778" y="420101"/>
                    <a:pt x="424496" y="447904"/>
                    <a:pt x="376558" y="470902"/>
                  </a:cubicBezTo>
                  <a:cubicBezTo>
                    <a:pt x="447290" y="420817"/>
                    <a:pt x="509539" y="359897"/>
                    <a:pt x="559931" y="291311"/>
                  </a:cubicBezTo>
                  <a:cubicBezTo>
                    <a:pt x="491140" y="338738"/>
                    <a:pt x="417137" y="379420"/>
                    <a:pt x="339556" y="412333"/>
                  </a:cubicBezTo>
                  <a:cubicBezTo>
                    <a:pt x="420715" y="368994"/>
                    <a:pt x="492265" y="309607"/>
                    <a:pt x="548381" y="239079"/>
                  </a:cubicBezTo>
                  <a:cubicBezTo>
                    <a:pt x="481328" y="297546"/>
                    <a:pt x="402214" y="343645"/>
                    <a:pt x="316865" y="374105"/>
                  </a:cubicBezTo>
                  <a:cubicBezTo>
                    <a:pt x="459760" y="284463"/>
                    <a:pt x="571890" y="151686"/>
                    <a:pt x="632809" y="0"/>
                  </a:cubicBezTo>
                  <a:cubicBezTo>
                    <a:pt x="526813" y="71857"/>
                    <a:pt x="450459" y="165076"/>
                    <a:pt x="346507" y="240204"/>
                  </a:cubicBezTo>
                  <a:cubicBezTo>
                    <a:pt x="242248" y="315740"/>
                    <a:pt x="124702" y="375127"/>
                    <a:pt x="0" y="414582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9A926140-2FF0-4801-B90A-1E65CAF22A4F}"/>
                </a:ext>
              </a:extLst>
            </p:cNvPr>
            <p:cNvSpPr/>
            <p:nvPr/>
          </p:nvSpPr>
          <p:spPr>
            <a:xfrm>
              <a:off x="7879514" y="3547730"/>
              <a:ext cx="475358" cy="435744"/>
            </a:xfrm>
            <a:custGeom>
              <a:avLst/>
              <a:gdLst>
                <a:gd name="connsiteX0" fmla="*/ 54742 w 613286"/>
                <a:gd name="connsiteY0" fmla="*/ 469891 h 562179"/>
                <a:gd name="connsiteX1" fmla="*/ 1080 w 613286"/>
                <a:gd name="connsiteY1" fmla="*/ 413673 h 562179"/>
                <a:gd name="connsiteX2" fmla="*/ 29700 w 613286"/>
                <a:gd name="connsiteY2" fmla="*/ 326280 h 562179"/>
                <a:gd name="connsiteX3" fmla="*/ 25713 w 613286"/>
                <a:gd name="connsiteY3" fmla="*/ 263929 h 562179"/>
                <a:gd name="connsiteX4" fmla="*/ 36855 w 613286"/>
                <a:gd name="connsiteY4" fmla="*/ 203827 h 562179"/>
                <a:gd name="connsiteX5" fmla="*/ 101863 w 613286"/>
                <a:gd name="connsiteY5" fmla="*/ 158341 h 562179"/>
                <a:gd name="connsiteX6" fmla="*/ 116786 w 613286"/>
                <a:gd name="connsiteY6" fmla="*/ 116740 h 562179"/>
                <a:gd name="connsiteX7" fmla="*/ 196718 w 613286"/>
                <a:gd name="connsiteY7" fmla="*/ 72686 h 562179"/>
                <a:gd name="connsiteX8" fmla="*/ 221249 w 613286"/>
                <a:gd name="connsiteY8" fmla="*/ 75241 h 562179"/>
                <a:gd name="connsiteX9" fmla="*/ 263566 w 613286"/>
                <a:gd name="connsiteY9" fmla="*/ 29654 h 562179"/>
                <a:gd name="connsiteX10" fmla="*/ 373753 w 613286"/>
                <a:gd name="connsiteY10" fmla="*/ 15548 h 562179"/>
                <a:gd name="connsiteX11" fmla="*/ 394810 w 613286"/>
                <a:gd name="connsiteY11" fmla="*/ 32413 h 562179"/>
                <a:gd name="connsiteX12" fmla="*/ 466564 w 613286"/>
                <a:gd name="connsiteY12" fmla="*/ 30982 h 562179"/>
                <a:gd name="connsiteX13" fmla="*/ 543020 w 613286"/>
                <a:gd name="connsiteY13" fmla="*/ 63793 h 562179"/>
                <a:gd name="connsiteX14" fmla="*/ 556411 w 613286"/>
                <a:gd name="connsiteY14" fmla="*/ 92209 h 562179"/>
                <a:gd name="connsiteX15" fmla="*/ 613651 w 613286"/>
                <a:gd name="connsiteY15" fmla="*/ 126246 h 562179"/>
                <a:gd name="connsiteX16" fmla="*/ 561215 w 613286"/>
                <a:gd name="connsiteY16" fmla="*/ 125224 h 562179"/>
                <a:gd name="connsiteX17" fmla="*/ 520124 w 613286"/>
                <a:gd name="connsiteY17" fmla="*/ 96910 h 562179"/>
                <a:gd name="connsiteX18" fmla="*/ 509801 w 613286"/>
                <a:gd name="connsiteY18" fmla="*/ 74423 h 562179"/>
                <a:gd name="connsiteX19" fmla="*/ 470039 w 613286"/>
                <a:gd name="connsiteY19" fmla="*/ 64406 h 562179"/>
                <a:gd name="connsiteX20" fmla="*/ 394196 w 613286"/>
                <a:gd name="connsiteY20" fmla="*/ 74730 h 562179"/>
                <a:gd name="connsiteX21" fmla="*/ 346973 w 613286"/>
                <a:gd name="connsiteY21" fmla="*/ 51732 h 562179"/>
                <a:gd name="connsiteX22" fmla="*/ 296275 w 613286"/>
                <a:gd name="connsiteY22" fmla="*/ 44066 h 562179"/>
                <a:gd name="connsiteX23" fmla="*/ 230551 w 613286"/>
                <a:gd name="connsiteY23" fmla="*/ 123077 h 562179"/>
                <a:gd name="connsiteX24" fmla="*/ 168200 w 613286"/>
                <a:gd name="connsiteY24" fmla="*/ 121135 h 562179"/>
                <a:gd name="connsiteX25" fmla="*/ 150619 w 613286"/>
                <a:gd name="connsiteY25" fmla="*/ 185633 h 562179"/>
                <a:gd name="connsiteX26" fmla="*/ 110040 w 613286"/>
                <a:gd name="connsiteY26" fmla="*/ 208324 h 562179"/>
                <a:gd name="connsiteX27" fmla="*/ 66701 w 613286"/>
                <a:gd name="connsiteY27" fmla="*/ 236126 h 562179"/>
                <a:gd name="connsiteX28" fmla="*/ 55355 w 613286"/>
                <a:gd name="connsiteY28" fmla="*/ 283145 h 562179"/>
                <a:gd name="connsiteX29" fmla="*/ 74572 w 613286"/>
                <a:gd name="connsiteY29" fmla="*/ 323315 h 562179"/>
                <a:gd name="connsiteX30" fmla="*/ 55764 w 613286"/>
                <a:gd name="connsiteY30" fmla="*/ 376467 h 562179"/>
                <a:gd name="connsiteX31" fmla="*/ 45236 w 613286"/>
                <a:gd name="connsiteY31" fmla="*/ 430436 h 562179"/>
                <a:gd name="connsiteX32" fmla="*/ 86531 w 613286"/>
                <a:gd name="connsiteY32" fmla="*/ 462634 h 562179"/>
                <a:gd name="connsiteX33" fmla="*/ 104112 w 613286"/>
                <a:gd name="connsiteY33" fmla="*/ 565973 h 562179"/>
                <a:gd name="connsiteX34" fmla="*/ 54742 w 613286"/>
                <a:gd name="connsiteY34" fmla="*/ 469891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613286" h="562179">
                  <a:moveTo>
                    <a:pt x="54742" y="469891"/>
                  </a:moveTo>
                  <a:cubicBezTo>
                    <a:pt x="34299" y="452821"/>
                    <a:pt x="6906" y="438818"/>
                    <a:pt x="1080" y="413673"/>
                  </a:cubicBezTo>
                  <a:cubicBezTo>
                    <a:pt x="-5871" y="383418"/>
                    <a:pt x="22749" y="356535"/>
                    <a:pt x="29700" y="326280"/>
                  </a:cubicBezTo>
                  <a:cubicBezTo>
                    <a:pt x="34299" y="305837"/>
                    <a:pt x="28780" y="284678"/>
                    <a:pt x="25713" y="263929"/>
                  </a:cubicBezTo>
                  <a:cubicBezTo>
                    <a:pt x="22749" y="243179"/>
                    <a:pt x="22953" y="220079"/>
                    <a:pt x="36855" y="203827"/>
                  </a:cubicBezTo>
                  <a:cubicBezTo>
                    <a:pt x="53924" y="183793"/>
                    <a:pt x="86837" y="179807"/>
                    <a:pt x="101863" y="158341"/>
                  </a:cubicBezTo>
                  <a:cubicBezTo>
                    <a:pt x="110449" y="146076"/>
                    <a:pt x="111369" y="130539"/>
                    <a:pt x="116786" y="116740"/>
                  </a:cubicBezTo>
                  <a:cubicBezTo>
                    <a:pt x="128541" y="87200"/>
                    <a:pt x="163703" y="67779"/>
                    <a:pt x="196718" y="72686"/>
                  </a:cubicBezTo>
                  <a:cubicBezTo>
                    <a:pt x="204895" y="73912"/>
                    <a:pt x="213072" y="76468"/>
                    <a:pt x="221249" y="75241"/>
                  </a:cubicBezTo>
                  <a:cubicBezTo>
                    <a:pt x="243226" y="72175"/>
                    <a:pt x="251096" y="47030"/>
                    <a:pt x="263566" y="29654"/>
                  </a:cubicBezTo>
                  <a:cubicBezTo>
                    <a:pt x="287076" y="-3055"/>
                    <a:pt x="341862" y="-10108"/>
                    <a:pt x="373753" y="15548"/>
                  </a:cubicBezTo>
                  <a:cubicBezTo>
                    <a:pt x="380806" y="21170"/>
                    <a:pt x="386735" y="28120"/>
                    <a:pt x="394810" y="32413"/>
                  </a:cubicBezTo>
                  <a:cubicBezTo>
                    <a:pt x="416070" y="43861"/>
                    <a:pt x="442237" y="33435"/>
                    <a:pt x="466564" y="30982"/>
                  </a:cubicBezTo>
                  <a:cubicBezTo>
                    <a:pt x="496002" y="28018"/>
                    <a:pt x="528404" y="39466"/>
                    <a:pt x="543020" y="63793"/>
                  </a:cubicBezTo>
                  <a:cubicBezTo>
                    <a:pt x="548438" y="72788"/>
                    <a:pt x="551300" y="83111"/>
                    <a:pt x="556411" y="92209"/>
                  </a:cubicBezTo>
                  <a:cubicBezTo>
                    <a:pt x="567552" y="111834"/>
                    <a:pt x="590141" y="125326"/>
                    <a:pt x="613651" y="126246"/>
                  </a:cubicBezTo>
                  <a:cubicBezTo>
                    <a:pt x="596172" y="127575"/>
                    <a:pt x="578284" y="128904"/>
                    <a:pt x="561215" y="125224"/>
                  </a:cubicBezTo>
                  <a:cubicBezTo>
                    <a:pt x="544145" y="121544"/>
                    <a:pt x="527484" y="111936"/>
                    <a:pt x="520124" y="96910"/>
                  </a:cubicBezTo>
                  <a:cubicBezTo>
                    <a:pt x="516445" y="89449"/>
                    <a:pt x="515218" y="80863"/>
                    <a:pt x="509801" y="74423"/>
                  </a:cubicBezTo>
                  <a:cubicBezTo>
                    <a:pt x="500908" y="63691"/>
                    <a:pt x="484247" y="62362"/>
                    <a:pt x="470039" y="64406"/>
                  </a:cubicBezTo>
                  <a:cubicBezTo>
                    <a:pt x="444588" y="68188"/>
                    <a:pt x="419443" y="79841"/>
                    <a:pt x="394196" y="74730"/>
                  </a:cubicBezTo>
                  <a:cubicBezTo>
                    <a:pt x="376718" y="71255"/>
                    <a:pt x="362305" y="60216"/>
                    <a:pt x="346973" y="51732"/>
                  </a:cubicBezTo>
                  <a:cubicBezTo>
                    <a:pt x="331539" y="43248"/>
                    <a:pt x="312425" y="37115"/>
                    <a:pt x="296275" y="44066"/>
                  </a:cubicBezTo>
                  <a:cubicBezTo>
                    <a:pt x="262851" y="58580"/>
                    <a:pt x="266633" y="116229"/>
                    <a:pt x="230551" y="123077"/>
                  </a:cubicBezTo>
                  <a:cubicBezTo>
                    <a:pt x="209597" y="127064"/>
                    <a:pt x="185781" y="109687"/>
                    <a:pt x="168200" y="121135"/>
                  </a:cubicBezTo>
                  <a:cubicBezTo>
                    <a:pt x="148268" y="134117"/>
                    <a:pt x="162885" y="165803"/>
                    <a:pt x="150619" y="185633"/>
                  </a:cubicBezTo>
                  <a:cubicBezTo>
                    <a:pt x="142544" y="198716"/>
                    <a:pt x="125066" y="203009"/>
                    <a:pt x="110040" y="208324"/>
                  </a:cubicBezTo>
                  <a:cubicBezTo>
                    <a:pt x="93481" y="214150"/>
                    <a:pt x="77638" y="222941"/>
                    <a:pt x="66701" y="236126"/>
                  </a:cubicBezTo>
                  <a:cubicBezTo>
                    <a:pt x="55764" y="249210"/>
                    <a:pt x="50347" y="267097"/>
                    <a:pt x="55355" y="283145"/>
                  </a:cubicBezTo>
                  <a:cubicBezTo>
                    <a:pt x="59751" y="297251"/>
                    <a:pt x="71710" y="308801"/>
                    <a:pt x="74572" y="323315"/>
                  </a:cubicBezTo>
                  <a:cubicBezTo>
                    <a:pt x="78354" y="342123"/>
                    <a:pt x="66190" y="360010"/>
                    <a:pt x="55764" y="376467"/>
                  </a:cubicBezTo>
                  <a:cubicBezTo>
                    <a:pt x="45338" y="392821"/>
                    <a:pt x="36037" y="413366"/>
                    <a:pt x="45236" y="430436"/>
                  </a:cubicBezTo>
                  <a:cubicBezTo>
                    <a:pt x="53413" y="445666"/>
                    <a:pt x="72732" y="451595"/>
                    <a:pt x="86531" y="462634"/>
                  </a:cubicBezTo>
                  <a:cubicBezTo>
                    <a:pt x="111880" y="482974"/>
                    <a:pt x="124350" y="539806"/>
                    <a:pt x="104112" y="565973"/>
                  </a:cubicBezTo>
                  <a:cubicBezTo>
                    <a:pt x="94095" y="528971"/>
                    <a:pt x="86940" y="496773"/>
                    <a:pt x="54742" y="469891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B60581D0-7C0F-46B4-81E4-11EE10AD898F}"/>
                </a:ext>
              </a:extLst>
            </p:cNvPr>
            <p:cNvSpPr/>
            <p:nvPr/>
          </p:nvSpPr>
          <p:spPr>
            <a:xfrm>
              <a:off x="8404749" y="2211984"/>
              <a:ext cx="1457764" cy="1608294"/>
            </a:xfrm>
            <a:custGeom>
              <a:avLst/>
              <a:gdLst>
                <a:gd name="connsiteX0" fmla="*/ 726949 w 1880745"/>
                <a:gd name="connsiteY0" fmla="*/ 293458 h 2074952"/>
                <a:gd name="connsiteX1" fmla="*/ 869845 w 1880745"/>
                <a:gd name="connsiteY1" fmla="*/ 438807 h 2074952"/>
                <a:gd name="connsiteX2" fmla="*/ 1055262 w 1880745"/>
                <a:gd name="connsiteY2" fmla="*/ 538466 h 2074952"/>
                <a:gd name="connsiteX3" fmla="*/ 1126812 w 1880745"/>
                <a:gd name="connsiteY3" fmla="*/ 616660 h 2074952"/>
                <a:gd name="connsiteX4" fmla="*/ 1093286 w 1880745"/>
                <a:gd name="connsiteY4" fmla="*/ 707733 h 2074952"/>
                <a:gd name="connsiteX5" fmla="*/ 1004359 w 1880745"/>
                <a:gd name="connsiteY5" fmla="*/ 762009 h 2074952"/>
                <a:gd name="connsiteX6" fmla="*/ 1167289 w 1880745"/>
                <a:gd name="connsiteY6" fmla="*/ 672980 h 2074952"/>
                <a:gd name="connsiteX7" fmla="*/ 1029402 w 1880745"/>
                <a:gd name="connsiteY7" fmla="*/ 788380 h 2074952"/>
                <a:gd name="connsiteX8" fmla="*/ 1155943 w 1880745"/>
                <a:gd name="connsiteY8" fmla="*/ 726131 h 2074952"/>
                <a:gd name="connsiteX9" fmla="*/ 968277 w 1880745"/>
                <a:gd name="connsiteY9" fmla="*/ 839896 h 2074952"/>
                <a:gd name="connsiteX10" fmla="*/ 711004 w 1880745"/>
                <a:gd name="connsiteY10" fmla="*/ 744734 h 2074952"/>
                <a:gd name="connsiteX11" fmla="*/ 789504 w 1880745"/>
                <a:gd name="connsiteY11" fmla="*/ 874853 h 2074952"/>
                <a:gd name="connsiteX12" fmla="*/ 735740 w 1880745"/>
                <a:gd name="connsiteY12" fmla="*/ 1013763 h 2074952"/>
                <a:gd name="connsiteX13" fmla="*/ 615638 w 1880745"/>
                <a:gd name="connsiteY13" fmla="*/ 1067221 h 2074952"/>
                <a:gd name="connsiteX14" fmla="*/ 797068 w 1880745"/>
                <a:gd name="connsiteY14" fmla="*/ 1019180 h 2074952"/>
                <a:gd name="connsiteX15" fmla="*/ 647222 w 1880745"/>
                <a:gd name="connsiteY15" fmla="*/ 1099725 h 2074952"/>
                <a:gd name="connsiteX16" fmla="*/ 756489 w 1880745"/>
                <a:gd name="connsiteY16" fmla="*/ 1092366 h 2074952"/>
                <a:gd name="connsiteX17" fmla="*/ 601327 w 1880745"/>
                <a:gd name="connsiteY17" fmla="*/ 1151446 h 2074952"/>
                <a:gd name="connsiteX18" fmla="*/ 445246 w 1880745"/>
                <a:gd name="connsiteY18" fmla="*/ 1079998 h 2074952"/>
                <a:gd name="connsiteX19" fmla="*/ 425008 w 1880745"/>
                <a:gd name="connsiteY19" fmla="*/ 1055977 h 2074952"/>
                <a:gd name="connsiteX20" fmla="*/ 304803 w 1880745"/>
                <a:gd name="connsiteY20" fmla="*/ 1158192 h 2074952"/>
                <a:gd name="connsiteX21" fmla="*/ 403951 w 1880745"/>
                <a:gd name="connsiteY21" fmla="*/ 1247425 h 2074952"/>
                <a:gd name="connsiteX22" fmla="*/ 344463 w 1880745"/>
                <a:gd name="connsiteY22" fmla="*/ 1217067 h 2074952"/>
                <a:gd name="connsiteX23" fmla="*/ 415604 w 1880745"/>
                <a:gd name="connsiteY23" fmla="*/ 1275636 h 2074952"/>
                <a:gd name="connsiteX24" fmla="*/ 346200 w 1880745"/>
                <a:gd name="connsiteY24" fmla="*/ 1237203 h 2074952"/>
                <a:gd name="connsiteX25" fmla="*/ 487869 w 1880745"/>
                <a:gd name="connsiteY25" fmla="*/ 1390934 h 2074952"/>
                <a:gd name="connsiteX26" fmla="*/ 224872 w 1880745"/>
                <a:gd name="connsiteY26" fmla="*/ 1655772 h 2074952"/>
                <a:gd name="connsiteX27" fmla="*/ 133696 w 1880745"/>
                <a:gd name="connsiteY27" fmla="*/ 1821870 h 2074952"/>
                <a:gd name="connsiteX28" fmla="*/ 75639 w 1880745"/>
                <a:gd name="connsiteY28" fmla="*/ 1776078 h 2074952"/>
                <a:gd name="connsiteX29" fmla="*/ 126644 w 1880745"/>
                <a:gd name="connsiteY29" fmla="*/ 1830967 h 2074952"/>
                <a:gd name="connsiteX30" fmla="*/ 0 w 1880745"/>
                <a:gd name="connsiteY30" fmla="*/ 1759826 h 2074952"/>
                <a:gd name="connsiteX31" fmla="*/ 170494 w 1880745"/>
                <a:gd name="connsiteY31" fmla="*/ 2084663 h 2074952"/>
                <a:gd name="connsiteX32" fmla="*/ 209233 w 1880745"/>
                <a:gd name="connsiteY32" fmla="*/ 1904153 h 2074952"/>
                <a:gd name="connsiteX33" fmla="*/ 405076 w 1880745"/>
                <a:gd name="connsiteY33" fmla="*/ 1598225 h 2074952"/>
                <a:gd name="connsiteX34" fmla="*/ 515876 w 1880745"/>
                <a:gd name="connsiteY34" fmla="*/ 1471990 h 2074952"/>
                <a:gd name="connsiteX35" fmla="*/ 535093 w 1880745"/>
                <a:gd name="connsiteY35" fmla="*/ 1458907 h 2074952"/>
                <a:gd name="connsiteX36" fmla="*/ 559828 w 1880745"/>
                <a:gd name="connsiteY36" fmla="*/ 1471888 h 2074952"/>
                <a:gd name="connsiteX37" fmla="*/ 670016 w 1880745"/>
                <a:gd name="connsiteY37" fmla="*/ 1582075 h 2074952"/>
                <a:gd name="connsiteX38" fmla="*/ 863712 w 1880745"/>
                <a:gd name="connsiteY38" fmla="*/ 1322144 h 2074952"/>
                <a:gd name="connsiteX39" fmla="*/ 776625 w 1880745"/>
                <a:gd name="connsiteY39" fmla="*/ 1382348 h 2074952"/>
                <a:gd name="connsiteX40" fmla="*/ 1256624 w 1880745"/>
                <a:gd name="connsiteY40" fmla="*/ 1000577 h 2074952"/>
                <a:gd name="connsiteX41" fmla="*/ 1315193 w 1880745"/>
                <a:gd name="connsiteY41" fmla="*/ 1133763 h 2074952"/>
                <a:gd name="connsiteX42" fmla="*/ 1300679 w 1880745"/>
                <a:gd name="connsiteY42" fmla="*/ 991276 h 2074952"/>
                <a:gd name="connsiteX43" fmla="*/ 1364665 w 1880745"/>
                <a:gd name="connsiteY43" fmla="*/ 1129470 h 2074952"/>
                <a:gd name="connsiteX44" fmla="*/ 1349639 w 1880745"/>
                <a:gd name="connsiteY44" fmla="*/ 1047698 h 2074952"/>
                <a:gd name="connsiteX45" fmla="*/ 1478532 w 1880745"/>
                <a:gd name="connsiteY45" fmla="*/ 1198055 h 2074952"/>
                <a:gd name="connsiteX46" fmla="*/ 1415466 w 1880745"/>
                <a:gd name="connsiteY46" fmla="*/ 1074274 h 2074952"/>
                <a:gd name="connsiteX47" fmla="*/ 1707186 w 1880745"/>
                <a:gd name="connsiteY47" fmla="*/ 1294750 h 2074952"/>
                <a:gd name="connsiteX48" fmla="*/ 1537101 w 1880745"/>
                <a:gd name="connsiteY48" fmla="*/ 1133558 h 2074952"/>
                <a:gd name="connsiteX49" fmla="*/ 1719860 w 1880745"/>
                <a:gd name="connsiteY49" fmla="*/ 1233115 h 2074952"/>
                <a:gd name="connsiteX50" fmla="*/ 1568787 w 1880745"/>
                <a:gd name="connsiteY50" fmla="*/ 1101667 h 2074952"/>
                <a:gd name="connsiteX51" fmla="*/ 1504392 w 1880745"/>
                <a:gd name="connsiteY51" fmla="*/ 1008754 h 2074952"/>
                <a:gd name="connsiteX52" fmla="*/ 1465346 w 1880745"/>
                <a:gd name="connsiteY52" fmla="*/ 362146 h 2074952"/>
                <a:gd name="connsiteX53" fmla="*/ 1543745 w 1880745"/>
                <a:gd name="connsiteY53" fmla="*/ 376354 h 2074952"/>
                <a:gd name="connsiteX54" fmla="*/ 1625925 w 1880745"/>
                <a:gd name="connsiteY54" fmla="*/ 403543 h 2074952"/>
                <a:gd name="connsiteX55" fmla="*/ 1715874 w 1880745"/>
                <a:gd name="connsiteY55" fmla="*/ 414889 h 2074952"/>
                <a:gd name="connsiteX56" fmla="*/ 1735806 w 1880745"/>
                <a:gd name="connsiteY56" fmla="*/ 412742 h 2074952"/>
                <a:gd name="connsiteX57" fmla="*/ 1761972 w 1880745"/>
                <a:gd name="connsiteY57" fmla="*/ 393526 h 2074952"/>
                <a:gd name="connsiteX58" fmla="*/ 1882790 w 1880745"/>
                <a:gd name="connsiteY58" fmla="*/ 323611 h 2074952"/>
                <a:gd name="connsiteX59" fmla="*/ 1721291 w 1880745"/>
                <a:gd name="connsiteY59" fmla="*/ 374616 h 2074952"/>
                <a:gd name="connsiteX60" fmla="*/ 1830660 w 1880745"/>
                <a:gd name="connsiteY60" fmla="*/ 307359 h 2074952"/>
                <a:gd name="connsiteX61" fmla="*/ 1681121 w 1880745"/>
                <a:gd name="connsiteY61" fmla="*/ 359693 h 2074952"/>
                <a:gd name="connsiteX62" fmla="*/ 1846913 w 1880745"/>
                <a:gd name="connsiteY62" fmla="*/ 264020 h 2074952"/>
                <a:gd name="connsiteX63" fmla="*/ 1593421 w 1880745"/>
                <a:gd name="connsiteY63" fmla="*/ 338841 h 2074952"/>
                <a:gd name="connsiteX64" fmla="*/ 1715260 w 1880745"/>
                <a:gd name="connsiteY64" fmla="*/ 225894 h 2074952"/>
                <a:gd name="connsiteX65" fmla="*/ 1603131 w 1880745"/>
                <a:gd name="connsiteY65" fmla="*/ 290902 h 2074952"/>
                <a:gd name="connsiteX66" fmla="*/ 1759213 w 1880745"/>
                <a:gd name="connsiteY66" fmla="*/ 171516 h 2074952"/>
                <a:gd name="connsiteX67" fmla="*/ 1591172 w 1880745"/>
                <a:gd name="connsiteY67" fmla="*/ 245621 h 2074952"/>
                <a:gd name="connsiteX68" fmla="*/ 1687663 w 1880745"/>
                <a:gd name="connsiteY68" fmla="*/ 89744 h 2074952"/>
                <a:gd name="connsiteX69" fmla="*/ 1600269 w 1880745"/>
                <a:gd name="connsiteY69" fmla="*/ 191345 h 2074952"/>
                <a:gd name="connsiteX70" fmla="*/ 1649332 w 1880745"/>
                <a:gd name="connsiteY70" fmla="*/ 64088 h 2074952"/>
                <a:gd name="connsiteX71" fmla="*/ 1501428 w 1880745"/>
                <a:gd name="connsiteY71" fmla="*/ 224463 h 2074952"/>
                <a:gd name="connsiteX72" fmla="*/ 1597509 w 1880745"/>
                <a:gd name="connsiteY72" fmla="*/ 37717 h 2074952"/>
                <a:gd name="connsiteX73" fmla="*/ 1512160 w 1880745"/>
                <a:gd name="connsiteY73" fmla="*/ 147087 h 2074952"/>
                <a:gd name="connsiteX74" fmla="*/ 1541905 w 1880745"/>
                <a:gd name="connsiteY74" fmla="*/ 28416 h 2074952"/>
                <a:gd name="connsiteX75" fmla="*/ 1437237 w 1880745"/>
                <a:gd name="connsiteY75" fmla="*/ 151789 h 2074952"/>
                <a:gd name="connsiteX76" fmla="*/ 1454205 w 1880745"/>
                <a:gd name="connsiteY76" fmla="*/ 0 h 2074952"/>
                <a:gd name="connsiteX77" fmla="*/ 1383268 w 1880745"/>
                <a:gd name="connsiteY77" fmla="*/ 133390 h 2074952"/>
                <a:gd name="connsiteX78" fmla="*/ 1391854 w 1880745"/>
                <a:gd name="connsiteY78" fmla="*/ 74412 h 2074952"/>
                <a:gd name="connsiteX79" fmla="*/ 1333898 w 1880745"/>
                <a:gd name="connsiteY79" fmla="*/ 128586 h 2074952"/>
                <a:gd name="connsiteX80" fmla="*/ 1329299 w 1880745"/>
                <a:gd name="connsiteY80" fmla="*/ 35673 h 2074952"/>
                <a:gd name="connsiteX81" fmla="*/ 1304972 w 1880745"/>
                <a:gd name="connsiteY81" fmla="*/ 118058 h 2074952"/>
                <a:gd name="connsiteX82" fmla="*/ 1283609 w 1880745"/>
                <a:gd name="connsiteY82" fmla="*/ 141158 h 2074952"/>
                <a:gd name="connsiteX83" fmla="*/ 1255091 w 1880745"/>
                <a:gd name="connsiteY83" fmla="*/ 133799 h 2074952"/>
                <a:gd name="connsiteX84" fmla="*/ 1067834 w 1880745"/>
                <a:gd name="connsiteY84" fmla="*/ 239693 h 2074952"/>
                <a:gd name="connsiteX85" fmla="*/ 726949 w 1880745"/>
                <a:gd name="connsiteY85" fmla="*/ 293458 h 2074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880745" h="2074952">
                  <a:moveTo>
                    <a:pt x="726949" y="293458"/>
                  </a:moveTo>
                  <a:cubicBezTo>
                    <a:pt x="754036" y="355604"/>
                    <a:pt x="809845" y="402725"/>
                    <a:pt x="869845" y="438807"/>
                  </a:cubicBezTo>
                  <a:cubicBezTo>
                    <a:pt x="929845" y="474888"/>
                    <a:pt x="995364" y="502180"/>
                    <a:pt x="1055262" y="538466"/>
                  </a:cubicBezTo>
                  <a:cubicBezTo>
                    <a:pt x="1086744" y="557580"/>
                    <a:pt x="1118737" y="582111"/>
                    <a:pt x="1126812" y="616660"/>
                  </a:cubicBezTo>
                  <a:cubicBezTo>
                    <a:pt x="1134478" y="649368"/>
                    <a:pt x="1118124" y="683815"/>
                    <a:pt x="1093286" y="707733"/>
                  </a:cubicBezTo>
                  <a:cubicBezTo>
                    <a:pt x="1068447" y="731651"/>
                    <a:pt x="1036045" y="747085"/>
                    <a:pt x="1004359" y="762009"/>
                  </a:cubicBezTo>
                  <a:cubicBezTo>
                    <a:pt x="1066403" y="748619"/>
                    <a:pt x="1124052" y="717239"/>
                    <a:pt x="1167289" y="672980"/>
                  </a:cubicBezTo>
                  <a:cubicBezTo>
                    <a:pt x="1135909" y="723985"/>
                    <a:pt x="1086744" y="765075"/>
                    <a:pt x="1029402" y="788380"/>
                  </a:cubicBezTo>
                  <a:cubicBezTo>
                    <a:pt x="1077238" y="781225"/>
                    <a:pt x="1122315" y="759044"/>
                    <a:pt x="1155943" y="726131"/>
                  </a:cubicBezTo>
                  <a:cubicBezTo>
                    <a:pt x="1120168" y="791446"/>
                    <a:pt x="1045960" y="836421"/>
                    <a:pt x="968277" y="839896"/>
                  </a:cubicBezTo>
                  <a:cubicBezTo>
                    <a:pt x="874649" y="844087"/>
                    <a:pt x="789300" y="793389"/>
                    <a:pt x="711004" y="744734"/>
                  </a:cubicBezTo>
                  <a:cubicBezTo>
                    <a:pt x="753218" y="776830"/>
                    <a:pt x="783371" y="823951"/>
                    <a:pt x="789504" y="874853"/>
                  </a:cubicBezTo>
                  <a:cubicBezTo>
                    <a:pt x="795535" y="925756"/>
                    <a:pt x="776216" y="979725"/>
                    <a:pt x="735740" y="1013763"/>
                  </a:cubicBezTo>
                  <a:cubicBezTo>
                    <a:pt x="702418" y="1041770"/>
                    <a:pt x="658261" y="1054955"/>
                    <a:pt x="615638" y="1067221"/>
                  </a:cubicBezTo>
                  <a:cubicBezTo>
                    <a:pt x="679522" y="1079998"/>
                    <a:pt x="749436" y="1061497"/>
                    <a:pt x="797068" y="1019180"/>
                  </a:cubicBezTo>
                  <a:cubicBezTo>
                    <a:pt x="772230" y="1070594"/>
                    <a:pt x="705688" y="1088073"/>
                    <a:pt x="647222" y="1099725"/>
                  </a:cubicBezTo>
                  <a:cubicBezTo>
                    <a:pt x="683508" y="1106471"/>
                    <a:pt x="721634" y="1103916"/>
                    <a:pt x="756489" y="1092366"/>
                  </a:cubicBezTo>
                  <a:cubicBezTo>
                    <a:pt x="723372" y="1138158"/>
                    <a:pt x="659488" y="1157987"/>
                    <a:pt x="601327" y="1151446"/>
                  </a:cubicBezTo>
                  <a:cubicBezTo>
                    <a:pt x="543065" y="1144904"/>
                    <a:pt x="490220" y="1115568"/>
                    <a:pt x="445246" y="1079998"/>
                  </a:cubicBezTo>
                  <a:cubicBezTo>
                    <a:pt x="436864" y="1073354"/>
                    <a:pt x="428278" y="1065892"/>
                    <a:pt x="425008" y="1055977"/>
                  </a:cubicBezTo>
                  <a:cubicBezTo>
                    <a:pt x="374718" y="1077136"/>
                    <a:pt x="329028" y="1111378"/>
                    <a:pt x="304803" y="1158192"/>
                  </a:cubicBezTo>
                  <a:cubicBezTo>
                    <a:pt x="340067" y="1185688"/>
                    <a:pt x="373185" y="1215534"/>
                    <a:pt x="403951" y="1247425"/>
                  </a:cubicBezTo>
                  <a:cubicBezTo>
                    <a:pt x="385348" y="1235364"/>
                    <a:pt x="365314" y="1225142"/>
                    <a:pt x="344463" y="1217067"/>
                  </a:cubicBezTo>
                  <a:cubicBezTo>
                    <a:pt x="370834" y="1233422"/>
                    <a:pt x="394752" y="1253251"/>
                    <a:pt x="415604" y="1275636"/>
                  </a:cubicBezTo>
                  <a:cubicBezTo>
                    <a:pt x="392503" y="1262859"/>
                    <a:pt x="369403" y="1249980"/>
                    <a:pt x="346200" y="1237203"/>
                  </a:cubicBezTo>
                  <a:cubicBezTo>
                    <a:pt x="396899" y="1285449"/>
                    <a:pt x="444224" y="1336863"/>
                    <a:pt x="487869" y="1390934"/>
                  </a:cubicBezTo>
                  <a:cubicBezTo>
                    <a:pt x="395365" y="1474750"/>
                    <a:pt x="307461" y="1563165"/>
                    <a:pt x="224872" y="1655772"/>
                  </a:cubicBezTo>
                  <a:cubicBezTo>
                    <a:pt x="181533" y="1704324"/>
                    <a:pt x="137683" y="1758497"/>
                    <a:pt x="133696" y="1821870"/>
                  </a:cubicBezTo>
                  <a:cubicBezTo>
                    <a:pt x="114378" y="1806640"/>
                    <a:pt x="94957" y="1791308"/>
                    <a:pt x="75639" y="1776078"/>
                  </a:cubicBezTo>
                  <a:cubicBezTo>
                    <a:pt x="94957" y="1792228"/>
                    <a:pt x="112129" y="1810729"/>
                    <a:pt x="126644" y="1830967"/>
                  </a:cubicBezTo>
                  <a:cubicBezTo>
                    <a:pt x="84429" y="1807254"/>
                    <a:pt x="42215" y="1783540"/>
                    <a:pt x="0" y="1759826"/>
                  </a:cubicBezTo>
                  <a:cubicBezTo>
                    <a:pt x="89949" y="1848344"/>
                    <a:pt x="150255" y="1963437"/>
                    <a:pt x="170494" y="2084663"/>
                  </a:cubicBezTo>
                  <a:cubicBezTo>
                    <a:pt x="191754" y="2026606"/>
                    <a:pt x="193287" y="1963744"/>
                    <a:pt x="209233" y="1904153"/>
                  </a:cubicBezTo>
                  <a:cubicBezTo>
                    <a:pt x="240408" y="1787526"/>
                    <a:pt x="323918" y="1690831"/>
                    <a:pt x="405076" y="1598225"/>
                  </a:cubicBezTo>
                  <a:cubicBezTo>
                    <a:pt x="441975" y="1556113"/>
                    <a:pt x="478875" y="1514102"/>
                    <a:pt x="515876" y="1471990"/>
                  </a:cubicBezTo>
                  <a:cubicBezTo>
                    <a:pt x="521089" y="1466062"/>
                    <a:pt x="527018" y="1459725"/>
                    <a:pt x="535093" y="1458907"/>
                  </a:cubicBezTo>
                  <a:cubicBezTo>
                    <a:pt x="544803" y="1457884"/>
                    <a:pt x="553082" y="1465142"/>
                    <a:pt x="559828" y="1471888"/>
                  </a:cubicBezTo>
                  <a:cubicBezTo>
                    <a:pt x="596523" y="1508583"/>
                    <a:pt x="633321" y="1545380"/>
                    <a:pt x="670016" y="1582075"/>
                  </a:cubicBezTo>
                  <a:cubicBezTo>
                    <a:pt x="698329" y="1478021"/>
                    <a:pt x="782758" y="1397374"/>
                    <a:pt x="863712" y="1322144"/>
                  </a:cubicBezTo>
                  <a:cubicBezTo>
                    <a:pt x="830595" y="1336045"/>
                    <a:pt x="800748" y="1356794"/>
                    <a:pt x="776625" y="1382348"/>
                  </a:cubicBezTo>
                  <a:cubicBezTo>
                    <a:pt x="908277" y="1227084"/>
                    <a:pt x="1072332" y="1096557"/>
                    <a:pt x="1256624" y="1000577"/>
                  </a:cubicBezTo>
                  <a:cubicBezTo>
                    <a:pt x="1259589" y="1051173"/>
                    <a:pt x="1285142" y="1091650"/>
                    <a:pt x="1315193" y="1133763"/>
                  </a:cubicBezTo>
                  <a:cubicBezTo>
                    <a:pt x="1301599" y="1087562"/>
                    <a:pt x="1296590" y="1039112"/>
                    <a:pt x="1300679" y="991276"/>
                  </a:cubicBezTo>
                  <a:cubicBezTo>
                    <a:pt x="1303541" y="1042587"/>
                    <a:pt x="1326743" y="1092672"/>
                    <a:pt x="1364665" y="1129470"/>
                  </a:cubicBezTo>
                  <a:cubicBezTo>
                    <a:pt x="1355568" y="1103098"/>
                    <a:pt x="1350457" y="1075398"/>
                    <a:pt x="1349639" y="1047698"/>
                  </a:cubicBezTo>
                  <a:cubicBezTo>
                    <a:pt x="1378362" y="1106982"/>
                    <a:pt x="1423132" y="1159214"/>
                    <a:pt x="1478532" y="1198055"/>
                  </a:cubicBezTo>
                  <a:cubicBezTo>
                    <a:pt x="1451956" y="1159623"/>
                    <a:pt x="1430695" y="1117919"/>
                    <a:pt x="1415466" y="1074274"/>
                  </a:cubicBezTo>
                  <a:cubicBezTo>
                    <a:pt x="1472706" y="1183030"/>
                    <a:pt x="1582382" y="1266028"/>
                    <a:pt x="1707186" y="1294750"/>
                  </a:cubicBezTo>
                  <a:cubicBezTo>
                    <a:pt x="1641666" y="1250287"/>
                    <a:pt x="1583915" y="1195602"/>
                    <a:pt x="1537101" y="1133558"/>
                  </a:cubicBezTo>
                  <a:cubicBezTo>
                    <a:pt x="1585755" y="1182928"/>
                    <a:pt x="1650354" y="1218089"/>
                    <a:pt x="1719860" y="1233115"/>
                  </a:cubicBezTo>
                  <a:cubicBezTo>
                    <a:pt x="1665993" y="1193047"/>
                    <a:pt x="1612126" y="1151957"/>
                    <a:pt x="1568787" y="1101667"/>
                  </a:cubicBezTo>
                  <a:cubicBezTo>
                    <a:pt x="1544051" y="1072945"/>
                    <a:pt x="1522893" y="1041463"/>
                    <a:pt x="1504392" y="1008754"/>
                  </a:cubicBezTo>
                  <a:cubicBezTo>
                    <a:pt x="1393081" y="812298"/>
                    <a:pt x="1378464" y="569334"/>
                    <a:pt x="1465346" y="362146"/>
                  </a:cubicBezTo>
                  <a:cubicBezTo>
                    <a:pt x="1489878" y="371243"/>
                    <a:pt x="1519213" y="367154"/>
                    <a:pt x="1543745" y="376354"/>
                  </a:cubicBezTo>
                  <a:cubicBezTo>
                    <a:pt x="1570729" y="386473"/>
                    <a:pt x="1597816" y="396592"/>
                    <a:pt x="1625925" y="403543"/>
                  </a:cubicBezTo>
                  <a:cubicBezTo>
                    <a:pt x="1655261" y="410800"/>
                    <a:pt x="1685516" y="414684"/>
                    <a:pt x="1715874" y="414889"/>
                  </a:cubicBezTo>
                  <a:cubicBezTo>
                    <a:pt x="1722620" y="414991"/>
                    <a:pt x="1729468" y="414786"/>
                    <a:pt x="1735806" y="412742"/>
                  </a:cubicBezTo>
                  <a:cubicBezTo>
                    <a:pt x="1746334" y="409267"/>
                    <a:pt x="1754204" y="401090"/>
                    <a:pt x="1761972" y="393526"/>
                  </a:cubicBezTo>
                  <a:cubicBezTo>
                    <a:pt x="1795397" y="361430"/>
                    <a:pt x="1837305" y="337103"/>
                    <a:pt x="1882790" y="323611"/>
                  </a:cubicBezTo>
                  <a:cubicBezTo>
                    <a:pt x="1826061" y="330051"/>
                    <a:pt x="1770763" y="347529"/>
                    <a:pt x="1721291" y="374616"/>
                  </a:cubicBezTo>
                  <a:cubicBezTo>
                    <a:pt x="1756248" y="350084"/>
                    <a:pt x="1792841" y="327699"/>
                    <a:pt x="1830660" y="307359"/>
                  </a:cubicBezTo>
                  <a:cubicBezTo>
                    <a:pt x="1779553" y="321260"/>
                    <a:pt x="1729468" y="338841"/>
                    <a:pt x="1681121" y="359693"/>
                  </a:cubicBezTo>
                  <a:cubicBezTo>
                    <a:pt x="1727833" y="316558"/>
                    <a:pt x="1784971" y="283543"/>
                    <a:pt x="1846913" y="264020"/>
                  </a:cubicBezTo>
                  <a:cubicBezTo>
                    <a:pt x="1759417" y="278432"/>
                    <a:pt x="1673966" y="303679"/>
                    <a:pt x="1593421" y="338841"/>
                  </a:cubicBezTo>
                  <a:cubicBezTo>
                    <a:pt x="1629094" y="296831"/>
                    <a:pt x="1670082" y="258807"/>
                    <a:pt x="1715260" y="225894"/>
                  </a:cubicBezTo>
                  <a:cubicBezTo>
                    <a:pt x="1677850" y="247563"/>
                    <a:pt x="1640542" y="269233"/>
                    <a:pt x="1603131" y="290902"/>
                  </a:cubicBezTo>
                  <a:cubicBezTo>
                    <a:pt x="1650865" y="246337"/>
                    <a:pt x="1703199" y="206371"/>
                    <a:pt x="1759213" y="171516"/>
                  </a:cubicBezTo>
                  <a:cubicBezTo>
                    <a:pt x="1703199" y="196252"/>
                    <a:pt x="1647186" y="220988"/>
                    <a:pt x="1591172" y="245621"/>
                  </a:cubicBezTo>
                  <a:cubicBezTo>
                    <a:pt x="1644937" y="209949"/>
                    <a:pt x="1681121" y="151584"/>
                    <a:pt x="1687663" y="89744"/>
                  </a:cubicBezTo>
                  <a:cubicBezTo>
                    <a:pt x="1668344" y="129915"/>
                    <a:pt x="1637986" y="165281"/>
                    <a:pt x="1600269" y="191345"/>
                  </a:cubicBezTo>
                  <a:cubicBezTo>
                    <a:pt x="1636351" y="159250"/>
                    <a:pt x="1655158" y="110596"/>
                    <a:pt x="1649332" y="64088"/>
                  </a:cubicBezTo>
                  <a:cubicBezTo>
                    <a:pt x="1615397" y="128177"/>
                    <a:pt x="1563983" y="183884"/>
                    <a:pt x="1501428" y="224463"/>
                  </a:cubicBezTo>
                  <a:cubicBezTo>
                    <a:pt x="1557441" y="177240"/>
                    <a:pt x="1592808" y="108552"/>
                    <a:pt x="1597509" y="37717"/>
                  </a:cubicBezTo>
                  <a:cubicBezTo>
                    <a:pt x="1578395" y="79727"/>
                    <a:pt x="1548958" y="117444"/>
                    <a:pt x="1512160" y="147087"/>
                  </a:cubicBezTo>
                  <a:cubicBezTo>
                    <a:pt x="1535670" y="112129"/>
                    <a:pt x="1546300" y="69608"/>
                    <a:pt x="1541905" y="28416"/>
                  </a:cubicBezTo>
                  <a:cubicBezTo>
                    <a:pt x="1518089" y="76661"/>
                    <a:pt x="1481905" y="119387"/>
                    <a:pt x="1437237" y="151789"/>
                  </a:cubicBezTo>
                  <a:cubicBezTo>
                    <a:pt x="1464528" y="106303"/>
                    <a:pt x="1470866" y="49983"/>
                    <a:pt x="1454205" y="0"/>
                  </a:cubicBezTo>
                  <a:cubicBezTo>
                    <a:pt x="1443472" y="49370"/>
                    <a:pt x="1418736" y="95877"/>
                    <a:pt x="1383268" y="133390"/>
                  </a:cubicBezTo>
                  <a:cubicBezTo>
                    <a:pt x="1390014" y="114480"/>
                    <a:pt x="1392978" y="94344"/>
                    <a:pt x="1391854" y="74412"/>
                  </a:cubicBezTo>
                  <a:cubicBezTo>
                    <a:pt x="1380917" y="99864"/>
                    <a:pt x="1362927" y="129915"/>
                    <a:pt x="1333898" y="128586"/>
                  </a:cubicBezTo>
                  <a:cubicBezTo>
                    <a:pt x="1336147" y="97615"/>
                    <a:pt x="1334614" y="66337"/>
                    <a:pt x="1329299" y="35673"/>
                  </a:cubicBezTo>
                  <a:cubicBezTo>
                    <a:pt x="1327357" y="64395"/>
                    <a:pt x="1318975" y="92606"/>
                    <a:pt x="1304972" y="118058"/>
                  </a:cubicBezTo>
                  <a:cubicBezTo>
                    <a:pt x="1299861" y="127257"/>
                    <a:pt x="1293524" y="136661"/>
                    <a:pt x="1283609" y="141158"/>
                  </a:cubicBezTo>
                  <a:cubicBezTo>
                    <a:pt x="1273694" y="145758"/>
                    <a:pt x="1259486" y="143305"/>
                    <a:pt x="1255091" y="133799"/>
                  </a:cubicBezTo>
                  <a:cubicBezTo>
                    <a:pt x="1223507" y="198398"/>
                    <a:pt x="1140304" y="220272"/>
                    <a:pt x="1067834" y="239693"/>
                  </a:cubicBezTo>
                  <a:cubicBezTo>
                    <a:pt x="952025" y="270459"/>
                    <a:pt x="846438" y="303168"/>
                    <a:pt x="726949" y="293458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52AA4F0C-C468-4AE4-BACA-5813850C4EA9}"/>
                </a:ext>
              </a:extLst>
            </p:cNvPr>
            <p:cNvSpPr/>
            <p:nvPr/>
          </p:nvSpPr>
          <p:spPr>
            <a:xfrm>
              <a:off x="9737692" y="1367749"/>
              <a:ext cx="1101246" cy="760573"/>
            </a:xfrm>
            <a:custGeom>
              <a:avLst/>
              <a:gdLst>
                <a:gd name="connsiteX0" fmla="*/ 171465 w 1420780"/>
                <a:gd name="connsiteY0" fmla="*/ 663985 h 981258"/>
                <a:gd name="connsiteX1" fmla="*/ 214190 w 1420780"/>
                <a:gd name="connsiteY1" fmla="*/ 570152 h 981258"/>
                <a:gd name="connsiteX2" fmla="*/ 272657 w 1420780"/>
                <a:gd name="connsiteY2" fmla="*/ 659794 h 981258"/>
                <a:gd name="connsiteX3" fmla="*/ 195792 w 1420780"/>
                <a:gd name="connsiteY3" fmla="*/ 792775 h 981258"/>
                <a:gd name="connsiteX4" fmla="*/ 90511 w 1420780"/>
                <a:gd name="connsiteY4" fmla="*/ 942315 h 981258"/>
                <a:gd name="connsiteX5" fmla="*/ 121482 w 1420780"/>
                <a:gd name="connsiteY5" fmla="*/ 929129 h 981258"/>
                <a:gd name="connsiteX6" fmla="*/ 382844 w 1420780"/>
                <a:gd name="connsiteY6" fmla="*/ 557273 h 981258"/>
                <a:gd name="connsiteX7" fmla="*/ 709317 w 1420780"/>
                <a:gd name="connsiteY7" fmla="*/ 202691 h 981258"/>
                <a:gd name="connsiteX8" fmla="*/ 694394 w 1420780"/>
                <a:gd name="connsiteY8" fmla="*/ 175502 h 981258"/>
                <a:gd name="connsiteX9" fmla="*/ 742741 w 1420780"/>
                <a:gd name="connsiteY9" fmla="*/ 203713 h 981258"/>
                <a:gd name="connsiteX10" fmla="*/ 696029 w 1420780"/>
                <a:gd name="connsiteY10" fmla="*/ 144736 h 981258"/>
                <a:gd name="connsiteX11" fmla="*/ 756642 w 1420780"/>
                <a:gd name="connsiteY11" fmla="*/ 194207 h 981258"/>
                <a:gd name="connsiteX12" fmla="*/ 712690 w 1420780"/>
                <a:gd name="connsiteY12" fmla="*/ 138092 h 981258"/>
                <a:gd name="connsiteX13" fmla="*/ 985602 w 1420780"/>
                <a:gd name="connsiteY13" fmla="*/ 214139 h 981258"/>
                <a:gd name="connsiteX14" fmla="*/ 901480 w 1420780"/>
                <a:gd name="connsiteY14" fmla="*/ 171823 h 981258"/>
                <a:gd name="connsiteX15" fmla="*/ 1306351 w 1420780"/>
                <a:gd name="connsiteY15" fmla="*/ 90153 h 981258"/>
                <a:gd name="connsiteX16" fmla="*/ 1211599 w 1420780"/>
                <a:gd name="connsiteY16" fmla="*/ 109778 h 981258"/>
                <a:gd name="connsiteX17" fmla="*/ 1429724 w 1420780"/>
                <a:gd name="connsiteY17" fmla="*/ 0 h 981258"/>
                <a:gd name="connsiteX18" fmla="*/ 963831 w 1420780"/>
                <a:gd name="connsiteY18" fmla="*/ 301737 h 981258"/>
                <a:gd name="connsiteX19" fmla="*/ 745603 w 1420780"/>
                <a:gd name="connsiteY19" fmla="*/ 354582 h 981258"/>
                <a:gd name="connsiteX20" fmla="*/ 635109 w 1420780"/>
                <a:gd name="connsiteY20" fmla="*/ 434105 h 981258"/>
                <a:gd name="connsiteX21" fmla="*/ 162265 w 1420780"/>
                <a:gd name="connsiteY21" fmla="*/ 967562 h 981258"/>
                <a:gd name="connsiteX22" fmla="*/ 146729 w 1420780"/>
                <a:gd name="connsiteY22" fmla="*/ 980339 h 981258"/>
                <a:gd name="connsiteX23" fmla="*/ 118313 w 1420780"/>
                <a:gd name="connsiteY23" fmla="*/ 975535 h 981258"/>
                <a:gd name="connsiteX24" fmla="*/ 15076 w 1420780"/>
                <a:gd name="connsiteY24" fmla="*/ 905313 h 981258"/>
                <a:gd name="connsiteX25" fmla="*/ 34804 w 1420780"/>
                <a:gd name="connsiteY25" fmla="*/ 794411 h 981258"/>
                <a:gd name="connsiteX26" fmla="*/ 171465 w 1420780"/>
                <a:gd name="connsiteY26" fmla="*/ 663985 h 981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20780" h="981258">
                  <a:moveTo>
                    <a:pt x="171465" y="663985"/>
                  </a:moveTo>
                  <a:cubicBezTo>
                    <a:pt x="197631" y="638022"/>
                    <a:pt x="225945" y="604292"/>
                    <a:pt x="214190" y="570152"/>
                  </a:cubicBezTo>
                  <a:cubicBezTo>
                    <a:pt x="249352" y="586506"/>
                    <a:pt x="272963" y="622793"/>
                    <a:pt x="272657" y="659794"/>
                  </a:cubicBezTo>
                  <a:cubicBezTo>
                    <a:pt x="272146" y="711413"/>
                    <a:pt x="230851" y="753218"/>
                    <a:pt x="195792" y="792775"/>
                  </a:cubicBezTo>
                  <a:cubicBezTo>
                    <a:pt x="155008" y="838772"/>
                    <a:pt x="119642" y="889061"/>
                    <a:pt x="90511" y="942315"/>
                  </a:cubicBezTo>
                  <a:cubicBezTo>
                    <a:pt x="101959" y="945075"/>
                    <a:pt x="112998" y="937000"/>
                    <a:pt x="121482" y="929129"/>
                  </a:cubicBezTo>
                  <a:cubicBezTo>
                    <a:pt x="234838" y="825177"/>
                    <a:pt x="296473" y="682281"/>
                    <a:pt x="382844" y="557273"/>
                  </a:cubicBezTo>
                  <a:cubicBezTo>
                    <a:pt x="473610" y="425723"/>
                    <a:pt x="591873" y="313696"/>
                    <a:pt x="709317" y="202691"/>
                  </a:cubicBezTo>
                  <a:cubicBezTo>
                    <a:pt x="707886" y="192368"/>
                    <a:pt x="702469" y="182555"/>
                    <a:pt x="694394" y="175502"/>
                  </a:cubicBezTo>
                  <a:cubicBezTo>
                    <a:pt x="708908" y="187052"/>
                    <a:pt x="725262" y="196661"/>
                    <a:pt x="742741" y="203713"/>
                  </a:cubicBezTo>
                  <a:cubicBezTo>
                    <a:pt x="727204" y="184088"/>
                    <a:pt x="711668" y="164361"/>
                    <a:pt x="696029" y="144736"/>
                  </a:cubicBezTo>
                  <a:cubicBezTo>
                    <a:pt x="714223" y="163339"/>
                    <a:pt x="734564" y="179897"/>
                    <a:pt x="756642" y="194207"/>
                  </a:cubicBezTo>
                  <a:cubicBezTo>
                    <a:pt x="742026" y="175502"/>
                    <a:pt x="727307" y="156797"/>
                    <a:pt x="712690" y="138092"/>
                  </a:cubicBezTo>
                  <a:cubicBezTo>
                    <a:pt x="788124" y="194616"/>
                    <a:pt x="889828" y="205451"/>
                    <a:pt x="985602" y="214139"/>
                  </a:cubicBezTo>
                  <a:cubicBezTo>
                    <a:pt x="957596" y="200034"/>
                    <a:pt x="929487" y="185928"/>
                    <a:pt x="901480" y="171823"/>
                  </a:cubicBezTo>
                  <a:cubicBezTo>
                    <a:pt x="1040696" y="197887"/>
                    <a:pt x="1190543" y="167632"/>
                    <a:pt x="1306351" y="90153"/>
                  </a:cubicBezTo>
                  <a:cubicBezTo>
                    <a:pt x="1276505" y="102521"/>
                    <a:pt x="1244103" y="109267"/>
                    <a:pt x="1211599" y="109778"/>
                  </a:cubicBezTo>
                  <a:cubicBezTo>
                    <a:pt x="1291326" y="88007"/>
                    <a:pt x="1366147" y="50392"/>
                    <a:pt x="1429724" y="0"/>
                  </a:cubicBezTo>
                  <a:cubicBezTo>
                    <a:pt x="1323115" y="152095"/>
                    <a:pt x="1152314" y="262691"/>
                    <a:pt x="963831" y="301737"/>
                  </a:cubicBezTo>
                  <a:cubicBezTo>
                    <a:pt x="890237" y="316967"/>
                    <a:pt x="812758" y="322282"/>
                    <a:pt x="745603" y="354582"/>
                  </a:cubicBezTo>
                  <a:cubicBezTo>
                    <a:pt x="704206" y="374514"/>
                    <a:pt x="668738" y="403849"/>
                    <a:pt x="635109" y="434105"/>
                  </a:cubicBezTo>
                  <a:cubicBezTo>
                    <a:pt x="456949" y="594070"/>
                    <a:pt x="315280" y="785927"/>
                    <a:pt x="162265" y="967562"/>
                  </a:cubicBezTo>
                  <a:cubicBezTo>
                    <a:pt x="157972" y="972673"/>
                    <a:pt x="153270" y="978090"/>
                    <a:pt x="146729" y="980339"/>
                  </a:cubicBezTo>
                  <a:cubicBezTo>
                    <a:pt x="137427" y="983507"/>
                    <a:pt x="127308" y="979419"/>
                    <a:pt x="118313" y="975535"/>
                  </a:cubicBezTo>
                  <a:cubicBezTo>
                    <a:pt x="79369" y="958260"/>
                    <a:pt x="38381" y="939453"/>
                    <a:pt x="15076" y="905313"/>
                  </a:cubicBezTo>
                  <a:cubicBezTo>
                    <a:pt x="-12521" y="865143"/>
                    <a:pt x="-51" y="823031"/>
                    <a:pt x="34804" y="794411"/>
                  </a:cubicBezTo>
                  <a:cubicBezTo>
                    <a:pt x="83458" y="754445"/>
                    <a:pt x="126695" y="708346"/>
                    <a:pt x="171465" y="66398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B33F31C-84B9-4B3A-A73A-03964E382854}"/>
                </a:ext>
              </a:extLst>
            </p:cNvPr>
            <p:cNvSpPr/>
            <p:nvPr/>
          </p:nvSpPr>
          <p:spPr>
            <a:xfrm>
              <a:off x="9211589" y="1875280"/>
              <a:ext cx="419900" cy="174298"/>
            </a:xfrm>
            <a:custGeom>
              <a:avLst/>
              <a:gdLst>
                <a:gd name="connsiteX0" fmla="*/ 120307 w 541736"/>
                <a:gd name="connsiteY0" fmla="*/ 71335 h 224871"/>
                <a:gd name="connsiteX1" fmla="*/ 317786 w 541736"/>
                <a:gd name="connsiteY1" fmla="*/ 92 h 224871"/>
                <a:gd name="connsiteX2" fmla="*/ 243987 w 541736"/>
                <a:gd name="connsiteY2" fmla="*/ 31676 h 224871"/>
                <a:gd name="connsiteX3" fmla="*/ 387291 w 541736"/>
                <a:gd name="connsiteY3" fmla="*/ 28712 h 224871"/>
                <a:gd name="connsiteX4" fmla="*/ 508824 w 541736"/>
                <a:gd name="connsiteY4" fmla="*/ 95867 h 224871"/>
                <a:gd name="connsiteX5" fmla="*/ 545724 w 541736"/>
                <a:gd name="connsiteY5" fmla="*/ 153005 h 224871"/>
                <a:gd name="connsiteX6" fmla="*/ 408245 w 541736"/>
                <a:gd name="connsiteY6" fmla="*/ 99751 h 224871"/>
                <a:gd name="connsiteX7" fmla="*/ 342215 w 541736"/>
                <a:gd name="connsiteY7" fmla="*/ 78286 h 224871"/>
                <a:gd name="connsiteX8" fmla="*/ 184498 w 541736"/>
                <a:gd name="connsiteY8" fmla="*/ 99240 h 224871"/>
                <a:gd name="connsiteX9" fmla="*/ 55912 w 541736"/>
                <a:gd name="connsiteY9" fmla="*/ 191437 h 224871"/>
                <a:gd name="connsiteX10" fmla="*/ 3681 w 541736"/>
                <a:gd name="connsiteY10" fmla="*/ 232630 h 224871"/>
                <a:gd name="connsiteX11" fmla="*/ 26168 w 541736"/>
                <a:gd name="connsiteY11" fmla="*/ 178149 h 224871"/>
                <a:gd name="connsiteX12" fmla="*/ 120307 w 541736"/>
                <a:gd name="connsiteY12" fmla="*/ 71335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41736" h="224871">
                  <a:moveTo>
                    <a:pt x="120307" y="71335"/>
                  </a:moveTo>
                  <a:cubicBezTo>
                    <a:pt x="175196" y="27179"/>
                    <a:pt x="245724" y="-1850"/>
                    <a:pt x="317786" y="92"/>
                  </a:cubicBezTo>
                  <a:cubicBezTo>
                    <a:pt x="293152" y="10620"/>
                    <a:pt x="268620" y="21148"/>
                    <a:pt x="243987" y="31676"/>
                  </a:cubicBezTo>
                  <a:cubicBezTo>
                    <a:pt x="291312" y="24010"/>
                    <a:pt x="340068" y="20126"/>
                    <a:pt x="387291" y="28712"/>
                  </a:cubicBezTo>
                  <a:cubicBezTo>
                    <a:pt x="434514" y="37298"/>
                    <a:pt x="480204" y="59478"/>
                    <a:pt x="508824" y="95867"/>
                  </a:cubicBezTo>
                  <a:cubicBezTo>
                    <a:pt x="522930" y="113754"/>
                    <a:pt x="532436" y="134504"/>
                    <a:pt x="545724" y="153005"/>
                  </a:cubicBezTo>
                  <a:cubicBezTo>
                    <a:pt x="499932" y="135219"/>
                    <a:pt x="454140" y="117434"/>
                    <a:pt x="408245" y="99751"/>
                  </a:cubicBezTo>
                  <a:cubicBezTo>
                    <a:pt x="386678" y="91369"/>
                    <a:pt x="365009" y="82988"/>
                    <a:pt x="342215" y="78286"/>
                  </a:cubicBezTo>
                  <a:cubicBezTo>
                    <a:pt x="289370" y="67349"/>
                    <a:pt x="233254" y="77264"/>
                    <a:pt x="184498" y="99240"/>
                  </a:cubicBezTo>
                  <a:cubicBezTo>
                    <a:pt x="135639" y="121216"/>
                    <a:pt x="93425" y="154640"/>
                    <a:pt x="55912" y="191437"/>
                  </a:cubicBezTo>
                  <a:cubicBezTo>
                    <a:pt x="48348" y="198797"/>
                    <a:pt x="16253" y="236718"/>
                    <a:pt x="3681" y="232630"/>
                  </a:cubicBezTo>
                  <a:cubicBezTo>
                    <a:pt x="-10425" y="228030"/>
                    <a:pt x="20137" y="187451"/>
                    <a:pt x="26168" y="178149"/>
                  </a:cubicBezTo>
                  <a:cubicBezTo>
                    <a:pt x="51824" y="138490"/>
                    <a:pt x="82692" y="101489"/>
                    <a:pt x="120307" y="71335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6D552D14-4BED-4430-9034-C17A7A63E900}"/>
                </a:ext>
              </a:extLst>
            </p:cNvPr>
            <p:cNvSpPr/>
            <p:nvPr/>
          </p:nvSpPr>
          <p:spPr>
            <a:xfrm>
              <a:off x="9692176" y="2409971"/>
              <a:ext cx="1719210" cy="2614467"/>
            </a:xfrm>
            <a:custGeom>
              <a:avLst/>
              <a:gdLst>
                <a:gd name="connsiteX0" fmla="*/ 497171 w 2218053"/>
                <a:gd name="connsiteY0" fmla="*/ 0 h 3373076"/>
                <a:gd name="connsiteX1" fmla="*/ 527324 w 2218053"/>
                <a:gd name="connsiteY1" fmla="*/ 494411 h 3373076"/>
                <a:gd name="connsiteX2" fmla="*/ 526200 w 2218053"/>
                <a:gd name="connsiteY2" fmla="*/ 736557 h 3373076"/>
                <a:gd name="connsiteX3" fmla="*/ 542554 w 2218053"/>
                <a:gd name="connsiteY3" fmla="*/ 848584 h 3373076"/>
                <a:gd name="connsiteX4" fmla="*/ 459352 w 2218053"/>
                <a:gd name="connsiteY4" fmla="*/ 910526 h 3373076"/>
                <a:gd name="connsiteX5" fmla="*/ 601941 w 2218053"/>
                <a:gd name="connsiteY5" fmla="*/ 908073 h 3373076"/>
                <a:gd name="connsiteX6" fmla="*/ 232538 w 2218053"/>
                <a:gd name="connsiteY6" fmla="*/ 1129674 h 3373076"/>
                <a:gd name="connsiteX7" fmla="*/ 410595 w 2218053"/>
                <a:gd name="connsiteY7" fmla="*/ 1104427 h 3373076"/>
                <a:gd name="connsiteX8" fmla="*/ 231516 w 2218053"/>
                <a:gd name="connsiteY8" fmla="*/ 1195193 h 3373076"/>
                <a:gd name="connsiteX9" fmla="*/ 361533 w 2218053"/>
                <a:gd name="connsiteY9" fmla="*/ 1164018 h 3373076"/>
                <a:gd name="connsiteX10" fmla="*/ 260034 w 2218053"/>
                <a:gd name="connsiteY10" fmla="*/ 1218907 h 3373076"/>
                <a:gd name="connsiteX11" fmla="*/ 0 w 2218053"/>
                <a:gd name="connsiteY11" fmla="*/ 1558566 h 3373076"/>
                <a:gd name="connsiteX12" fmla="*/ 144634 w 2218053"/>
                <a:gd name="connsiteY12" fmla="*/ 1418634 h 3373076"/>
                <a:gd name="connsiteX13" fmla="*/ 493696 w 2218053"/>
                <a:gd name="connsiteY13" fmla="*/ 1183848 h 3373076"/>
                <a:gd name="connsiteX14" fmla="*/ 411822 w 2218053"/>
                <a:gd name="connsiteY14" fmla="*/ 1348924 h 3373076"/>
                <a:gd name="connsiteX15" fmla="*/ 462009 w 2218053"/>
                <a:gd name="connsiteY15" fmla="*/ 1249469 h 3373076"/>
                <a:gd name="connsiteX16" fmla="*/ 350289 w 2218053"/>
                <a:gd name="connsiteY16" fmla="*/ 1468208 h 3373076"/>
                <a:gd name="connsiteX17" fmla="*/ 556251 w 2218053"/>
                <a:gd name="connsiteY17" fmla="*/ 1281462 h 3373076"/>
                <a:gd name="connsiteX18" fmla="*/ 643031 w 2218053"/>
                <a:gd name="connsiteY18" fmla="*/ 1602314 h 3373076"/>
                <a:gd name="connsiteX19" fmla="*/ 923610 w 2218053"/>
                <a:gd name="connsiteY19" fmla="*/ 2072500 h 3373076"/>
                <a:gd name="connsiteX20" fmla="*/ 885893 w 2218053"/>
                <a:gd name="connsiteY20" fmla="*/ 1942381 h 3373076"/>
                <a:gd name="connsiteX21" fmla="*/ 1364256 w 2218053"/>
                <a:gd name="connsiteY21" fmla="*/ 2680063 h 3373076"/>
                <a:gd name="connsiteX22" fmla="*/ 1600474 w 2218053"/>
                <a:gd name="connsiteY22" fmla="*/ 3176416 h 3373076"/>
                <a:gd name="connsiteX23" fmla="*/ 1653216 w 2218053"/>
                <a:gd name="connsiteY23" fmla="*/ 3019619 h 3373076"/>
                <a:gd name="connsiteX24" fmla="*/ 1667424 w 2218053"/>
                <a:gd name="connsiteY24" fmla="*/ 3164661 h 3373076"/>
                <a:gd name="connsiteX25" fmla="*/ 1730490 w 2218053"/>
                <a:gd name="connsiteY25" fmla="*/ 2954917 h 3373076"/>
                <a:gd name="connsiteX26" fmla="*/ 1742756 w 2218053"/>
                <a:gd name="connsiteY26" fmla="*/ 3168852 h 3373076"/>
                <a:gd name="connsiteX27" fmla="*/ 1789979 w 2218053"/>
                <a:gd name="connsiteY27" fmla="*/ 3018801 h 3373076"/>
                <a:gd name="connsiteX28" fmla="*/ 1795090 w 2218053"/>
                <a:gd name="connsiteY28" fmla="*/ 3187353 h 3373076"/>
                <a:gd name="connsiteX29" fmla="*/ 1829945 w 2218053"/>
                <a:gd name="connsiteY29" fmla="*/ 3017881 h 3373076"/>
                <a:gd name="connsiteX30" fmla="*/ 2030899 w 2218053"/>
                <a:gd name="connsiteY30" fmla="*/ 3277608 h 3373076"/>
                <a:gd name="connsiteX31" fmla="*/ 2227764 w 2218053"/>
                <a:gd name="connsiteY31" fmla="*/ 3373588 h 3373076"/>
                <a:gd name="connsiteX32" fmla="*/ 1256113 w 2218053"/>
                <a:gd name="connsiteY32" fmla="*/ 1824630 h 3373076"/>
                <a:gd name="connsiteX33" fmla="*/ 1055058 w 2218053"/>
                <a:gd name="connsiteY33" fmla="*/ 1505823 h 3373076"/>
                <a:gd name="connsiteX34" fmla="*/ 864121 w 2218053"/>
                <a:gd name="connsiteY34" fmla="*/ 1178021 h 3373076"/>
                <a:gd name="connsiteX35" fmla="*/ 744019 w 2218053"/>
                <a:gd name="connsiteY35" fmla="*/ 952230 h 3373076"/>
                <a:gd name="connsiteX36" fmla="*/ 497171 w 2218053"/>
                <a:gd name="connsiteY36" fmla="*/ 0 h 3373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218053" h="3373076">
                  <a:moveTo>
                    <a:pt x="497171" y="0"/>
                  </a:moveTo>
                  <a:cubicBezTo>
                    <a:pt x="548687" y="158841"/>
                    <a:pt x="543883" y="329028"/>
                    <a:pt x="527324" y="494411"/>
                  </a:cubicBezTo>
                  <a:cubicBezTo>
                    <a:pt x="519249" y="575059"/>
                    <a:pt x="508619" y="657239"/>
                    <a:pt x="526200" y="736557"/>
                  </a:cubicBezTo>
                  <a:cubicBezTo>
                    <a:pt x="534479" y="773763"/>
                    <a:pt x="548994" y="811174"/>
                    <a:pt x="542554" y="848584"/>
                  </a:cubicBezTo>
                  <a:cubicBezTo>
                    <a:pt x="536115" y="886097"/>
                    <a:pt x="497478" y="922383"/>
                    <a:pt x="459352" y="910526"/>
                  </a:cubicBezTo>
                  <a:cubicBezTo>
                    <a:pt x="506882" y="909708"/>
                    <a:pt x="554411" y="908891"/>
                    <a:pt x="601941" y="908073"/>
                  </a:cubicBezTo>
                  <a:cubicBezTo>
                    <a:pt x="531311" y="1031753"/>
                    <a:pt x="326371" y="1020713"/>
                    <a:pt x="232538" y="1129674"/>
                  </a:cubicBezTo>
                  <a:cubicBezTo>
                    <a:pt x="290084" y="1112911"/>
                    <a:pt x="350391" y="1104427"/>
                    <a:pt x="410595" y="1104427"/>
                  </a:cubicBezTo>
                  <a:cubicBezTo>
                    <a:pt x="342827" y="1115977"/>
                    <a:pt x="279148" y="1148175"/>
                    <a:pt x="231516" y="1195193"/>
                  </a:cubicBezTo>
                  <a:cubicBezTo>
                    <a:pt x="274855" y="1184768"/>
                    <a:pt x="318193" y="1174444"/>
                    <a:pt x="361533" y="1164018"/>
                  </a:cubicBezTo>
                  <a:cubicBezTo>
                    <a:pt x="321464" y="1164325"/>
                    <a:pt x="288143" y="1191922"/>
                    <a:pt x="260034" y="1218907"/>
                  </a:cubicBezTo>
                  <a:cubicBezTo>
                    <a:pt x="155877" y="1318873"/>
                    <a:pt x="67870" y="1433762"/>
                    <a:pt x="0" y="1558566"/>
                  </a:cubicBezTo>
                  <a:cubicBezTo>
                    <a:pt x="48245" y="1511956"/>
                    <a:pt x="96388" y="1465244"/>
                    <a:pt x="144634" y="1418634"/>
                  </a:cubicBezTo>
                  <a:cubicBezTo>
                    <a:pt x="245723" y="1320815"/>
                    <a:pt x="353866" y="1219009"/>
                    <a:pt x="493696" y="1183848"/>
                  </a:cubicBezTo>
                  <a:cubicBezTo>
                    <a:pt x="450970" y="1230253"/>
                    <a:pt x="422248" y="1288209"/>
                    <a:pt x="411822" y="1348924"/>
                  </a:cubicBezTo>
                  <a:cubicBezTo>
                    <a:pt x="423270" y="1313660"/>
                    <a:pt x="440238" y="1280032"/>
                    <a:pt x="462009" y="1249469"/>
                  </a:cubicBezTo>
                  <a:cubicBezTo>
                    <a:pt x="448619" y="1330627"/>
                    <a:pt x="409165" y="1407800"/>
                    <a:pt x="350289" y="1468208"/>
                  </a:cubicBezTo>
                  <a:cubicBezTo>
                    <a:pt x="430016" y="1418225"/>
                    <a:pt x="500135" y="1354648"/>
                    <a:pt x="556251" y="1281462"/>
                  </a:cubicBezTo>
                  <a:cubicBezTo>
                    <a:pt x="518023" y="1390730"/>
                    <a:pt x="583236" y="1502143"/>
                    <a:pt x="643031" y="1602314"/>
                  </a:cubicBezTo>
                  <a:cubicBezTo>
                    <a:pt x="736557" y="1759008"/>
                    <a:pt x="830084" y="1915805"/>
                    <a:pt x="923610" y="2072500"/>
                  </a:cubicBezTo>
                  <a:cubicBezTo>
                    <a:pt x="911037" y="2029161"/>
                    <a:pt x="898465" y="1985720"/>
                    <a:pt x="885893" y="1942381"/>
                  </a:cubicBezTo>
                  <a:cubicBezTo>
                    <a:pt x="1040645" y="2190967"/>
                    <a:pt x="1200100" y="2436894"/>
                    <a:pt x="1364256" y="2680063"/>
                  </a:cubicBezTo>
                  <a:cubicBezTo>
                    <a:pt x="1468413" y="2834406"/>
                    <a:pt x="1577373" y="2994576"/>
                    <a:pt x="1600474" y="3176416"/>
                  </a:cubicBezTo>
                  <a:cubicBezTo>
                    <a:pt x="1627050" y="3127353"/>
                    <a:pt x="1644937" y="3074201"/>
                    <a:pt x="1653216" y="3019619"/>
                  </a:cubicBezTo>
                  <a:cubicBezTo>
                    <a:pt x="1657918" y="3067966"/>
                    <a:pt x="1662722" y="3116313"/>
                    <a:pt x="1667424" y="3164661"/>
                  </a:cubicBezTo>
                  <a:cubicBezTo>
                    <a:pt x="1708208" y="3101902"/>
                    <a:pt x="1730286" y="3028512"/>
                    <a:pt x="1730490" y="2954917"/>
                  </a:cubicBezTo>
                  <a:cubicBezTo>
                    <a:pt x="1757475" y="3028205"/>
                    <a:pt x="1764221" y="3094031"/>
                    <a:pt x="1742756" y="3168852"/>
                  </a:cubicBezTo>
                  <a:cubicBezTo>
                    <a:pt x="1765346" y="3121118"/>
                    <a:pt x="1781291" y="3070522"/>
                    <a:pt x="1789979" y="3018801"/>
                  </a:cubicBezTo>
                  <a:cubicBezTo>
                    <a:pt x="1802654" y="3074099"/>
                    <a:pt x="1804392" y="3131544"/>
                    <a:pt x="1795090" y="3187353"/>
                  </a:cubicBezTo>
                  <a:cubicBezTo>
                    <a:pt x="1812466" y="3132157"/>
                    <a:pt x="1824119" y="3075224"/>
                    <a:pt x="1829945" y="3017881"/>
                  </a:cubicBezTo>
                  <a:cubicBezTo>
                    <a:pt x="1854068" y="3126024"/>
                    <a:pt x="1929195" y="3223025"/>
                    <a:pt x="2030899" y="3277608"/>
                  </a:cubicBezTo>
                  <a:cubicBezTo>
                    <a:pt x="2095294" y="3312157"/>
                    <a:pt x="2169502" y="3330453"/>
                    <a:pt x="2227764" y="3373588"/>
                  </a:cubicBezTo>
                  <a:cubicBezTo>
                    <a:pt x="1888821" y="2865888"/>
                    <a:pt x="1564801" y="2349297"/>
                    <a:pt x="1256113" y="1824630"/>
                  </a:cubicBezTo>
                  <a:cubicBezTo>
                    <a:pt x="1193558" y="1718327"/>
                    <a:pt x="1117102" y="1612330"/>
                    <a:pt x="1055058" y="1505823"/>
                  </a:cubicBezTo>
                  <a:cubicBezTo>
                    <a:pt x="991378" y="1396556"/>
                    <a:pt x="927800" y="1287289"/>
                    <a:pt x="864121" y="1178021"/>
                  </a:cubicBezTo>
                  <a:cubicBezTo>
                    <a:pt x="821089" y="1104223"/>
                    <a:pt x="778056" y="1030117"/>
                    <a:pt x="744019" y="952230"/>
                  </a:cubicBezTo>
                  <a:cubicBezTo>
                    <a:pt x="611140" y="647733"/>
                    <a:pt x="615229" y="310119"/>
                    <a:pt x="497171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BE662AD-628B-44E3-B8AE-8A7ABFDD407A}"/>
                </a:ext>
              </a:extLst>
            </p:cNvPr>
            <p:cNvSpPr/>
            <p:nvPr/>
          </p:nvSpPr>
          <p:spPr>
            <a:xfrm>
              <a:off x="8869960" y="2253241"/>
              <a:ext cx="522893" cy="221833"/>
            </a:xfrm>
            <a:custGeom>
              <a:avLst/>
              <a:gdLst>
                <a:gd name="connsiteX0" fmla="*/ 20961 w 674615"/>
                <a:gd name="connsiteY0" fmla="*/ 63501 h 286200"/>
                <a:gd name="connsiteX1" fmla="*/ 54590 w 674615"/>
                <a:gd name="connsiteY1" fmla="*/ 235119 h 286200"/>
                <a:gd name="connsiteX2" fmla="*/ 319938 w 674615"/>
                <a:gd name="connsiteY2" fmla="*/ 285102 h 286200"/>
                <a:gd name="connsiteX3" fmla="*/ 609001 w 674615"/>
                <a:gd name="connsiteY3" fmla="*/ 213450 h 286200"/>
                <a:gd name="connsiteX4" fmla="*/ 679529 w 674615"/>
                <a:gd name="connsiteY4" fmla="*/ 4217 h 286200"/>
                <a:gd name="connsiteX5" fmla="*/ 667979 w 674615"/>
                <a:gd name="connsiteY5" fmla="*/ 3910 h 286200"/>
                <a:gd name="connsiteX6" fmla="*/ 579972 w 674615"/>
                <a:gd name="connsiteY6" fmla="*/ 176244 h 286200"/>
                <a:gd name="connsiteX7" fmla="*/ 386582 w 674615"/>
                <a:gd name="connsiteY7" fmla="*/ 245136 h 286200"/>
                <a:gd name="connsiteX8" fmla="*/ 41097 w 674615"/>
                <a:gd name="connsiteY8" fmla="*/ 71883 h 286200"/>
                <a:gd name="connsiteX9" fmla="*/ 20961 w 674615"/>
                <a:gd name="connsiteY9" fmla="*/ 63501 h 286200"/>
                <a:gd name="connsiteX10" fmla="*/ 20961 w 674615"/>
                <a:gd name="connsiteY10" fmla="*/ 63501 h 28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4615" h="286200">
                  <a:moveTo>
                    <a:pt x="20961" y="63501"/>
                  </a:moveTo>
                  <a:cubicBezTo>
                    <a:pt x="-18289" y="121866"/>
                    <a:pt x="212" y="190554"/>
                    <a:pt x="54590" y="235119"/>
                  </a:cubicBezTo>
                  <a:cubicBezTo>
                    <a:pt x="124095" y="292052"/>
                    <a:pt x="234487" y="291439"/>
                    <a:pt x="319938" y="285102"/>
                  </a:cubicBezTo>
                  <a:cubicBezTo>
                    <a:pt x="414793" y="278151"/>
                    <a:pt x="531829" y="273552"/>
                    <a:pt x="609001" y="213450"/>
                  </a:cubicBezTo>
                  <a:cubicBezTo>
                    <a:pt x="669614" y="166227"/>
                    <a:pt x="691488" y="75256"/>
                    <a:pt x="679529" y="4217"/>
                  </a:cubicBezTo>
                  <a:cubicBezTo>
                    <a:pt x="678507" y="-1610"/>
                    <a:pt x="669716" y="-1098"/>
                    <a:pt x="667979" y="3910"/>
                  </a:cubicBezTo>
                  <a:cubicBezTo>
                    <a:pt x="644060" y="73416"/>
                    <a:pt x="649989" y="127078"/>
                    <a:pt x="579972" y="176244"/>
                  </a:cubicBezTo>
                  <a:cubicBezTo>
                    <a:pt x="525185" y="214676"/>
                    <a:pt x="452102" y="229599"/>
                    <a:pt x="386582" y="245136"/>
                  </a:cubicBezTo>
                  <a:cubicBezTo>
                    <a:pt x="266071" y="273552"/>
                    <a:pt x="-20538" y="264352"/>
                    <a:pt x="41097" y="71883"/>
                  </a:cubicBezTo>
                  <a:cubicBezTo>
                    <a:pt x="44982" y="60332"/>
                    <a:pt x="27809" y="53484"/>
                    <a:pt x="20961" y="63501"/>
                  </a:cubicBezTo>
                  <a:lnTo>
                    <a:pt x="20961" y="63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8E825A0-69EC-4EB9-AB5A-555BA77D447F}"/>
                </a:ext>
              </a:extLst>
            </p:cNvPr>
            <p:cNvSpPr/>
            <p:nvPr/>
          </p:nvSpPr>
          <p:spPr>
            <a:xfrm>
              <a:off x="8874986" y="1921653"/>
              <a:ext cx="1156704" cy="411977"/>
            </a:xfrm>
            <a:custGeom>
              <a:avLst/>
              <a:gdLst>
                <a:gd name="connsiteX0" fmla="*/ 21735 w 1492330"/>
                <a:gd name="connsiteY0" fmla="*/ 536072 h 531515"/>
                <a:gd name="connsiteX1" fmla="*/ 337271 w 1492330"/>
                <a:gd name="connsiteY1" fmla="*/ 281660 h 531515"/>
                <a:gd name="connsiteX2" fmla="*/ 747764 w 1492330"/>
                <a:gd name="connsiteY2" fmla="*/ 31337 h 531515"/>
                <a:gd name="connsiteX3" fmla="*/ 1132703 w 1492330"/>
                <a:gd name="connsiteY3" fmla="*/ 229326 h 531515"/>
                <a:gd name="connsiteX4" fmla="*/ 1308308 w 1492330"/>
                <a:gd name="connsiteY4" fmla="*/ 342273 h 531515"/>
                <a:gd name="connsiteX5" fmla="*/ 1481050 w 1492330"/>
                <a:gd name="connsiteY5" fmla="*/ 502852 h 531515"/>
                <a:gd name="connsiteX6" fmla="*/ 1496689 w 1492330"/>
                <a:gd name="connsiteY6" fmla="*/ 494777 h 531515"/>
                <a:gd name="connsiteX7" fmla="*/ 1157542 w 1492330"/>
                <a:gd name="connsiteY7" fmla="*/ 190382 h 531515"/>
                <a:gd name="connsiteX8" fmla="*/ 726810 w 1492330"/>
                <a:gd name="connsiteY8" fmla="*/ 1081 h 531515"/>
                <a:gd name="connsiteX9" fmla="*/ 350865 w 1492330"/>
                <a:gd name="connsiteY9" fmla="*/ 230450 h 531515"/>
                <a:gd name="connsiteX10" fmla="*/ 108004 w 1492330"/>
                <a:gd name="connsiteY10" fmla="*/ 394504 h 531515"/>
                <a:gd name="connsiteX11" fmla="*/ 270 w 1492330"/>
                <a:gd name="connsiteY11" fmla="*/ 527077 h 531515"/>
                <a:gd name="connsiteX12" fmla="*/ 21735 w 1492330"/>
                <a:gd name="connsiteY12" fmla="*/ 536072 h 531515"/>
                <a:gd name="connsiteX13" fmla="*/ 21735 w 1492330"/>
                <a:gd name="connsiteY13" fmla="*/ 53607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492330" h="531515">
                  <a:moveTo>
                    <a:pt x="21735" y="536072"/>
                  </a:moveTo>
                  <a:cubicBezTo>
                    <a:pt x="98804" y="425271"/>
                    <a:pt x="232092" y="366089"/>
                    <a:pt x="337271" y="281660"/>
                  </a:cubicBezTo>
                  <a:cubicBezTo>
                    <a:pt x="451240" y="190178"/>
                    <a:pt x="582176" y="4761"/>
                    <a:pt x="747764" y="31337"/>
                  </a:cubicBezTo>
                  <a:cubicBezTo>
                    <a:pt x="896281" y="55255"/>
                    <a:pt x="1014339" y="148781"/>
                    <a:pt x="1132703" y="229326"/>
                  </a:cubicBezTo>
                  <a:cubicBezTo>
                    <a:pt x="1190148" y="268474"/>
                    <a:pt x="1250557" y="303636"/>
                    <a:pt x="1308308" y="342273"/>
                  </a:cubicBezTo>
                  <a:cubicBezTo>
                    <a:pt x="1378631" y="389394"/>
                    <a:pt x="1426672" y="441217"/>
                    <a:pt x="1481050" y="502852"/>
                  </a:cubicBezTo>
                  <a:cubicBezTo>
                    <a:pt x="1487490" y="510109"/>
                    <a:pt x="1497711" y="502443"/>
                    <a:pt x="1496689" y="494777"/>
                  </a:cubicBezTo>
                  <a:cubicBezTo>
                    <a:pt x="1476655" y="352188"/>
                    <a:pt x="1272226" y="256924"/>
                    <a:pt x="1157542" y="190382"/>
                  </a:cubicBezTo>
                  <a:cubicBezTo>
                    <a:pt x="1028751" y="115663"/>
                    <a:pt x="881665" y="14982"/>
                    <a:pt x="726810" y="1081"/>
                  </a:cubicBezTo>
                  <a:cubicBezTo>
                    <a:pt x="557543" y="-14149"/>
                    <a:pt x="463812" y="134982"/>
                    <a:pt x="350865" y="230450"/>
                  </a:cubicBezTo>
                  <a:cubicBezTo>
                    <a:pt x="275022" y="294539"/>
                    <a:pt x="190593" y="340229"/>
                    <a:pt x="108004" y="394504"/>
                  </a:cubicBezTo>
                  <a:cubicBezTo>
                    <a:pt x="57305" y="427929"/>
                    <a:pt x="11922" y="467690"/>
                    <a:pt x="270" y="527077"/>
                  </a:cubicBezTo>
                  <a:cubicBezTo>
                    <a:pt x="-2286" y="539342"/>
                    <a:pt x="13966" y="547315"/>
                    <a:pt x="21735" y="536072"/>
                  </a:cubicBezTo>
                  <a:lnTo>
                    <a:pt x="21735" y="536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2E559D5-57FD-4E91-9444-E6EB12E3D37A}"/>
                </a:ext>
              </a:extLst>
            </p:cNvPr>
            <p:cNvSpPr/>
            <p:nvPr/>
          </p:nvSpPr>
          <p:spPr>
            <a:xfrm>
              <a:off x="9959905" y="2223684"/>
              <a:ext cx="396131" cy="1140859"/>
            </a:xfrm>
            <a:custGeom>
              <a:avLst/>
              <a:gdLst>
                <a:gd name="connsiteX0" fmla="*/ 2117 w 511072"/>
                <a:gd name="connsiteY0" fmla="*/ 17307 h 1471887"/>
                <a:gd name="connsiteX1" fmla="*/ 191214 w 511072"/>
                <a:gd name="connsiteY1" fmla="*/ 373933 h 1471887"/>
                <a:gd name="connsiteX2" fmla="*/ 257960 w 511072"/>
                <a:gd name="connsiteY2" fmla="*/ 762041 h 1471887"/>
                <a:gd name="connsiteX3" fmla="*/ 344740 w 511072"/>
                <a:gd name="connsiteY3" fmla="*/ 1126436 h 1471887"/>
                <a:gd name="connsiteX4" fmla="*/ 496631 w 511072"/>
                <a:gd name="connsiteY4" fmla="*/ 1472227 h 1471887"/>
                <a:gd name="connsiteX5" fmla="*/ 517994 w 511072"/>
                <a:gd name="connsiteY5" fmla="*/ 1464561 h 1471887"/>
                <a:gd name="connsiteX6" fmla="*/ 381026 w 511072"/>
                <a:gd name="connsiteY6" fmla="*/ 1075738 h 1471887"/>
                <a:gd name="connsiteX7" fmla="*/ 293122 w 511072"/>
                <a:gd name="connsiteY7" fmla="*/ 694784 h 1471887"/>
                <a:gd name="connsiteX8" fmla="*/ 204195 w 511072"/>
                <a:gd name="connsiteY8" fmla="*/ 311276 h 1471887"/>
                <a:gd name="connsiteX9" fmla="*/ 22356 w 511072"/>
                <a:gd name="connsiteY9" fmla="*/ 3406 h 1471887"/>
                <a:gd name="connsiteX10" fmla="*/ 2117 w 511072"/>
                <a:gd name="connsiteY10" fmla="*/ 17307 h 1471887"/>
                <a:gd name="connsiteX11" fmla="*/ 2117 w 511072"/>
                <a:gd name="connsiteY11" fmla="*/ 17307 h 1471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11072" h="1471887">
                  <a:moveTo>
                    <a:pt x="2117" y="17307"/>
                  </a:moveTo>
                  <a:cubicBezTo>
                    <a:pt x="82560" y="125654"/>
                    <a:pt x="143480" y="249640"/>
                    <a:pt x="191214" y="373933"/>
                  </a:cubicBezTo>
                  <a:cubicBezTo>
                    <a:pt x="238948" y="498226"/>
                    <a:pt x="237926" y="632536"/>
                    <a:pt x="257960" y="762041"/>
                  </a:cubicBezTo>
                  <a:cubicBezTo>
                    <a:pt x="277074" y="885414"/>
                    <a:pt x="301197" y="1008378"/>
                    <a:pt x="344740" y="1126436"/>
                  </a:cubicBezTo>
                  <a:cubicBezTo>
                    <a:pt x="387057" y="1241121"/>
                    <a:pt x="429476" y="1368786"/>
                    <a:pt x="496631" y="1472227"/>
                  </a:cubicBezTo>
                  <a:cubicBezTo>
                    <a:pt x="503479" y="1482755"/>
                    <a:pt x="520242" y="1476725"/>
                    <a:pt x="517994" y="1464561"/>
                  </a:cubicBezTo>
                  <a:cubicBezTo>
                    <a:pt x="493462" y="1331682"/>
                    <a:pt x="424161" y="1204221"/>
                    <a:pt x="381026" y="1075738"/>
                  </a:cubicBezTo>
                  <a:cubicBezTo>
                    <a:pt x="339118" y="951036"/>
                    <a:pt x="319697" y="822655"/>
                    <a:pt x="293122" y="694784"/>
                  </a:cubicBezTo>
                  <a:cubicBezTo>
                    <a:pt x="266444" y="566914"/>
                    <a:pt x="235984" y="438124"/>
                    <a:pt x="204195" y="311276"/>
                  </a:cubicBezTo>
                  <a:cubicBezTo>
                    <a:pt x="175064" y="194547"/>
                    <a:pt x="111078" y="88653"/>
                    <a:pt x="22356" y="3406"/>
                  </a:cubicBezTo>
                  <a:cubicBezTo>
                    <a:pt x="12748" y="-5998"/>
                    <a:pt x="-6367" y="5859"/>
                    <a:pt x="2117" y="17307"/>
                  </a:cubicBezTo>
                  <a:lnTo>
                    <a:pt x="2117" y="1730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0283BDCD-2652-4F85-8803-932B63692C28}"/>
                </a:ext>
              </a:extLst>
            </p:cNvPr>
            <p:cNvSpPr/>
            <p:nvPr/>
          </p:nvSpPr>
          <p:spPr>
            <a:xfrm>
              <a:off x="9370933" y="2323725"/>
              <a:ext cx="213911" cy="87149"/>
            </a:xfrm>
            <a:custGeom>
              <a:avLst/>
              <a:gdLst>
                <a:gd name="connsiteX0" fmla="*/ 6108 w 275978"/>
                <a:gd name="connsiteY0" fmla="*/ 72327 h 112435"/>
                <a:gd name="connsiteX1" fmla="*/ 86142 w 275978"/>
                <a:gd name="connsiteY1" fmla="*/ 100333 h 112435"/>
                <a:gd name="connsiteX2" fmla="*/ 153297 w 275978"/>
                <a:gd name="connsiteY2" fmla="*/ 114337 h 112435"/>
                <a:gd name="connsiteX3" fmla="*/ 275545 w 275978"/>
                <a:gd name="connsiteY3" fmla="*/ 10282 h 112435"/>
                <a:gd name="connsiteX4" fmla="*/ 263893 w 275978"/>
                <a:gd name="connsiteY4" fmla="*/ 1492 h 112435"/>
                <a:gd name="connsiteX5" fmla="*/ 188868 w 275978"/>
                <a:gd name="connsiteY5" fmla="*/ 66398 h 112435"/>
                <a:gd name="connsiteX6" fmla="*/ 110980 w 275978"/>
                <a:gd name="connsiteY6" fmla="*/ 73860 h 112435"/>
                <a:gd name="connsiteX7" fmla="*/ 80214 w 275978"/>
                <a:gd name="connsiteY7" fmla="*/ 59448 h 112435"/>
                <a:gd name="connsiteX8" fmla="*/ 2633 w 275978"/>
                <a:gd name="connsiteY8" fmla="*/ 58834 h 112435"/>
                <a:gd name="connsiteX9" fmla="*/ 6108 w 275978"/>
                <a:gd name="connsiteY9" fmla="*/ 72327 h 112435"/>
                <a:gd name="connsiteX10" fmla="*/ 6108 w 275978"/>
                <a:gd name="connsiteY10" fmla="*/ 72327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5978" h="112435">
                  <a:moveTo>
                    <a:pt x="6108" y="72327"/>
                  </a:moveTo>
                  <a:cubicBezTo>
                    <a:pt x="32888" y="82242"/>
                    <a:pt x="59464" y="88477"/>
                    <a:pt x="86142" y="100333"/>
                  </a:cubicBezTo>
                  <a:cubicBezTo>
                    <a:pt x="107403" y="109737"/>
                    <a:pt x="129481" y="116483"/>
                    <a:pt x="153297" y="114337"/>
                  </a:cubicBezTo>
                  <a:cubicBezTo>
                    <a:pt x="206346" y="109635"/>
                    <a:pt x="248050" y="48102"/>
                    <a:pt x="275545" y="10282"/>
                  </a:cubicBezTo>
                  <a:cubicBezTo>
                    <a:pt x="280758" y="3127"/>
                    <a:pt x="270128" y="-2903"/>
                    <a:pt x="263893" y="1492"/>
                  </a:cubicBezTo>
                  <a:cubicBezTo>
                    <a:pt x="237624" y="20095"/>
                    <a:pt x="215750" y="50350"/>
                    <a:pt x="188868" y="66398"/>
                  </a:cubicBezTo>
                  <a:cubicBezTo>
                    <a:pt x="160247" y="83468"/>
                    <a:pt x="140213" y="86841"/>
                    <a:pt x="110980" y="73860"/>
                  </a:cubicBezTo>
                  <a:cubicBezTo>
                    <a:pt x="100656" y="69260"/>
                    <a:pt x="90742" y="63741"/>
                    <a:pt x="80214" y="59448"/>
                  </a:cubicBezTo>
                  <a:cubicBezTo>
                    <a:pt x="54455" y="48817"/>
                    <a:pt x="25733" y="39209"/>
                    <a:pt x="2633" y="58834"/>
                  </a:cubicBezTo>
                  <a:cubicBezTo>
                    <a:pt x="-2478" y="63230"/>
                    <a:pt x="486" y="70180"/>
                    <a:pt x="6108" y="72327"/>
                  </a:cubicBezTo>
                  <a:lnTo>
                    <a:pt x="6108" y="7232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C6E4370-8631-4B25-B26F-3D54A3FF3BB4}"/>
                </a:ext>
              </a:extLst>
            </p:cNvPr>
            <p:cNvSpPr/>
            <p:nvPr/>
          </p:nvSpPr>
          <p:spPr>
            <a:xfrm>
              <a:off x="9461796" y="2389666"/>
              <a:ext cx="285215" cy="142607"/>
            </a:xfrm>
            <a:custGeom>
              <a:avLst/>
              <a:gdLst>
                <a:gd name="connsiteX0" fmla="*/ 3361 w 367971"/>
                <a:gd name="connsiteY0" fmla="*/ 16485 h 183985"/>
                <a:gd name="connsiteX1" fmla="*/ 141861 w 367971"/>
                <a:gd name="connsiteY1" fmla="*/ 152737 h 183985"/>
                <a:gd name="connsiteX2" fmla="*/ 367653 w 367971"/>
                <a:gd name="connsiteY2" fmla="*/ 191783 h 183985"/>
                <a:gd name="connsiteX3" fmla="*/ 370515 w 367971"/>
                <a:gd name="connsiteY3" fmla="*/ 175020 h 183985"/>
                <a:gd name="connsiteX4" fmla="*/ 145950 w 367971"/>
                <a:gd name="connsiteY4" fmla="*/ 117882 h 183985"/>
                <a:gd name="connsiteX5" fmla="*/ 13787 w 367971"/>
                <a:gd name="connsiteY5" fmla="*/ 131 h 183985"/>
                <a:gd name="connsiteX6" fmla="*/ 3361 w 367971"/>
                <a:gd name="connsiteY6" fmla="*/ 16485 h 183985"/>
                <a:gd name="connsiteX7" fmla="*/ 3361 w 367971"/>
                <a:gd name="connsiteY7" fmla="*/ 16485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67971" h="183985">
                  <a:moveTo>
                    <a:pt x="3361" y="16485"/>
                  </a:moveTo>
                  <a:cubicBezTo>
                    <a:pt x="61930" y="63504"/>
                    <a:pt x="63872" y="125650"/>
                    <a:pt x="141861" y="152737"/>
                  </a:cubicBezTo>
                  <a:cubicBezTo>
                    <a:pt x="212900" y="177473"/>
                    <a:pt x="291401" y="197200"/>
                    <a:pt x="367653" y="191783"/>
                  </a:cubicBezTo>
                  <a:cubicBezTo>
                    <a:pt x="377057" y="191170"/>
                    <a:pt x="381350" y="177268"/>
                    <a:pt x="370515" y="175020"/>
                  </a:cubicBezTo>
                  <a:cubicBezTo>
                    <a:pt x="296921" y="159790"/>
                    <a:pt x="212389" y="155088"/>
                    <a:pt x="145950" y="117882"/>
                  </a:cubicBezTo>
                  <a:cubicBezTo>
                    <a:pt x="92287" y="87831"/>
                    <a:pt x="79613" y="11477"/>
                    <a:pt x="13787" y="131"/>
                  </a:cubicBezTo>
                  <a:cubicBezTo>
                    <a:pt x="4792" y="-1300"/>
                    <a:pt x="-5430" y="9330"/>
                    <a:pt x="3361" y="16485"/>
                  </a:cubicBezTo>
                  <a:lnTo>
                    <a:pt x="3361" y="1648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62C15EE-46D1-4820-84C0-906667A67F08}"/>
                </a:ext>
              </a:extLst>
            </p:cNvPr>
            <p:cNvSpPr/>
            <p:nvPr/>
          </p:nvSpPr>
          <p:spPr>
            <a:xfrm>
              <a:off x="9488889" y="2471336"/>
              <a:ext cx="285215" cy="705114"/>
            </a:xfrm>
            <a:custGeom>
              <a:avLst/>
              <a:gdLst>
                <a:gd name="connsiteX0" fmla="*/ 57640 w 367971"/>
                <a:gd name="connsiteY0" fmla="*/ 5769 h 909708"/>
                <a:gd name="connsiteX1" fmla="*/ 911 w 367971"/>
                <a:gd name="connsiteY1" fmla="*/ 269687 h 909708"/>
                <a:gd name="connsiteX2" fmla="*/ 34335 w 367971"/>
                <a:gd name="connsiteY2" fmla="*/ 546075 h 909708"/>
                <a:gd name="connsiteX3" fmla="*/ 366328 w 367971"/>
                <a:gd name="connsiteY3" fmla="*/ 910980 h 909708"/>
                <a:gd name="connsiteX4" fmla="*/ 370212 w 367971"/>
                <a:gd name="connsiteY4" fmla="*/ 898408 h 909708"/>
                <a:gd name="connsiteX5" fmla="*/ 44046 w 367971"/>
                <a:gd name="connsiteY5" fmla="*/ 506825 h 909708"/>
                <a:gd name="connsiteX6" fmla="*/ 21456 w 367971"/>
                <a:gd name="connsiteY6" fmla="*/ 270198 h 909708"/>
                <a:gd name="connsiteX7" fmla="*/ 79923 w 367971"/>
                <a:gd name="connsiteY7" fmla="*/ 14969 h 909708"/>
                <a:gd name="connsiteX8" fmla="*/ 57640 w 367971"/>
                <a:gd name="connsiteY8" fmla="*/ 5769 h 909708"/>
                <a:gd name="connsiteX9" fmla="*/ 57640 w 367971"/>
                <a:gd name="connsiteY9" fmla="*/ 5769 h 909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7971" h="909708">
                  <a:moveTo>
                    <a:pt x="57640" y="5769"/>
                  </a:moveTo>
                  <a:cubicBezTo>
                    <a:pt x="8986" y="83861"/>
                    <a:pt x="5000" y="181272"/>
                    <a:pt x="911" y="269687"/>
                  </a:cubicBezTo>
                  <a:cubicBezTo>
                    <a:pt x="-3382" y="362805"/>
                    <a:pt x="7453" y="456433"/>
                    <a:pt x="34335" y="546075"/>
                  </a:cubicBezTo>
                  <a:cubicBezTo>
                    <a:pt x="80741" y="700725"/>
                    <a:pt x="185204" y="877454"/>
                    <a:pt x="366328" y="910980"/>
                  </a:cubicBezTo>
                  <a:cubicBezTo>
                    <a:pt x="375016" y="912616"/>
                    <a:pt x="378798" y="901270"/>
                    <a:pt x="370212" y="898408"/>
                  </a:cubicBezTo>
                  <a:cubicBezTo>
                    <a:pt x="186021" y="838204"/>
                    <a:pt x="87282" y="678954"/>
                    <a:pt x="44046" y="506825"/>
                  </a:cubicBezTo>
                  <a:cubicBezTo>
                    <a:pt x="24625" y="429550"/>
                    <a:pt x="16959" y="349517"/>
                    <a:pt x="21456" y="270198"/>
                  </a:cubicBezTo>
                  <a:cubicBezTo>
                    <a:pt x="26465" y="181169"/>
                    <a:pt x="64080" y="101749"/>
                    <a:pt x="79923" y="14969"/>
                  </a:cubicBezTo>
                  <a:cubicBezTo>
                    <a:pt x="82172" y="2805"/>
                    <a:pt x="65204" y="-6496"/>
                    <a:pt x="57640" y="5769"/>
                  </a:cubicBezTo>
                  <a:lnTo>
                    <a:pt x="57640" y="57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1BC0F833-925A-48FC-8F6F-52898EAF43A5}"/>
                </a:ext>
              </a:extLst>
            </p:cNvPr>
            <p:cNvSpPr/>
            <p:nvPr/>
          </p:nvSpPr>
          <p:spPr>
            <a:xfrm>
              <a:off x="9158386" y="2447485"/>
              <a:ext cx="372364" cy="182220"/>
            </a:xfrm>
            <a:custGeom>
              <a:avLst/>
              <a:gdLst>
                <a:gd name="connsiteX0" fmla="*/ 1691 w 480407"/>
                <a:gd name="connsiteY0" fmla="*/ 16097 h 235093"/>
                <a:gd name="connsiteX1" fmla="*/ 286051 w 480407"/>
                <a:gd name="connsiteY1" fmla="*/ 235040 h 235093"/>
                <a:gd name="connsiteX2" fmla="*/ 483121 w 480407"/>
                <a:gd name="connsiteY2" fmla="*/ 119231 h 235093"/>
                <a:gd name="connsiteX3" fmla="*/ 462882 w 480407"/>
                <a:gd name="connsiteY3" fmla="*/ 110748 h 235093"/>
                <a:gd name="connsiteX4" fmla="*/ 360361 w 480407"/>
                <a:gd name="connsiteY4" fmla="*/ 190270 h 235093"/>
                <a:gd name="connsiteX5" fmla="*/ 217363 w 480407"/>
                <a:gd name="connsiteY5" fmla="*/ 137937 h 235093"/>
                <a:gd name="connsiteX6" fmla="*/ 17739 w 480407"/>
                <a:gd name="connsiteY6" fmla="*/ 1480 h 235093"/>
                <a:gd name="connsiteX7" fmla="*/ 1691 w 480407"/>
                <a:gd name="connsiteY7" fmla="*/ 16097 h 235093"/>
                <a:gd name="connsiteX8" fmla="*/ 1691 w 480407"/>
                <a:gd name="connsiteY8" fmla="*/ 16097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80407" h="235093">
                  <a:moveTo>
                    <a:pt x="1691" y="16097"/>
                  </a:moveTo>
                  <a:cubicBezTo>
                    <a:pt x="64655" y="104819"/>
                    <a:pt x="180464" y="195177"/>
                    <a:pt x="286051" y="235040"/>
                  </a:cubicBezTo>
                  <a:cubicBezTo>
                    <a:pt x="371912" y="267340"/>
                    <a:pt x="482917" y="212962"/>
                    <a:pt x="483121" y="119231"/>
                  </a:cubicBezTo>
                  <a:cubicBezTo>
                    <a:pt x="483121" y="109623"/>
                    <a:pt x="470446" y="103695"/>
                    <a:pt x="462882" y="110748"/>
                  </a:cubicBezTo>
                  <a:cubicBezTo>
                    <a:pt x="432014" y="139572"/>
                    <a:pt x="406562" y="182298"/>
                    <a:pt x="360361" y="190270"/>
                  </a:cubicBezTo>
                  <a:cubicBezTo>
                    <a:pt x="309765" y="198959"/>
                    <a:pt x="257738" y="162570"/>
                    <a:pt x="217363" y="137937"/>
                  </a:cubicBezTo>
                  <a:cubicBezTo>
                    <a:pt x="148164" y="95722"/>
                    <a:pt x="87040" y="43388"/>
                    <a:pt x="17739" y="1480"/>
                  </a:cubicBezTo>
                  <a:cubicBezTo>
                    <a:pt x="8641" y="-4039"/>
                    <a:pt x="-4749" y="7000"/>
                    <a:pt x="1691" y="16097"/>
                  </a:cubicBezTo>
                  <a:lnTo>
                    <a:pt x="1691" y="160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204647B2-0E59-4372-9FFD-9A353215BFA2}"/>
                </a:ext>
              </a:extLst>
            </p:cNvPr>
            <p:cNvSpPr/>
            <p:nvPr/>
          </p:nvSpPr>
          <p:spPr>
            <a:xfrm>
              <a:off x="9093340" y="1728562"/>
              <a:ext cx="610042" cy="340673"/>
            </a:xfrm>
            <a:custGeom>
              <a:avLst/>
              <a:gdLst>
                <a:gd name="connsiteX0" fmla="*/ 146735 w 787051"/>
                <a:gd name="connsiteY0" fmla="*/ 417422 h 439522"/>
                <a:gd name="connsiteX1" fmla="*/ 44827 w 787051"/>
                <a:gd name="connsiteY1" fmla="*/ 294867 h 439522"/>
                <a:gd name="connsiteX2" fmla="*/ 91539 w 787051"/>
                <a:gd name="connsiteY2" fmla="*/ 96571 h 439522"/>
                <a:gd name="connsiteX3" fmla="*/ 358319 w 787051"/>
                <a:gd name="connsiteY3" fmla="*/ 42091 h 439522"/>
                <a:gd name="connsiteX4" fmla="*/ 778216 w 787051"/>
                <a:gd name="connsiteY4" fmla="*/ 426110 h 439522"/>
                <a:gd name="connsiteX5" fmla="*/ 794570 w 787051"/>
                <a:gd name="connsiteY5" fmla="*/ 411289 h 439522"/>
                <a:gd name="connsiteX6" fmla="*/ 658114 w 787051"/>
                <a:gd name="connsiteY6" fmla="*/ 246213 h 439522"/>
                <a:gd name="connsiteX7" fmla="*/ 498353 w 787051"/>
                <a:gd name="connsiteY7" fmla="*/ 80012 h 439522"/>
                <a:gd name="connsiteX8" fmla="*/ 231982 w 787051"/>
                <a:gd name="connsiteY8" fmla="*/ 4680 h 439522"/>
                <a:gd name="connsiteX9" fmla="*/ 12425 w 787051"/>
                <a:gd name="connsiteY9" fmla="*/ 158820 h 439522"/>
                <a:gd name="connsiteX10" fmla="*/ 127417 w 787051"/>
                <a:gd name="connsiteY10" fmla="*/ 444509 h 439522"/>
                <a:gd name="connsiteX11" fmla="*/ 149188 w 787051"/>
                <a:gd name="connsiteY11" fmla="*/ 419058 h 439522"/>
                <a:gd name="connsiteX12" fmla="*/ 146735 w 787051"/>
                <a:gd name="connsiteY12" fmla="*/ 417422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7051" h="439522">
                  <a:moveTo>
                    <a:pt x="146735" y="417422"/>
                  </a:moveTo>
                  <a:cubicBezTo>
                    <a:pt x="112391" y="375616"/>
                    <a:pt x="69256" y="342294"/>
                    <a:pt x="44827" y="294867"/>
                  </a:cubicBezTo>
                  <a:cubicBezTo>
                    <a:pt x="8950" y="225157"/>
                    <a:pt x="31539" y="147269"/>
                    <a:pt x="91539" y="96571"/>
                  </a:cubicBezTo>
                  <a:cubicBezTo>
                    <a:pt x="161454" y="37389"/>
                    <a:pt x="268881" y="18990"/>
                    <a:pt x="358319" y="42091"/>
                  </a:cubicBezTo>
                  <a:cubicBezTo>
                    <a:pt x="553549" y="92380"/>
                    <a:pt x="622339" y="323385"/>
                    <a:pt x="778216" y="426110"/>
                  </a:cubicBezTo>
                  <a:cubicBezTo>
                    <a:pt x="788335" y="432754"/>
                    <a:pt x="799272" y="420591"/>
                    <a:pt x="794570" y="411289"/>
                  </a:cubicBezTo>
                  <a:cubicBezTo>
                    <a:pt x="762884" y="348734"/>
                    <a:pt x="706155" y="297933"/>
                    <a:pt x="658114" y="246213"/>
                  </a:cubicBezTo>
                  <a:cubicBezTo>
                    <a:pt x="606393" y="190506"/>
                    <a:pt x="556819" y="129586"/>
                    <a:pt x="498353" y="80012"/>
                  </a:cubicBezTo>
                  <a:cubicBezTo>
                    <a:pt x="424452" y="17355"/>
                    <a:pt x="330619" y="-12185"/>
                    <a:pt x="231982" y="4680"/>
                  </a:cubicBezTo>
                  <a:cubicBezTo>
                    <a:pt x="142135" y="20012"/>
                    <a:pt x="47076" y="75617"/>
                    <a:pt x="12425" y="158820"/>
                  </a:cubicBezTo>
                  <a:cubicBezTo>
                    <a:pt x="-30607" y="262158"/>
                    <a:pt x="45543" y="380216"/>
                    <a:pt x="127417" y="444509"/>
                  </a:cubicBezTo>
                  <a:cubicBezTo>
                    <a:pt x="144997" y="458308"/>
                    <a:pt x="163192" y="436127"/>
                    <a:pt x="149188" y="419058"/>
                  </a:cubicBezTo>
                  <a:lnTo>
                    <a:pt x="146735" y="41742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C5165281-8E95-41A1-AD99-C143D9000124}"/>
                </a:ext>
              </a:extLst>
            </p:cNvPr>
            <p:cNvSpPr/>
            <p:nvPr/>
          </p:nvSpPr>
          <p:spPr>
            <a:xfrm>
              <a:off x="8850140" y="1998066"/>
              <a:ext cx="348596" cy="293137"/>
            </a:xfrm>
            <a:custGeom>
              <a:avLst/>
              <a:gdLst>
                <a:gd name="connsiteX0" fmla="*/ 454061 w 449743"/>
                <a:gd name="connsiteY0" fmla="*/ 72581 h 378193"/>
                <a:gd name="connsiteX1" fmla="*/ 116243 w 449743"/>
                <a:gd name="connsiteY1" fmla="*/ 54796 h 378193"/>
                <a:gd name="connsiteX2" fmla="*/ 58900 w 449743"/>
                <a:gd name="connsiteY2" fmla="*/ 381269 h 378193"/>
                <a:gd name="connsiteX3" fmla="*/ 74744 w 449743"/>
                <a:gd name="connsiteY3" fmla="*/ 356329 h 378193"/>
                <a:gd name="connsiteX4" fmla="*/ 30280 w 449743"/>
                <a:gd name="connsiteY4" fmla="*/ 277010 h 378193"/>
                <a:gd name="connsiteX5" fmla="*/ 44795 w 449743"/>
                <a:gd name="connsiteY5" fmla="*/ 219259 h 378193"/>
                <a:gd name="connsiteX6" fmla="*/ 70144 w 449743"/>
                <a:gd name="connsiteY6" fmla="*/ 169787 h 378193"/>
                <a:gd name="connsiteX7" fmla="*/ 192597 w 449743"/>
                <a:gd name="connsiteY7" fmla="*/ 54592 h 378193"/>
                <a:gd name="connsiteX8" fmla="*/ 443636 w 449743"/>
                <a:gd name="connsiteY8" fmla="*/ 84949 h 378193"/>
                <a:gd name="connsiteX9" fmla="*/ 454061 w 449743"/>
                <a:gd name="connsiteY9" fmla="*/ 72581 h 378193"/>
                <a:gd name="connsiteX10" fmla="*/ 454061 w 449743"/>
                <a:gd name="connsiteY10" fmla="*/ 72581 h 378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49743" h="378193">
                  <a:moveTo>
                    <a:pt x="454061" y="72581"/>
                  </a:moveTo>
                  <a:cubicBezTo>
                    <a:pt x="369837" y="-20025"/>
                    <a:pt x="213244" y="-21865"/>
                    <a:pt x="116243" y="54796"/>
                  </a:cubicBezTo>
                  <a:cubicBezTo>
                    <a:pt x="25272" y="126755"/>
                    <a:pt x="-61304" y="299497"/>
                    <a:pt x="58900" y="381269"/>
                  </a:cubicBezTo>
                  <a:cubicBezTo>
                    <a:pt x="74948" y="392104"/>
                    <a:pt x="90996" y="367163"/>
                    <a:pt x="74744" y="356329"/>
                  </a:cubicBezTo>
                  <a:cubicBezTo>
                    <a:pt x="59923" y="329855"/>
                    <a:pt x="45101" y="303484"/>
                    <a:pt x="30280" y="277010"/>
                  </a:cubicBezTo>
                  <a:cubicBezTo>
                    <a:pt x="30894" y="256670"/>
                    <a:pt x="35698" y="237453"/>
                    <a:pt x="44795" y="219259"/>
                  </a:cubicBezTo>
                  <a:cubicBezTo>
                    <a:pt x="51541" y="201781"/>
                    <a:pt x="60229" y="185835"/>
                    <a:pt x="70144" y="169787"/>
                  </a:cubicBezTo>
                  <a:cubicBezTo>
                    <a:pt x="99991" y="121133"/>
                    <a:pt x="137094" y="77692"/>
                    <a:pt x="192597" y="54592"/>
                  </a:cubicBezTo>
                  <a:cubicBezTo>
                    <a:pt x="277231" y="19430"/>
                    <a:pt x="368406" y="39771"/>
                    <a:pt x="443636" y="84949"/>
                  </a:cubicBezTo>
                  <a:cubicBezTo>
                    <a:pt x="452017" y="89958"/>
                    <a:pt x="460194" y="79225"/>
                    <a:pt x="454061" y="72581"/>
                  </a:cubicBezTo>
                  <a:lnTo>
                    <a:pt x="454061" y="7258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A7D1B70-90AF-473C-9C05-E37C8F05B73F}"/>
                </a:ext>
              </a:extLst>
            </p:cNvPr>
            <p:cNvSpPr/>
            <p:nvPr/>
          </p:nvSpPr>
          <p:spPr>
            <a:xfrm>
              <a:off x="8696052" y="2329235"/>
              <a:ext cx="744727" cy="610042"/>
            </a:xfrm>
            <a:custGeom>
              <a:avLst/>
              <a:gdLst>
                <a:gd name="connsiteX0" fmla="*/ 231940 w 960815"/>
                <a:gd name="connsiteY0" fmla="*/ 6 h 787051"/>
                <a:gd name="connsiteX1" fmla="*/ 3286 w 960815"/>
                <a:gd name="connsiteY1" fmla="*/ 318915 h 787051"/>
                <a:gd name="connsiteX2" fmla="*/ 185024 w 960815"/>
                <a:gd name="connsiteY2" fmla="*/ 499732 h 787051"/>
                <a:gd name="connsiteX3" fmla="*/ 478277 w 960815"/>
                <a:gd name="connsiteY3" fmla="*/ 699868 h 787051"/>
                <a:gd name="connsiteX4" fmla="*/ 690576 w 960815"/>
                <a:gd name="connsiteY4" fmla="*/ 792474 h 787051"/>
                <a:gd name="connsiteX5" fmla="*/ 907986 w 960815"/>
                <a:gd name="connsiteY5" fmla="*/ 678812 h 787051"/>
                <a:gd name="connsiteX6" fmla="*/ 876300 w 960815"/>
                <a:gd name="connsiteY6" fmla="*/ 351521 h 787051"/>
                <a:gd name="connsiteX7" fmla="*/ 853813 w 960815"/>
                <a:gd name="connsiteY7" fmla="*/ 371862 h 787051"/>
                <a:gd name="connsiteX8" fmla="*/ 835107 w 960815"/>
                <a:gd name="connsiteY8" fmla="*/ 681776 h 787051"/>
                <a:gd name="connsiteX9" fmla="*/ 627714 w 960815"/>
                <a:gd name="connsiteY9" fmla="*/ 741060 h 787051"/>
                <a:gd name="connsiteX10" fmla="*/ 457630 w 960815"/>
                <a:gd name="connsiteY10" fmla="*/ 646001 h 787051"/>
                <a:gd name="connsiteX11" fmla="*/ 116642 w 960815"/>
                <a:gd name="connsiteY11" fmla="*/ 416018 h 787051"/>
                <a:gd name="connsiteX12" fmla="*/ 46727 w 960815"/>
                <a:gd name="connsiteY12" fmla="*/ 207092 h 787051"/>
                <a:gd name="connsiteX13" fmla="*/ 235211 w 960815"/>
                <a:gd name="connsiteY13" fmla="*/ 31488 h 787051"/>
                <a:gd name="connsiteX14" fmla="*/ 231940 w 960815"/>
                <a:gd name="connsiteY14" fmla="*/ 6 h 787051"/>
                <a:gd name="connsiteX15" fmla="*/ 231940 w 960815"/>
                <a:gd name="connsiteY15" fmla="*/ 6 h 78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60815" h="787051">
                  <a:moveTo>
                    <a:pt x="231940" y="6"/>
                  </a:moveTo>
                  <a:cubicBezTo>
                    <a:pt x="93133" y="-1221"/>
                    <a:pt x="-21041" y="200141"/>
                    <a:pt x="3286" y="318915"/>
                  </a:cubicBezTo>
                  <a:cubicBezTo>
                    <a:pt x="20765" y="404264"/>
                    <a:pt x="117766" y="453224"/>
                    <a:pt x="185024" y="499732"/>
                  </a:cubicBezTo>
                  <a:cubicBezTo>
                    <a:pt x="282332" y="566989"/>
                    <a:pt x="380151" y="633837"/>
                    <a:pt x="478277" y="699868"/>
                  </a:cubicBezTo>
                  <a:cubicBezTo>
                    <a:pt x="540628" y="741878"/>
                    <a:pt x="609520" y="794723"/>
                    <a:pt x="690576" y="792474"/>
                  </a:cubicBezTo>
                  <a:cubicBezTo>
                    <a:pt x="771121" y="790225"/>
                    <a:pt x="859332" y="737585"/>
                    <a:pt x="907986" y="678812"/>
                  </a:cubicBezTo>
                  <a:cubicBezTo>
                    <a:pt x="980661" y="590907"/>
                    <a:pt x="990678" y="414281"/>
                    <a:pt x="876300" y="351521"/>
                  </a:cubicBezTo>
                  <a:cubicBezTo>
                    <a:pt x="863012" y="344264"/>
                    <a:pt x="845124" y="358574"/>
                    <a:pt x="853813" y="371862"/>
                  </a:cubicBezTo>
                  <a:cubicBezTo>
                    <a:pt x="920252" y="474485"/>
                    <a:pt x="944375" y="592849"/>
                    <a:pt x="835107" y="681776"/>
                  </a:cubicBezTo>
                  <a:cubicBezTo>
                    <a:pt x="779707" y="726853"/>
                    <a:pt x="701104" y="764876"/>
                    <a:pt x="627714" y="741060"/>
                  </a:cubicBezTo>
                  <a:cubicBezTo>
                    <a:pt x="567817" y="721640"/>
                    <a:pt x="510372" y="677585"/>
                    <a:pt x="457630" y="646001"/>
                  </a:cubicBezTo>
                  <a:cubicBezTo>
                    <a:pt x="340798" y="576086"/>
                    <a:pt x="221310" y="501776"/>
                    <a:pt x="116642" y="416018"/>
                  </a:cubicBezTo>
                  <a:cubicBezTo>
                    <a:pt x="45705" y="357858"/>
                    <a:pt x="13406" y="294588"/>
                    <a:pt x="46727" y="207092"/>
                  </a:cubicBezTo>
                  <a:cubicBezTo>
                    <a:pt x="80254" y="118779"/>
                    <a:pt x="133712" y="53362"/>
                    <a:pt x="235211" y="31488"/>
                  </a:cubicBezTo>
                  <a:cubicBezTo>
                    <a:pt x="253814" y="27501"/>
                    <a:pt x="251259" y="108"/>
                    <a:pt x="231940" y="6"/>
                  </a:cubicBezTo>
                  <a:lnTo>
                    <a:pt x="231940" y="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638B8A02-D71F-4412-ADEE-1EFE44B0C7D5}"/>
                </a:ext>
              </a:extLst>
            </p:cNvPr>
            <p:cNvSpPr/>
            <p:nvPr/>
          </p:nvSpPr>
          <p:spPr>
            <a:xfrm>
              <a:off x="8552721" y="2624229"/>
              <a:ext cx="213911" cy="411977"/>
            </a:xfrm>
            <a:custGeom>
              <a:avLst/>
              <a:gdLst>
                <a:gd name="connsiteX0" fmla="*/ 276111 w 275978"/>
                <a:gd name="connsiteY0" fmla="*/ 21732 h 531515"/>
                <a:gd name="connsiteX1" fmla="*/ 65549 w 275978"/>
                <a:gd name="connsiteY1" fmla="*/ 54236 h 531515"/>
                <a:gd name="connsiteX2" fmla="*/ 3300 w 275978"/>
                <a:gd name="connsiteY2" fmla="*/ 273078 h 531515"/>
                <a:gd name="connsiteX3" fmla="*/ 108479 w 275978"/>
                <a:gd name="connsiteY3" fmla="*/ 541390 h 531515"/>
                <a:gd name="connsiteX4" fmla="*/ 124833 w 275978"/>
                <a:gd name="connsiteY4" fmla="*/ 528409 h 531515"/>
                <a:gd name="connsiteX5" fmla="*/ 138325 w 275978"/>
                <a:gd name="connsiteY5" fmla="*/ 523707 h 531515"/>
                <a:gd name="connsiteX6" fmla="*/ 94169 w 275978"/>
                <a:gd name="connsiteY6" fmla="*/ 425275 h 531515"/>
                <a:gd name="connsiteX7" fmla="*/ 43164 w 275978"/>
                <a:gd name="connsiteY7" fmla="*/ 184253 h 531515"/>
                <a:gd name="connsiteX8" fmla="*/ 269467 w 275978"/>
                <a:gd name="connsiteY8" fmla="*/ 35940 h 531515"/>
                <a:gd name="connsiteX9" fmla="*/ 276111 w 275978"/>
                <a:gd name="connsiteY9" fmla="*/ 21732 h 531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5978" h="531515">
                  <a:moveTo>
                    <a:pt x="276111" y="21732"/>
                  </a:moveTo>
                  <a:cubicBezTo>
                    <a:pt x="210284" y="-20585"/>
                    <a:pt x="118802" y="3538"/>
                    <a:pt x="65549" y="54236"/>
                  </a:cubicBezTo>
                  <a:cubicBezTo>
                    <a:pt x="5856" y="111068"/>
                    <a:pt x="-7228" y="196621"/>
                    <a:pt x="3300" y="273078"/>
                  </a:cubicBezTo>
                  <a:cubicBezTo>
                    <a:pt x="16384" y="368546"/>
                    <a:pt x="66469" y="454406"/>
                    <a:pt x="108479" y="541390"/>
                  </a:cubicBezTo>
                  <a:cubicBezTo>
                    <a:pt x="112465" y="536382"/>
                    <a:pt x="117780" y="531987"/>
                    <a:pt x="124833" y="528409"/>
                  </a:cubicBezTo>
                  <a:cubicBezTo>
                    <a:pt x="129433" y="526058"/>
                    <a:pt x="133930" y="524627"/>
                    <a:pt x="138325" y="523707"/>
                  </a:cubicBezTo>
                  <a:cubicBezTo>
                    <a:pt x="123811" y="490590"/>
                    <a:pt x="109399" y="457574"/>
                    <a:pt x="94169" y="425275"/>
                  </a:cubicBezTo>
                  <a:cubicBezTo>
                    <a:pt x="58700" y="349534"/>
                    <a:pt x="28649" y="268069"/>
                    <a:pt x="43164" y="184253"/>
                  </a:cubicBezTo>
                  <a:cubicBezTo>
                    <a:pt x="61665" y="76928"/>
                    <a:pt x="156315" y="11409"/>
                    <a:pt x="269467" y="35940"/>
                  </a:cubicBezTo>
                  <a:cubicBezTo>
                    <a:pt x="278768" y="37882"/>
                    <a:pt x="284083" y="26843"/>
                    <a:pt x="276111" y="2173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73BBB674-39DB-4AD8-B2EE-D07AF8DC8784}"/>
                </a:ext>
              </a:extLst>
            </p:cNvPr>
            <p:cNvSpPr/>
            <p:nvPr/>
          </p:nvSpPr>
          <p:spPr>
            <a:xfrm>
              <a:off x="8653184" y="2870484"/>
              <a:ext cx="530816" cy="277292"/>
            </a:xfrm>
            <a:custGeom>
              <a:avLst/>
              <a:gdLst>
                <a:gd name="connsiteX0" fmla="*/ 3500 w 684836"/>
                <a:gd name="connsiteY0" fmla="*/ 165523 h 357750"/>
                <a:gd name="connsiteX1" fmla="*/ 555866 w 684836"/>
                <a:gd name="connsiteY1" fmla="*/ 341434 h 357750"/>
                <a:gd name="connsiteX2" fmla="*/ 688234 w 684836"/>
                <a:gd name="connsiteY2" fmla="*/ 175029 h 357750"/>
                <a:gd name="connsiteX3" fmla="*/ 576923 w 684836"/>
                <a:gd name="connsiteY3" fmla="*/ 447 h 357750"/>
                <a:gd name="connsiteX4" fmla="*/ 565781 w 684836"/>
                <a:gd name="connsiteY4" fmla="*/ 17925 h 357750"/>
                <a:gd name="connsiteX5" fmla="*/ 601352 w 684836"/>
                <a:gd name="connsiteY5" fmla="*/ 255471 h 357750"/>
                <a:gd name="connsiteX6" fmla="*/ 383328 w 684836"/>
                <a:gd name="connsiteY6" fmla="*/ 317925 h 357750"/>
                <a:gd name="connsiteX7" fmla="*/ 11983 w 684836"/>
                <a:gd name="connsiteY7" fmla="*/ 152133 h 357750"/>
                <a:gd name="connsiteX8" fmla="*/ 3500 w 684836"/>
                <a:gd name="connsiteY8" fmla="*/ 165523 h 357750"/>
                <a:gd name="connsiteX9" fmla="*/ 3500 w 684836"/>
                <a:gd name="connsiteY9" fmla="*/ 165523 h 357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4836" h="357750">
                  <a:moveTo>
                    <a:pt x="3500" y="165523"/>
                  </a:moveTo>
                  <a:cubicBezTo>
                    <a:pt x="149973" y="271621"/>
                    <a:pt x="366259" y="428929"/>
                    <a:pt x="555866" y="341434"/>
                  </a:cubicBezTo>
                  <a:cubicBezTo>
                    <a:pt x="626599" y="308725"/>
                    <a:pt x="681181" y="251485"/>
                    <a:pt x="688234" y="175029"/>
                  </a:cubicBezTo>
                  <a:cubicBezTo>
                    <a:pt x="694878" y="102865"/>
                    <a:pt x="653583" y="20582"/>
                    <a:pt x="576923" y="447"/>
                  </a:cubicBezTo>
                  <a:cubicBezTo>
                    <a:pt x="565475" y="-2518"/>
                    <a:pt x="559137" y="9952"/>
                    <a:pt x="565781" y="17925"/>
                  </a:cubicBezTo>
                  <a:cubicBezTo>
                    <a:pt x="625679" y="89577"/>
                    <a:pt x="678217" y="173597"/>
                    <a:pt x="601352" y="255471"/>
                  </a:cubicBezTo>
                  <a:cubicBezTo>
                    <a:pt x="548302" y="312098"/>
                    <a:pt x="458661" y="335301"/>
                    <a:pt x="383328" y="317925"/>
                  </a:cubicBezTo>
                  <a:cubicBezTo>
                    <a:pt x="251574" y="287465"/>
                    <a:pt x="123295" y="223683"/>
                    <a:pt x="11983" y="152133"/>
                  </a:cubicBezTo>
                  <a:cubicBezTo>
                    <a:pt x="3091" y="146409"/>
                    <a:pt x="-4780" y="159492"/>
                    <a:pt x="3500" y="165523"/>
                  </a:cubicBezTo>
                  <a:lnTo>
                    <a:pt x="3500" y="1655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B6AB471E-A333-4D29-867D-22C9AB8E9448}"/>
                </a:ext>
              </a:extLst>
            </p:cNvPr>
            <p:cNvSpPr/>
            <p:nvPr/>
          </p:nvSpPr>
          <p:spPr>
            <a:xfrm>
              <a:off x="8810467" y="3324321"/>
              <a:ext cx="625888" cy="554584"/>
            </a:xfrm>
            <a:custGeom>
              <a:avLst/>
              <a:gdLst>
                <a:gd name="connsiteX0" fmla="*/ 436047 w 807494"/>
                <a:gd name="connsiteY0" fmla="*/ 332912 h 715501"/>
                <a:gd name="connsiteX1" fmla="*/ 195638 w 807494"/>
                <a:gd name="connsiteY1" fmla="*/ 165690 h 715501"/>
                <a:gd name="connsiteX2" fmla="*/ 28824 w 807494"/>
                <a:gd name="connsiteY2" fmla="*/ 0 h 715501"/>
                <a:gd name="connsiteX3" fmla="*/ 0 w 807494"/>
                <a:gd name="connsiteY3" fmla="*/ 17172 h 715501"/>
                <a:gd name="connsiteX4" fmla="*/ 144020 w 807494"/>
                <a:gd name="connsiteY4" fmla="*/ 175604 h 715501"/>
                <a:gd name="connsiteX5" fmla="*/ 359590 w 807494"/>
                <a:gd name="connsiteY5" fmla="*/ 331072 h 715501"/>
                <a:gd name="connsiteX6" fmla="*/ 607460 w 807494"/>
                <a:gd name="connsiteY6" fmla="*/ 523644 h 715501"/>
                <a:gd name="connsiteX7" fmla="*/ 794717 w 807494"/>
                <a:gd name="connsiteY7" fmla="*/ 720407 h 715501"/>
                <a:gd name="connsiteX8" fmla="*/ 813729 w 807494"/>
                <a:gd name="connsiteY8" fmla="*/ 703235 h 715501"/>
                <a:gd name="connsiteX9" fmla="*/ 436047 w 807494"/>
                <a:gd name="connsiteY9" fmla="*/ 332912 h 715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7494" h="715501">
                  <a:moveTo>
                    <a:pt x="436047" y="332912"/>
                  </a:moveTo>
                  <a:cubicBezTo>
                    <a:pt x="350698" y="279148"/>
                    <a:pt x="267597" y="237035"/>
                    <a:pt x="195638" y="165690"/>
                  </a:cubicBezTo>
                  <a:cubicBezTo>
                    <a:pt x="140034" y="110494"/>
                    <a:pt x="86065" y="53663"/>
                    <a:pt x="28824" y="0"/>
                  </a:cubicBezTo>
                  <a:cubicBezTo>
                    <a:pt x="21158" y="8382"/>
                    <a:pt x="11039" y="14719"/>
                    <a:pt x="0" y="17172"/>
                  </a:cubicBezTo>
                  <a:cubicBezTo>
                    <a:pt x="45996" y="71550"/>
                    <a:pt x="95162" y="123577"/>
                    <a:pt x="144020" y="175604"/>
                  </a:cubicBezTo>
                  <a:cubicBezTo>
                    <a:pt x="209437" y="245315"/>
                    <a:pt x="274241" y="286814"/>
                    <a:pt x="359590" y="331072"/>
                  </a:cubicBezTo>
                  <a:cubicBezTo>
                    <a:pt x="454752" y="380544"/>
                    <a:pt x="536319" y="446473"/>
                    <a:pt x="607460" y="523644"/>
                  </a:cubicBezTo>
                  <a:cubicBezTo>
                    <a:pt x="667665" y="589062"/>
                    <a:pt x="721838" y="667358"/>
                    <a:pt x="794717" y="720407"/>
                  </a:cubicBezTo>
                  <a:cubicBezTo>
                    <a:pt x="806370" y="728891"/>
                    <a:pt x="818738" y="713559"/>
                    <a:pt x="813729" y="703235"/>
                  </a:cubicBezTo>
                  <a:cubicBezTo>
                    <a:pt x="742894" y="556966"/>
                    <a:pt x="575365" y="420715"/>
                    <a:pt x="436047" y="33291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8A0863B8-4B34-4EA7-8EF0-8A002BF768FC}"/>
                </a:ext>
              </a:extLst>
            </p:cNvPr>
            <p:cNvSpPr/>
            <p:nvPr/>
          </p:nvSpPr>
          <p:spPr>
            <a:xfrm>
              <a:off x="9390389" y="3827009"/>
              <a:ext cx="720959" cy="1220085"/>
            </a:xfrm>
            <a:custGeom>
              <a:avLst/>
              <a:gdLst>
                <a:gd name="connsiteX0" fmla="*/ 633 w 930151"/>
                <a:gd name="connsiteY0" fmla="*/ 10328 h 1574102"/>
                <a:gd name="connsiteX1" fmla="*/ 115522 w 930151"/>
                <a:gd name="connsiteY1" fmla="*/ 237245 h 1574102"/>
                <a:gd name="connsiteX2" fmla="*/ 283460 w 930151"/>
                <a:gd name="connsiteY2" fmla="*/ 423581 h 1574102"/>
                <a:gd name="connsiteX3" fmla="*/ 392216 w 930151"/>
                <a:gd name="connsiteY3" fmla="*/ 613802 h 1574102"/>
                <a:gd name="connsiteX4" fmla="*/ 490240 w 930151"/>
                <a:gd name="connsiteY4" fmla="*/ 809236 h 1574102"/>
                <a:gd name="connsiteX5" fmla="*/ 707752 w 930151"/>
                <a:gd name="connsiteY5" fmla="*/ 1218503 h 1574102"/>
                <a:gd name="connsiteX6" fmla="*/ 910546 w 930151"/>
                <a:gd name="connsiteY6" fmla="*/ 1573392 h 1574102"/>
                <a:gd name="connsiteX7" fmla="*/ 935486 w 930151"/>
                <a:gd name="connsiteY7" fmla="*/ 1564397 h 1574102"/>
                <a:gd name="connsiteX8" fmla="*/ 770512 w 930151"/>
                <a:gd name="connsiteY8" fmla="*/ 1224636 h 1574102"/>
                <a:gd name="connsiteX9" fmla="*/ 545640 w 930151"/>
                <a:gd name="connsiteY9" fmla="*/ 805965 h 1574102"/>
                <a:gd name="connsiteX10" fmla="*/ 352046 w 930151"/>
                <a:gd name="connsiteY10" fmla="*/ 453837 h 1574102"/>
                <a:gd name="connsiteX11" fmla="*/ 190547 w 930151"/>
                <a:gd name="connsiteY11" fmla="*/ 257278 h 1574102"/>
                <a:gd name="connsiteX12" fmla="*/ 18009 w 930151"/>
                <a:gd name="connsiteY12" fmla="*/ 4093 h 1574102"/>
                <a:gd name="connsiteX13" fmla="*/ 633 w 930151"/>
                <a:gd name="connsiteY13" fmla="*/ 10328 h 1574102"/>
                <a:gd name="connsiteX14" fmla="*/ 633 w 930151"/>
                <a:gd name="connsiteY14" fmla="*/ 10328 h 1574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30151" h="1574102">
                  <a:moveTo>
                    <a:pt x="633" y="10328"/>
                  </a:moveTo>
                  <a:cubicBezTo>
                    <a:pt x="30990" y="89136"/>
                    <a:pt x="68810" y="165899"/>
                    <a:pt x="115522" y="237245"/>
                  </a:cubicBezTo>
                  <a:cubicBezTo>
                    <a:pt x="163154" y="309919"/>
                    <a:pt x="226220" y="359186"/>
                    <a:pt x="283460" y="423581"/>
                  </a:cubicBezTo>
                  <a:cubicBezTo>
                    <a:pt x="331296" y="477448"/>
                    <a:pt x="359916" y="550838"/>
                    <a:pt x="392216" y="613802"/>
                  </a:cubicBezTo>
                  <a:cubicBezTo>
                    <a:pt x="425538" y="678606"/>
                    <a:pt x="457224" y="744228"/>
                    <a:pt x="490240" y="809236"/>
                  </a:cubicBezTo>
                  <a:cubicBezTo>
                    <a:pt x="560052" y="946919"/>
                    <a:pt x="633340" y="1083069"/>
                    <a:pt x="707752" y="1218503"/>
                  </a:cubicBezTo>
                  <a:cubicBezTo>
                    <a:pt x="772965" y="1337174"/>
                    <a:pt x="831840" y="1461978"/>
                    <a:pt x="910546" y="1573392"/>
                  </a:cubicBezTo>
                  <a:cubicBezTo>
                    <a:pt x="918314" y="1584329"/>
                    <a:pt x="940597" y="1579013"/>
                    <a:pt x="935486" y="1564397"/>
                  </a:cubicBezTo>
                  <a:cubicBezTo>
                    <a:pt x="893578" y="1446543"/>
                    <a:pt x="828365" y="1335845"/>
                    <a:pt x="770512" y="1224636"/>
                  </a:cubicBezTo>
                  <a:cubicBezTo>
                    <a:pt x="697428" y="1084193"/>
                    <a:pt x="623119" y="944262"/>
                    <a:pt x="545640" y="805965"/>
                  </a:cubicBezTo>
                  <a:cubicBezTo>
                    <a:pt x="480325" y="689237"/>
                    <a:pt x="419610" y="569339"/>
                    <a:pt x="352046" y="453837"/>
                  </a:cubicBezTo>
                  <a:cubicBezTo>
                    <a:pt x="309934" y="381878"/>
                    <a:pt x="242370" y="323309"/>
                    <a:pt x="190547" y="257278"/>
                  </a:cubicBezTo>
                  <a:cubicBezTo>
                    <a:pt x="127072" y="176529"/>
                    <a:pt x="77293" y="87500"/>
                    <a:pt x="18009" y="4093"/>
                  </a:cubicBezTo>
                  <a:cubicBezTo>
                    <a:pt x="12592" y="-3573"/>
                    <a:pt x="-3354" y="107"/>
                    <a:pt x="633" y="10328"/>
                  </a:cubicBezTo>
                  <a:lnTo>
                    <a:pt x="633" y="103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1EFEEB13-A701-474F-927D-7F5E3FC3D6FD}"/>
                </a:ext>
              </a:extLst>
            </p:cNvPr>
            <p:cNvSpPr/>
            <p:nvPr/>
          </p:nvSpPr>
          <p:spPr>
            <a:xfrm>
              <a:off x="10282807" y="3204390"/>
              <a:ext cx="1148781" cy="1845972"/>
            </a:xfrm>
            <a:custGeom>
              <a:avLst/>
              <a:gdLst>
                <a:gd name="connsiteX0" fmla="*/ 1126 w 1482109"/>
                <a:gd name="connsiteY0" fmla="*/ 14389 h 2381596"/>
                <a:gd name="connsiteX1" fmla="*/ 505963 w 1482109"/>
                <a:gd name="connsiteY1" fmla="*/ 883825 h 2381596"/>
                <a:gd name="connsiteX2" fmla="*/ 762521 w 1482109"/>
                <a:gd name="connsiteY2" fmla="*/ 1303620 h 2381596"/>
                <a:gd name="connsiteX3" fmla="*/ 1465041 w 1482109"/>
                <a:gd name="connsiteY3" fmla="*/ 2384538 h 2381596"/>
                <a:gd name="connsiteX4" fmla="*/ 1481600 w 1482109"/>
                <a:gd name="connsiteY4" fmla="*/ 2376054 h 2381596"/>
                <a:gd name="connsiteX5" fmla="*/ 811175 w 1482109"/>
                <a:gd name="connsiteY5" fmla="*/ 1295443 h 2381596"/>
                <a:gd name="connsiteX6" fmla="*/ 552368 w 1482109"/>
                <a:gd name="connsiteY6" fmla="*/ 859907 h 2381596"/>
                <a:gd name="connsiteX7" fmla="*/ 19729 w 1482109"/>
                <a:gd name="connsiteY7" fmla="*/ 4781 h 2381596"/>
                <a:gd name="connsiteX8" fmla="*/ 1126 w 1482109"/>
                <a:gd name="connsiteY8" fmla="*/ 14389 h 2381596"/>
                <a:gd name="connsiteX9" fmla="*/ 1126 w 1482109"/>
                <a:gd name="connsiteY9" fmla="*/ 14389 h 2381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482109" h="2381596">
                  <a:moveTo>
                    <a:pt x="1126" y="14389"/>
                  </a:moveTo>
                  <a:cubicBezTo>
                    <a:pt x="138502" y="316024"/>
                    <a:pt x="335060" y="598340"/>
                    <a:pt x="505963" y="883825"/>
                  </a:cubicBezTo>
                  <a:cubicBezTo>
                    <a:pt x="590086" y="1024472"/>
                    <a:pt x="673288" y="1165835"/>
                    <a:pt x="762521" y="1303620"/>
                  </a:cubicBezTo>
                  <a:cubicBezTo>
                    <a:pt x="851857" y="1441609"/>
                    <a:pt x="1364360" y="2253703"/>
                    <a:pt x="1465041" y="2384538"/>
                  </a:cubicBezTo>
                  <a:cubicBezTo>
                    <a:pt x="1472094" y="2393737"/>
                    <a:pt x="1486506" y="2386684"/>
                    <a:pt x="1481600" y="2376054"/>
                  </a:cubicBezTo>
                  <a:cubicBezTo>
                    <a:pt x="1415876" y="2232136"/>
                    <a:pt x="888961" y="1433841"/>
                    <a:pt x="811175" y="1295443"/>
                  </a:cubicBezTo>
                  <a:cubicBezTo>
                    <a:pt x="728586" y="1148356"/>
                    <a:pt x="640171" y="1004336"/>
                    <a:pt x="552368" y="859907"/>
                  </a:cubicBezTo>
                  <a:cubicBezTo>
                    <a:pt x="379319" y="575138"/>
                    <a:pt x="223034" y="271458"/>
                    <a:pt x="19729" y="4781"/>
                  </a:cubicBezTo>
                  <a:cubicBezTo>
                    <a:pt x="11756" y="-5543"/>
                    <a:pt x="-4394" y="2328"/>
                    <a:pt x="1126" y="14389"/>
                  </a:cubicBezTo>
                  <a:lnTo>
                    <a:pt x="1126" y="1438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D2023946-24D7-4736-BC81-11063593DF2F}"/>
                </a:ext>
              </a:extLst>
            </p:cNvPr>
            <p:cNvSpPr/>
            <p:nvPr/>
          </p:nvSpPr>
          <p:spPr>
            <a:xfrm>
              <a:off x="9305473" y="3252744"/>
              <a:ext cx="808108" cy="522893"/>
            </a:xfrm>
            <a:custGeom>
              <a:avLst/>
              <a:gdLst>
                <a:gd name="connsiteX0" fmla="*/ 1635 w 1042587"/>
                <a:gd name="connsiteY0" fmla="*/ 616808 h 674615"/>
                <a:gd name="connsiteX1" fmla="*/ 493082 w 1042587"/>
                <a:gd name="connsiteY1" fmla="*/ 474832 h 674615"/>
                <a:gd name="connsiteX2" fmla="*/ 750765 w 1042587"/>
                <a:gd name="connsiteY2" fmla="*/ 236979 h 674615"/>
                <a:gd name="connsiteX3" fmla="*/ 1046982 w 1042587"/>
                <a:gd name="connsiteY3" fmla="*/ 13028 h 674615"/>
                <a:gd name="connsiteX4" fmla="*/ 1043813 w 1042587"/>
                <a:gd name="connsiteY4" fmla="*/ 251 h 674615"/>
                <a:gd name="connsiteX5" fmla="*/ 799419 w 1042587"/>
                <a:gd name="connsiteY5" fmla="*/ 159296 h 674615"/>
                <a:gd name="connsiteX6" fmla="*/ 573525 w 1042587"/>
                <a:gd name="connsiteY6" fmla="*/ 387132 h 674615"/>
                <a:gd name="connsiteX7" fmla="*/ 315433 w 1042587"/>
                <a:gd name="connsiteY7" fmla="*/ 596365 h 674615"/>
                <a:gd name="connsiteX8" fmla="*/ 10425 w 1042587"/>
                <a:gd name="connsiteY8" fmla="*/ 608631 h 674615"/>
                <a:gd name="connsiteX9" fmla="*/ 1635 w 1042587"/>
                <a:gd name="connsiteY9" fmla="*/ 616808 h 674615"/>
                <a:gd name="connsiteX10" fmla="*/ 1635 w 1042587"/>
                <a:gd name="connsiteY10" fmla="*/ 616808 h 674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2587" h="674615">
                  <a:moveTo>
                    <a:pt x="1635" y="616808"/>
                  </a:moveTo>
                  <a:cubicBezTo>
                    <a:pt x="140647" y="777285"/>
                    <a:pt x="384428" y="566110"/>
                    <a:pt x="493082" y="474832"/>
                  </a:cubicBezTo>
                  <a:cubicBezTo>
                    <a:pt x="582724" y="399500"/>
                    <a:pt x="666131" y="317218"/>
                    <a:pt x="750765" y="236979"/>
                  </a:cubicBezTo>
                  <a:cubicBezTo>
                    <a:pt x="839998" y="152346"/>
                    <a:pt x="923609" y="52176"/>
                    <a:pt x="1046982" y="13028"/>
                  </a:cubicBezTo>
                  <a:cubicBezTo>
                    <a:pt x="1055261" y="10370"/>
                    <a:pt x="1052604" y="-1896"/>
                    <a:pt x="1043813" y="251"/>
                  </a:cubicBezTo>
                  <a:cubicBezTo>
                    <a:pt x="942008" y="25804"/>
                    <a:pt x="871275" y="90302"/>
                    <a:pt x="799419" y="159296"/>
                  </a:cubicBezTo>
                  <a:cubicBezTo>
                    <a:pt x="722145" y="233504"/>
                    <a:pt x="650799" y="312925"/>
                    <a:pt x="573525" y="387132"/>
                  </a:cubicBezTo>
                  <a:cubicBezTo>
                    <a:pt x="493900" y="463589"/>
                    <a:pt x="410697" y="537388"/>
                    <a:pt x="315433" y="596365"/>
                  </a:cubicBezTo>
                  <a:cubicBezTo>
                    <a:pt x="225894" y="651868"/>
                    <a:pt x="99556" y="682430"/>
                    <a:pt x="10425" y="608631"/>
                  </a:cubicBezTo>
                  <a:cubicBezTo>
                    <a:pt x="4497" y="603725"/>
                    <a:pt x="-3476" y="610982"/>
                    <a:pt x="1635" y="616808"/>
                  </a:cubicBezTo>
                  <a:lnTo>
                    <a:pt x="1635" y="6168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A2BE9087-6804-4767-A12A-289D4640C2AA}"/>
                </a:ext>
              </a:extLst>
            </p:cNvPr>
            <p:cNvSpPr/>
            <p:nvPr/>
          </p:nvSpPr>
          <p:spPr>
            <a:xfrm>
              <a:off x="10145618" y="3097557"/>
              <a:ext cx="118840" cy="150530"/>
            </a:xfrm>
            <a:custGeom>
              <a:avLst/>
              <a:gdLst>
                <a:gd name="connsiteX0" fmla="*/ 6400 w 153321"/>
                <a:gd name="connsiteY0" fmla="*/ 196276 h 194207"/>
                <a:gd name="connsiteX1" fmla="*/ 80097 w 153321"/>
                <a:gd name="connsiteY1" fmla="*/ 177878 h 194207"/>
                <a:gd name="connsiteX2" fmla="*/ 138053 w 153321"/>
                <a:gd name="connsiteY2" fmla="*/ 131268 h 194207"/>
                <a:gd name="connsiteX3" fmla="*/ 141426 w 153321"/>
                <a:gd name="connsiteY3" fmla="*/ 3193 h 194207"/>
                <a:gd name="connsiteX4" fmla="*/ 129058 w 153321"/>
                <a:gd name="connsiteY4" fmla="*/ 4420 h 194207"/>
                <a:gd name="connsiteX5" fmla="*/ 114339 w 153321"/>
                <a:gd name="connsiteY5" fmla="*/ 124522 h 194207"/>
                <a:gd name="connsiteX6" fmla="*/ 45957 w 153321"/>
                <a:gd name="connsiteY6" fmla="*/ 172563 h 194207"/>
                <a:gd name="connsiteX7" fmla="*/ 1494 w 153321"/>
                <a:gd name="connsiteY7" fmla="*/ 189939 h 194207"/>
                <a:gd name="connsiteX8" fmla="*/ 6400 w 153321"/>
                <a:gd name="connsiteY8" fmla="*/ 196276 h 194207"/>
                <a:gd name="connsiteX9" fmla="*/ 6400 w 153321"/>
                <a:gd name="connsiteY9" fmla="*/ 196276 h 194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3321" h="194207">
                  <a:moveTo>
                    <a:pt x="6400" y="196276"/>
                  </a:moveTo>
                  <a:cubicBezTo>
                    <a:pt x="29603" y="186873"/>
                    <a:pt x="56485" y="188406"/>
                    <a:pt x="80097" y="177878"/>
                  </a:cubicBezTo>
                  <a:cubicBezTo>
                    <a:pt x="103300" y="167554"/>
                    <a:pt x="124151" y="151813"/>
                    <a:pt x="138053" y="131268"/>
                  </a:cubicBezTo>
                  <a:cubicBezTo>
                    <a:pt x="161767" y="96208"/>
                    <a:pt x="163402" y="39173"/>
                    <a:pt x="141426" y="3193"/>
                  </a:cubicBezTo>
                  <a:cubicBezTo>
                    <a:pt x="138768" y="-1202"/>
                    <a:pt x="130182" y="-1304"/>
                    <a:pt x="129058" y="4420"/>
                  </a:cubicBezTo>
                  <a:cubicBezTo>
                    <a:pt x="120676" y="46225"/>
                    <a:pt x="140608" y="84862"/>
                    <a:pt x="114339" y="124522"/>
                  </a:cubicBezTo>
                  <a:cubicBezTo>
                    <a:pt x="98700" y="148235"/>
                    <a:pt x="72942" y="162954"/>
                    <a:pt x="45957" y="172563"/>
                  </a:cubicBezTo>
                  <a:cubicBezTo>
                    <a:pt x="29808" y="178287"/>
                    <a:pt x="14782" y="179820"/>
                    <a:pt x="1494" y="189939"/>
                  </a:cubicBezTo>
                  <a:cubicBezTo>
                    <a:pt x="-2492" y="193005"/>
                    <a:pt x="2312" y="198014"/>
                    <a:pt x="6400" y="196276"/>
                  </a:cubicBezTo>
                  <a:lnTo>
                    <a:pt x="6400" y="1962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A136A9A6-4478-440C-A339-90AB223EFDD9}"/>
                </a:ext>
              </a:extLst>
            </p:cNvPr>
            <p:cNvSpPr/>
            <p:nvPr/>
          </p:nvSpPr>
          <p:spPr>
            <a:xfrm>
              <a:off x="9374424" y="3779378"/>
              <a:ext cx="308982" cy="95071"/>
            </a:xfrm>
            <a:custGeom>
              <a:avLst/>
              <a:gdLst>
                <a:gd name="connsiteX0" fmla="*/ 401877 w 398636"/>
                <a:gd name="connsiteY0" fmla="*/ 536 h 122657"/>
                <a:gd name="connsiteX1" fmla="*/ 195710 w 398636"/>
                <a:gd name="connsiteY1" fmla="*/ 90689 h 122657"/>
                <a:gd name="connsiteX2" fmla="*/ 86341 w 398636"/>
                <a:gd name="connsiteY2" fmla="*/ 90791 h 122657"/>
                <a:gd name="connsiteX3" fmla="*/ 13257 w 398636"/>
                <a:gd name="connsiteY3" fmla="*/ 38151 h 122657"/>
                <a:gd name="connsiteX4" fmla="*/ 787 w 398636"/>
                <a:gd name="connsiteY4" fmla="*/ 49496 h 122657"/>
                <a:gd name="connsiteX5" fmla="*/ 160855 w 398636"/>
                <a:gd name="connsiteY5" fmla="*/ 120433 h 122657"/>
                <a:gd name="connsiteX6" fmla="*/ 405045 w 398636"/>
                <a:gd name="connsiteY6" fmla="*/ 5953 h 122657"/>
                <a:gd name="connsiteX7" fmla="*/ 401877 w 398636"/>
                <a:gd name="connsiteY7" fmla="*/ 536 h 122657"/>
                <a:gd name="connsiteX8" fmla="*/ 401877 w 398636"/>
                <a:gd name="connsiteY8" fmla="*/ 53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636" h="122657">
                  <a:moveTo>
                    <a:pt x="401877" y="536"/>
                  </a:moveTo>
                  <a:cubicBezTo>
                    <a:pt x="339730" y="42546"/>
                    <a:pt x="270531" y="74846"/>
                    <a:pt x="195710" y="90689"/>
                  </a:cubicBezTo>
                  <a:cubicBezTo>
                    <a:pt x="159322" y="98355"/>
                    <a:pt x="121502" y="106634"/>
                    <a:pt x="86341" y="90791"/>
                  </a:cubicBezTo>
                  <a:cubicBezTo>
                    <a:pt x="57823" y="78014"/>
                    <a:pt x="40446" y="52256"/>
                    <a:pt x="13257" y="38151"/>
                  </a:cubicBezTo>
                  <a:cubicBezTo>
                    <a:pt x="4978" y="33858"/>
                    <a:pt x="-2484" y="41933"/>
                    <a:pt x="787" y="49496"/>
                  </a:cubicBezTo>
                  <a:cubicBezTo>
                    <a:pt x="26034" y="108781"/>
                    <a:pt x="98708" y="134948"/>
                    <a:pt x="160855" y="120433"/>
                  </a:cubicBezTo>
                  <a:cubicBezTo>
                    <a:pt x="248044" y="100195"/>
                    <a:pt x="332677" y="54914"/>
                    <a:pt x="405045" y="5953"/>
                  </a:cubicBezTo>
                  <a:cubicBezTo>
                    <a:pt x="408418" y="3704"/>
                    <a:pt x="405250" y="-1713"/>
                    <a:pt x="401877" y="536"/>
                  </a:cubicBezTo>
                  <a:lnTo>
                    <a:pt x="401877" y="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FFC1382-5C6E-46F5-B74D-A693CED096AF}"/>
                </a:ext>
              </a:extLst>
            </p:cNvPr>
            <p:cNvSpPr/>
            <p:nvPr/>
          </p:nvSpPr>
          <p:spPr>
            <a:xfrm>
              <a:off x="9466197" y="2554922"/>
              <a:ext cx="198066" cy="625888"/>
            </a:xfrm>
            <a:custGeom>
              <a:avLst/>
              <a:gdLst>
                <a:gd name="connsiteX0" fmla="*/ 259863 w 255536"/>
                <a:gd name="connsiteY0" fmla="*/ 809172 h 807494"/>
                <a:gd name="connsiteX1" fmla="*/ 34173 w 255536"/>
                <a:gd name="connsiteY1" fmla="*/ 428628 h 807494"/>
                <a:gd name="connsiteX2" fmla="*/ 83338 w 255536"/>
                <a:gd name="connsiteY2" fmla="*/ 12206 h 807494"/>
                <a:gd name="connsiteX3" fmla="*/ 65451 w 255536"/>
                <a:gd name="connsiteY3" fmla="*/ 4744 h 807494"/>
                <a:gd name="connsiteX4" fmla="*/ 10868 w 255536"/>
                <a:gd name="connsiteY4" fmla="*/ 440178 h 807494"/>
                <a:gd name="connsiteX5" fmla="*/ 256285 w 255536"/>
                <a:gd name="connsiteY5" fmla="*/ 814589 h 807494"/>
                <a:gd name="connsiteX6" fmla="*/ 259863 w 255536"/>
                <a:gd name="connsiteY6" fmla="*/ 809172 h 807494"/>
                <a:gd name="connsiteX7" fmla="*/ 259863 w 255536"/>
                <a:gd name="connsiteY7" fmla="*/ 809172 h 807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5536" h="807494">
                  <a:moveTo>
                    <a:pt x="259863" y="809172"/>
                  </a:moveTo>
                  <a:cubicBezTo>
                    <a:pt x="128108" y="722903"/>
                    <a:pt x="56456" y="575407"/>
                    <a:pt x="34173" y="428628"/>
                  </a:cubicBezTo>
                  <a:cubicBezTo>
                    <a:pt x="12197" y="283790"/>
                    <a:pt x="49403" y="151729"/>
                    <a:pt x="83338" y="12206"/>
                  </a:cubicBezTo>
                  <a:cubicBezTo>
                    <a:pt x="85689" y="2598"/>
                    <a:pt x="70357" y="-5477"/>
                    <a:pt x="65451" y="4744"/>
                  </a:cubicBezTo>
                  <a:cubicBezTo>
                    <a:pt x="2589" y="135681"/>
                    <a:pt x="-13561" y="299122"/>
                    <a:pt x="10868" y="440178"/>
                  </a:cubicBezTo>
                  <a:cubicBezTo>
                    <a:pt x="37035" y="591455"/>
                    <a:pt x="125655" y="724538"/>
                    <a:pt x="256285" y="814589"/>
                  </a:cubicBezTo>
                  <a:cubicBezTo>
                    <a:pt x="259863" y="817043"/>
                    <a:pt x="263542" y="811523"/>
                    <a:pt x="259863" y="809172"/>
                  </a:cubicBezTo>
                  <a:lnTo>
                    <a:pt x="259863" y="809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016D52EB-C904-4B0D-ADF0-684CB502A408}"/>
                </a:ext>
              </a:extLst>
            </p:cNvPr>
            <p:cNvSpPr/>
            <p:nvPr/>
          </p:nvSpPr>
          <p:spPr>
            <a:xfrm>
              <a:off x="9496903" y="2321123"/>
              <a:ext cx="150530" cy="95071"/>
            </a:xfrm>
            <a:custGeom>
              <a:avLst/>
              <a:gdLst>
                <a:gd name="connsiteX0" fmla="*/ 188458 w 194207"/>
                <a:gd name="connsiteY0" fmla="*/ 1374 h 122657"/>
                <a:gd name="connsiteX1" fmla="*/ 97999 w 194207"/>
                <a:gd name="connsiteY1" fmla="*/ 74559 h 122657"/>
                <a:gd name="connsiteX2" fmla="*/ 4575 w 194207"/>
                <a:gd name="connsiteY2" fmla="*/ 112072 h 122657"/>
                <a:gd name="connsiteX3" fmla="*/ 11014 w 194207"/>
                <a:gd name="connsiteY3" fmla="*/ 128017 h 122657"/>
                <a:gd name="connsiteX4" fmla="*/ 194182 w 194207"/>
                <a:gd name="connsiteY4" fmla="*/ 4645 h 122657"/>
                <a:gd name="connsiteX5" fmla="*/ 188458 w 194207"/>
                <a:gd name="connsiteY5" fmla="*/ 1374 h 122657"/>
                <a:gd name="connsiteX6" fmla="*/ 188458 w 194207"/>
                <a:gd name="connsiteY6" fmla="*/ 1374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4207" h="122657">
                  <a:moveTo>
                    <a:pt x="188458" y="1374"/>
                  </a:moveTo>
                  <a:cubicBezTo>
                    <a:pt x="165767" y="32958"/>
                    <a:pt x="134285" y="58103"/>
                    <a:pt x="97999" y="74559"/>
                  </a:cubicBezTo>
                  <a:cubicBezTo>
                    <a:pt x="67436" y="88460"/>
                    <a:pt x="33297" y="95104"/>
                    <a:pt x="4575" y="112072"/>
                  </a:cubicBezTo>
                  <a:cubicBezTo>
                    <a:pt x="-4318" y="117285"/>
                    <a:pt x="793" y="129448"/>
                    <a:pt x="11014" y="128017"/>
                  </a:cubicBezTo>
                  <a:cubicBezTo>
                    <a:pt x="90332" y="116774"/>
                    <a:pt x="152172" y="66382"/>
                    <a:pt x="194182" y="4645"/>
                  </a:cubicBezTo>
                  <a:cubicBezTo>
                    <a:pt x="196431" y="1271"/>
                    <a:pt x="190809" y="-1897"/>
                    <a:pt x="188458" y="1374"/>
                  </a:cubicBezTo>
                  <a:lnTo>
                    <a:pt x="188458" y="13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1EAA7E8-DC31-46D8-8B8B-C39B6B6FF5B2}"/>
                </a:ext>
              </a:extLst>
            </p:cNvPr>
            <p:cNvSpPr/>
            <p:nvPr/>
          </p:nvSpPr>
          <p:spPr>
            <a:xfrm>
              <a:off x="9365815" y="2206227"/>
              <a:ext cx="71304" cy="166375"/>
            </a:xfrm>
            <a:custGeom>
              <a:avLst/>
              <a:gdLst>
                <a:gd name="connsiteX0" fmla="*/ 63103 w 91992"/>
                <a:gd name="connsiteY0" fmla="*/ 3953 h 214650"/>
                <a:gd name="connsiteX1" fmla="*/ 73529 w 91992"/>
                <a:gd name="connsiteY1" fmla="*/ 130597 h 214650"/>
                <a:gd name="connsiteX2" fmla="*/ 49713 w 91992"/>
                <a:gd name="connsiteY2" fmla="*/ 181602 h 214650"/>
                <a:gd name="connsiteX3" fmla="*/ 2797 w 91992"/>
                <a:gd name="connsiteY3" fmla="*/ 207462 h 214650"/>
                <a:gd name="connsiteX4" fmla="*/ 8929 w 91992"/>
                <a:gd name="connsiteY4" fmla="*/ 222488 h 214650"/>
                <a:gd name="connsiteX5" fmla="*/ 68112 w 91992"/>
                <a:gd name="connsiteY5" fmla="*/ 1500 h 214650"/>
                <a:gd name="connsiteX6" fmla="*/ 63103 w 91992"/>
                <a:gd name="connsiteY6" fmla="*/ 3953 h 214650"/>
                <a:gd name="connsiteX7" fmla="*/ 63103 w 91992"/>
                <a:gd name="connsiteY7" fmla="*/ 3953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1992" h="214650">
                  <a:moveTo>
                    <a:pt x="63103" y="3953"/>
                  </a:moveTo>
                  <a:cubicBezTo>
                    <a:pt x="80275" y="44634"/>
                    <a:pt x="84773" y="87871"/>
                    <a:pt x="73529" y="130597"/>
                  </a:cubicBezTo>
                  <a:cubicBezTo>
                    <a:pt x="68827" y="148484"/>
                    <a:pt x="63307" y="168212"/>
                    <a:pt x="49713" y="181602"/>
                  </a:cubicBezTo>
                  <a:cubicBezTo>
                    <a:pt x="37141" y="193970"/>
                    <a:pt x="17413" y="196730"/>
                    <a:pt x="2797" y="207462"/>
                  </a:cubicBezTo>
                  <a:cubicBezTo>
                    <a:pt x="-3234" y="211960"/>
                    <a:pt x="1263" y="222999"/>
                    <a:pt x="8929" y="222488"/>
                  </a:cubicBezTo>
                  <a:cubicBezTo>
                    <a:pt x="121876" y="214924"/>
                    <a:pt x="102558" y="69575"/>
                    <a:pt x="68112" y="1500"/>
                  </a:cubicBezTo>
                  <a:cubicBezTo>
                    <a:pt x="66476" y="-1771"/>
                    <a:pt x="61774" y="887"/>
                    <a:pt x="63103" y="3953"/>
                  </a:cubicBezTo>
                  <a:lnTo>
                    <a:pt x="63103" y="3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DEFFA646-8883-46E7-B6F2-E5AD3BF094ED}"/>
                </a:ext>
              </a:extLst>
            </p:cNvPr>
            <p:cNvSpPr/>
            <p:nvPr/>
          </p:nvSpPr>
          <p:spPr>
            <a:xfrm>
              <a:off x="9210235" y="2634513"/>
              <a:ext cx="198066" cy="245602"/>
            </a:xfrm>
            <a:custGeom>
              <a:avLst/>
              <a:gdLst>
                <a:gd name="connsiteX0" fmla="*/ 3178 w 255536"/>
                <a:gd name="connsiteY0" fmla="*/ 319094 h 316864"/>
                <a:gd name="connsiteX1" fmla="*/ 212411 w 255536"/>
                <a:gd name="connsiteY1" fmla="*/ 197254 h 316864"/>
                <a:gd name="connsiteX2" fmla="*/ 228663 w 255536"/>
                <a:gd name="connsiteY2" fmla="*/ 798 h 316864"/>
                <a:gd name="connsiteX3" fmla="*/ 219566 w 255536"/>
                <a:gd name="connsiteY3" fmla="*/ 7033 h 316864"/>
                <a:gd name="connsiteX4" fmla="*/ 232240 w 255536"/>
                <a:gd name="connsiteY4" fmla="*/ 103319 h 316864"/>
                <a:gd name="connsiteX5" fmla="*/ 189310 w 255536"/>
                <a:gd name="connsiteY5" fmla="*/ 198992 h 316864"/>
                <a:gd name="connsiteX6" fmla="*/ 2462 w 255536"/>
                <a:gd name="connsiteY6" fmla="*/ 312859 h 316864"/>
                <a:gd name="connsiteX7" fmla="*/ 3178 w 255536"/>
                <a:gd name="connsiteY7" fmla="*/ 319094 h 316864"/>
                <a:gd name="connsiteX8" fmla="*/ 3178 w 255536"/>
                <a:gd name="connsiteY8" fmla="*/ 319094 h 316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5536" h="316864">
                  <a:moveTo>
                    <a:pt x="3178" y="319094"/>
                  </a:moveTo>
                  <a:cubicBezTo>
                    <a:pt x="91696" y="310712"/>
                    <a:pt x="163859" y="267578"/>
                    <a:pt x="212411" y="197254"/>
                  </a:cubicBezTo>
                  <a:cubicBezTo>
                    <a:pt x="245222" y="149827"/>
                    <a:pt x="296636" y="42195"/>
                    <a:pt x="228663" y="798"/>
                  </a:cubicBezTo>
                  <a:cubicBezTo>
                    <a:pt x="224574" y="-1757"/>
                    <a:pt x="217828" y="2229"/>
                    <a:pt x="219566" y="7033"/>
                  </a:cubicBezTo>
                  <a:cubicBezTo>
                    <a:pt x="231627" y="40151"/>
                    <a:pt x="240418" y="67953"/>
                    <a:pt x="232240" y="103319"/>
                  </a:cubicBezTo>
                  <a:cubicBezTo>
                    <a:pt x="224472" y="137050"/>
                    <a:pt x="209140" y="170167"/>
                    <a:pt x="189310" y="198992"/>
                  </a:cubicBezTo>
                  <a:cubicBezTo>
                    <a:pt x="147300" y="260218"/>
                    <a:pt x="79737" y="304784"/>
                    <a:pt x="2462" y="312859"/>
                  </a:cubicBezTo>
                  <a:cubicBezTo>
                    <a:pt x="-1217" y="313267"/>
                    <a:pt x="-604" y="319503"/>
                    <a:pt x="3178" y="319094"/>
                  </a:cubicBezTo>
                  <a:lnTo>
                    <a:pt x="3178" y="31909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7BAD4F1F-7EB8-4D94-8196-D4DEB1558935}"/>
                </a:ext>
              </a:extLst>
            </p:cNvPr>
            <p:cNvSpPr/>
            <p:nvPr/>
          </p:nvSpPr>
          <p:spPr>
            <a:xfrm>
              <a:off x="9242411" y="2605000"/>
              <a:ext cx="134685" cy="229756"/>
            </a:xfrm>
            <a:custGeom>
              <a:avLst/>
              <a:gdLst>
                <a:gd name="connsiteX0" fmla="*/ 3882 w 173764"/>
                <a:gd name="connsiteY0" fmla="*/ 306267 h 296421"/>
                <a:gd name="connsiteX1" fmla="*/ 144120 w 173764"/>
                <a:gd name="connsiteY1" fmla="*/ 174717 h 296421"/>
                <a:gd name="connsiteX2" fmla="*/ 171309 w 173764"/>
                <a:gd name="connsiteY2" fmla="*/ 4530 h 296421"/>
                <a:gd name="connsiteX3" fmla="*/ 154137 w 173764"/>
                <a:gd name="connsiteY3" fmla="*/ 8415 h 296421"/>
                <a:gd name="connsiteX4" fmla="*/ 132263 w 173764"/>
                <a:gd name="connsiteY4" fmla="*/ 161430 h 296421"/>
                <a:gd name="connsiteX5" fmla="*/ 2349 w 173764"/>
                <a:gd name="connsiteY5" fmla="*/ 300135 h 296421"/>
                <a:gd name="connsiteX6" fmla="*/ 3882 w 173764"/>
                <a:gd name="connsiteY6" fmla="*/ 306267 h 296421"/>
                <a:gd name="connsiteX7" fmla="*/ 3882 w 173764"/>
                <a:gd name="connsiteY7" fmla="*/ 306267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3764" h="296421">
                  <a:moveTo>
                    <a:pt x="3882" y="306267"/>
                  </a:moveTo>
                  <a:cubicBezTo>
                    <a:pt x="65313" y="293082"/>
                    <a:pt x="116113" y="224598"/>
                    <a:pt x="144120" y="174717"/>
                  </a:cubicBezTo>
                  <a:cubicBezTo>
                    <a:pt x="171309" y="126370"/>
                    <a:pt x="193694" y="57886"/>
                    <a:pt x="171309" y="4530"/>
                  </a:cubicBezTo>
                  <a:cubicBezTo>
                    <a:pt x="167834" y="-3851"/>
                    <a:pt x="154444" y="544"/>
                    <a:pt x="154137" y="8415"/>
                  </a:cubicBezTo>
                  <a:cubicBezTo>
                    <a:pt x="151888" y="63202"/>
                    <a:pt x="156386" y="109402"/>
                    <a:pt x="132263" y="161430"/>
                  </a:cubicBezTo>
                  <a:cubicBezTo>
                    <a:pt x="107732" y="214479"/>
                    <a:pt x="62144" y="279794"/>
                    <a:pt x="2349" y="300135"/>
                  </a:cubicBezTo>
                  <a:cubicBezTo>
                    <a:pt x="-1536" y="301566"/>
                    <a:pt x="-309" y="307188"/>
                    <a:pt x="3882" y="306267"/>
                  </a:cubicBezTo>
                  <a:lnTo>
                    <a:pt x="3882" y="3062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2A1DEE5E-61A8-4A65-A5FA-75D553C4E431}"/>
                </a:ext>
              </a:extLst>
            </p:cNvPr>
            <p:cNvSpPr/>
            <p:nvPr/>
          </p:nvSpPr>
          <p:spPr>
            <a:xfrm>
              <a:off x="9399250" y="2444943"/>
              <a:ext cx="118840" cy="126762"/>
            </a:xfrm>
            <a:custGeom>
              <a:avLst/>
              <a:gdLst>
                <a:gd name="connsiteX0" fmla="*/ 3816 w 153321"/>
                <a:gd name="connsiteY0" fmla="*/ 165033 h 163543"/>
                <a:gd name="connsiteX1" fmla="*/ 157342 w 153321"/>
                <a:gd name="connsiteY1" fmla="*/ 8850 h 163543"/>
                <a:gd name="connsiteX2" fmla="*/ 140579 w 153321"/>
                <a:gd name="connsiteY2" fmla="*/ 4148 h 163543"/>
                <a:gd name="connsiteX3" fmla="*/ 101022 w 153321"/>
                <a:gd name="connsiteY3" fmla="*/ 81728 h 163543"/>
                <a:gd name="connsiteX4" fmla="*/ 1159 w 153321"/>
                <a:gd name="connsiteY4" fmla="*/ 160536 h 163543"/>
                <a:gd name="connsiteX5" fmla="*/ 3816 w 153321"/>
                <a:gd name="connsiteY5" fmla="*/ 165033 h 163543"/>
                <a:gd name="connsiteX6" fmla="*/ 3816 w 153321"/>
                <a:gd name="connsiteY6" fmla="*/ 165033 h 163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3321" h="163543">
                  <a:moveTo>
                    <a:pt x="3816" y="165033"/>
                  </a:moveTo>
                  <a:cubicBezTo>
                    <a:pt x="65145" y="126907"/>
                    <a:pt x="154685" y="90417"/>
                    <a:pt x="157342" y="8850"/>
                  </a:cubicBezTo>
                  <a:cubicBezTo>
                    <a:pt x="157649" y="775"/>
                    <a:pt x="144668" y="-3825"/>
                    <a:pt x="140579" y="4148"/>
                  </a:cubicBezTo>
                  <a:cubicBezTo>
                    <a:pt x="127189" y="30315"/>
                    <a:pt x="119523" y="57912"/>
                    <a:pt x="101022" y="81728"/>
                  </a:cubicBezTo>
                  <a:cubicBezTo>
                    <a:pt x="75060" y="115255"/>
                    <a:pt x="36525" y="137026"/>
                    <a:pt x="1159" y="160536"/>
                  </a:cubicBezTo>
                  <a:cubicBezTo>
                    <a:pt x="-1499" y="162376"/>
                    <a:pt x="852" y="166771"/>
                    <a:pt x="3816" y="165033"/>
                  </a:cubicBezTo>
                  <a:lnTo>
                    <a:pt x="3816" y="1650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93E29A69-E820-486D-B163-FD7FE859C34D}"/>
                </a:ext>
              </a:extLst>
            </p:cNvPr>
            <p:cNvSpPr/>
            <p:nvPr/>
          </p:nvSpPr>
          <p:spPr>
            <a:xfrm>
              <a:off x="9427963" y="2462524"/>
              <a:ext cx="110917" cy="118840"/>
            </a:xfrm>
            <a:custGeom>
              <a:avLst/>
              <a:gdLst>
                <a:gd name="connsiteX0" fmla="*/ 4591 w 143100"/>
                <a:gd name="connsiteY0" fmla="*/ 156763 h 153321"/>
                <a:gd name="connsiteX1" fmla="*/ 145545 w 143100"/>
                <a:gd name="connsiteY1" fmla="*/ 4770 h 153321"/>
                <a:gd name="connsiteX2" fmla="*/ 133484 w 143100"/>
                <a:gd name="connsiteY2" fmla="*/ 2930 h 153321"/>
                <a:gd name="connsiteX3" fmla="*/ 92803 w 143100"/>
                <a:gd name="connsiteY3" fmla="*/ 82044 h 153321"/>
                <a:gd name="connsiteX4" fmla="*/ 1525 w 143100"/>
                <a:gd name="connsiteY4" fmla="*/ 151448 h 153321"/>
                <a:gd name="connsiteX5" fmla="*/ 4591 w 143100"/>
                <a:gd name="connsiteY5" fmla="*/ 156763 h 153321"/>
                <a:gd name="connsiteX6" fmla="*/ 4591 w 143100"/>
                <a:gd name="connsiteY6" fmla="*/ 156763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3100" h="153321">
                  <a:moveTo>
                    <a:pt x="4591" y="156763"/>
                  </a:moveTo>
                  <a:cubicBezTo>
                    <a:pt x="57845" y="131311"/>
                    <a:pt x="165273" y="76524"/>
                    <a:pt x="145545" y="4770"/>
                  </a:cubicBezTo>
                  <a:cubicBezTo>
                    <a:pt x="144216" y="-136"/>
                    <a:pt x="136141" y="-2078"/>
                    <a:pt x="133484" y="2930"/>
                  </a:cubicBezTo>
                  <a:cubicBezTo>
                    <a:pt x="119276" y="29915"/>
                    <a:pt x="113552" y="57717"/>
                    <a:pt x="92803" y="82044"/>
                  </a:cubicBezTo>
                  <a:cubicBezTo>
                    <a:pt x="67862" y="111277"/>
                    <a:pt x="34234" y="130903"/>
                    <a:pt x="1525" y="151448"/>
                  </a:cubicBezTo>
                  <a:cubicBezTo>
                    <a:pt x="-1848" y="153594"/>
                    <a:pt x="912" y="158603"/>
                    <a:pt x="4591" y="156763"/>
                  </a:cubicBezTo>
                  <a:lnTo>
                    <a:pt x="4591" y="1567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8A64E6D2-A227-4B90-91DB-A034DFAE38D8}"/>
                </a:ext>
              </a:extLst>
            </p:cNvPr>
            <p:cNvSpPr/>
            <p:nvPr/>
          </p:nvSpPr>
          <p:spPr>
            <a:xfrm>
              <a:off x="9003717" y="2893486"/>
              <a:ext cx="118840" cy="190143"/>
            </a:xfrm>
            <a:custGeom>
              <a:avLst/>
              <a:gdLst>
                <a:gd name="connsiteX0" fmla="*/ 3862 w 153321"/>
                <a:gd name="connsiteY0" fmla="*/ 247567 h 245314"/>
                <a:gd name="connsiteX1" fmla="*/ 135514 w 153321"/>
                <a:gd name="connsiteY1" fmla="*/ 123581 h 245314"/>
                <a:gd name="connsiteX2" fmla="*/ 146043 w 153321"/>
                <a:gd name="connsiteY2" fmla="*/ 2150 h 245314"/>
                <a:gd name="connsiteX3" fmla="*/ 133470 w 153321"/>
                <a:gd name="connsiteY3" fmla="*/ 6750 h 245314"/>
                <a:gd name="connsiteX4" fmla="*/ 133470 w 153321"/>
                <a:gd name="connsiteY4" fmla="*/ 67976 h 245314"/>
                <a:gd name="connsiteX5" fmla="*/ 109859 w 153321"/>
                <a:gd name="connsiteY5" fmla="*/ 130838 h 245314"/>
                <a:gd name="connsiteX6" fmla="*/ 1409 w 153321"/>
                <a:gd name="connsiteY6" fmla="*/ 243274 h 245314"/>
                <a:gd name="connsiteX7" fmla="*/ 3862 w 153321"/>
                <a:gd name="connsiteY7" fmla="*/ 247567 h 245314"/>
                <a:gd name="connsiteX8" fmla="*/ 3862 w 153321"/>
                <a:gd name="connsiteY8" fmla="*/ 247567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321" h="245314">
                  <a:moveTo>
                    <a:pt x="3862" y="247567"/>
                  </a:moveTo>
                  <a:cubicBezTo>
                    <a:pt x="64067" y="223138"/>
                    <a:pt x="105770" y="178163"/>
                    <a:pt x="135514" y="123581"/>
                  </a:cubicBezTo>
                  <a:cubicBezTo>
                    <a:pt x="154322" y="89135"/>
                    <a:pt x="175378" y="36085"/>
                    <a:pt x="146043" y="2150"/>
                  </a:cubicBezTo>
                  <a:cubicBezTo>
                    <a:pt x="141954" y="-2552"/>
                    <a:pt x="133572" y="1128"/>
                    <a:pt x="133470" y="6750"/>
                  </a:cubicBezTo>
                  <a:cubicBezTo>
                    <a:pt x="133061" y="27499"/>
                    <a:pt x="137661" y="47022"/>
                    <a:pt x="133470" y="67976"/>
                  </a:cubicBezTo>
                  <a:cubicBezTo>
                    <a:pt x="129075" y="89645"/>
                    <a:pt x="119774" y="111008"/>
                    <a:pt x="109859" y="130838"/>
                  </a:cubicBezTo>
                  <a:cubicBezTo>
                    <a:pt x="86349" y="177550"/>
                    <a:pt x="51597" y="220480"/>
                    <a:pt x="1409" y="243274"/>
                  </a:cubicBezTo>
                  <a:cubicBezTo>
                    <a:pt x="-1657" y="244603"/>
                    <a:pt x="796" y="248793"/>
                    <a:pt x="3862" y="247567"/>
                  </a:cubicBezTo>
                  <a:lnTo>
                    <a:pt x="3862" y="2475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C9AA72F1-D402-4884-8ED1-700AB1474C3E}"/>
                </a:ext>
              </a:extLst>
            </p:cNvPr>
            <p:cNvSpPr/>
            <p:nvPr/>
          </p:nvSpPr>
          <p:spPr>
            <a:xfrm>
              <a:off x="9034635" y="2914649"/>
              <a:ext cx="110917" cy="190143"/>
            </a:xfrm>
            <a:custGeom>
              <a:avLst/>
              <a:gdLst>
                <a:gd name="connsiteX0" fmla="*/ 3325 w 143100"/>
                <a:gd name="connsiteY0" fmla="*/ 248065 h 245314"/>
                <a:gd name="connsiteX1" fmla="*/ 119748 w 143100"/>
                <a:gd name="connsiteY1" fmla="*/ 139922 h 245314"/>
                <a:gd name="connsiteX2" fmla="*/ 142030 w 143100"/>
                <a:gd name="connsiteY2" fmla="*/ 3568 h 245314"/>
                <a:gd name="connsiteX3" fmla="*/ 128538 w 143100"/>
                <a:gd name="connsiteY3" fmla="*/ 4897 h 245314"/>
                <a:gd name="connsiteX4" fmla="*/ 104109 w 143100"/>
                <a:gd name="connsiteY4" fmla="*/ 132256 h 245314"/>
                <a:gd name="connsiteX5" fmla="*/ 1077 w 143100"/>
                <a:gd name="connsiteY5" fmla="*/ 244181 h 245314"/>
                <a:gd name="connsiteX6" fmla="*/ 3325 w 143100"/>
                <a:gd name="connsiteY6" fmla="*/ 248065 h 245314"/>
                <a:gd name="connsiteX7" fmla="*/ 3325 w 143100"/>
                <a:gd name="connsiteY7" fmla="*/ 248065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245314">
                  <a:moveTo>
                    <a:pt x="3325" y="248065"/>
                  </a:moveTo>
                  <a:cubicBezTo>
                    <a:pt x="53921" y="227316"/>
                    <a:pt x="94910" y="186123"/>
                    <a:pt x="119748" y="139922"/>
                  </a:cubicBezTo>
                  <a:cubicBezTo>
                    <a:pt x="140191" y="102001"/>
                    <a:pt x="160736" y="45067"/>
                    <a:pt x="142030" y="3568"/>
                  </a:cubicBezTo>
                  <a:cubicBezTo>
                    <a:pt x="139577" y="-1951"/>
                    <a:pt x="129867" y="-725"/>
                    <a:pt x="128538" y="4897"/>
                  </a:cubicBezTo>
                  <a:cubicBezTo>
                    <a:pt x="118317" y="48236"/>
                    <a:pt x="123938" y="89735"/>
                    <a:pt x="104109" y="132256"/>
                  </a:cubicBezTo>
                  <a:cubicBezTo>
                    <a:pt x="81826" y="180195"/>
                    <a:pt x="46153" y="214641"/>
                    <a:pt x="1077" y="244181"/>
                  </a:cubicBezTo>
                  <a:cubicBezTo>
                    <a:pt x="-1274" y="245816"/>
                    <a:pt x="566" y="249189"/>
                    <a:pt x="3325" y="248065"/>
                  </a:cubicBezTo>
                  <a:lnTo>
                    <a:pt x="3325" y="2480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E7E6FF78-B3CD-43A1-9A0F-A9D8DBC5089B}"/>
                </a:ext>
              </a:extLst>
            </p:cNvPr>
            <p:cNvSpPr/>
            <p:nvPr/>
          </p:nvSpPr>
          <p:spPr>
            <a:xfrm>
              <a:off x="8741064" y="2402502"/>
              <a:ext cx="110917" cy="269369"/>
            </a:xfrm>
            <a:custGeom>
              <a:avLst/>
              <a:gdLst>
                <a:gd name="connsiteX0" fmla="*/ 147905 w 143100"/>
                <a:gd name="connsiteY0" fmla="*/ 539 h 347529"/>
                <a:gd name="connsiteX1" fmla="*/ 3374 w 143100"/>
                <a:gd name="connsiteY1" fmla="*/ 189533 h 347529"/>
                <a:gd name="connsiteX2" fmla="*/ 74004 w 143100"/>
                <a:gd name="connsiteY2" fmla="*/ 356347 h 347529"/>
                <a:gd name="connsiteX3" fmla="*/ 80137 w 143100"/>
                <a:gd name="connsiteY3" fmla="*/ 346841 h 347529"/>
                <a:gd name="connsiteX4" fmla="*/ 29234 w 143100"/>
                <a:gd name="connsiteY4" fmla="*/ 168375 h 347529"/>
                <a:gd name="connsiteX5" fmla="*/ 151789 w 143100"/>
                <a:gd name="connsiteY5" fmla="*/ 5547 h 347529"/>
                <a:gd name="connsiteX6" fmla="*/ 147905 w 143100"/>
                <a:gd name="connsiteY6" fmla="*/ 539 h 347529"/>
                <a:gd name="connsiteX7" fmla="*/ 147905 w 143100"/>
                <a:gd name="connsiteY7" fmla="*/ 539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100" h="347529">
                  <a:moveTo>
                    <a:pt x="147905" y="539"/>
                  </a:moveTo>
                  <a:cubicBezTo>
                    <a:pt x="82897" y="45104"/>
                    <a:pt x="18706" y="112770"/>
                    <a:pt x="3374" y="189533"/>
                  </a:cubicBezTo>
                  <a:cubicBezTo>
                    <a:pt x="-8381" y="248409"/>
                    <a:pt x="9507" y="330896"/>
                    <a:pt x="74004" y="356347"/>
                  </a:cubicBezTo>
                  <a:cubicBezTo>
                    <a:pt x="80137" y="358800"/>
                    <a:pt x="83612" y="350828"/>
                    <a:pt x="80137" y="346841"/>
                  </a:cubicBezTo>
                  <a:cubicBezTo>
                    <a:pt x="33118" y="293485"/>
                    <a:pt x="9507" y="238392"/>
                    <a:pt x="29234" y="168375"/>
                  </a:cubicBezTo>
                  <a:cubicBezTo>
                    <a:pt x="48450" y="100402"/>
                    <a:pt x="101295" y="53690"/>
                    <a:pt x="151789" y="5547"/>
                  </a:cubicBezTo>
                  <a:cubicBezTo>
                    <a:pt x="154345" y="3196"/>
                    <a:pt x="151074" y="-1608"/>
                    <a:pt x="147905" y="539"/>
                  </a:cubicBezTo>
                  <a:lnTo>
                    <a:pt x="147905" y="5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E81B7B37-DA9E-4FDD-BECF-CF08668FC5E1}"/>
                </a:ext>
              </a:extLst>
            </p:cNvPr>
            <p:cNvSpPr/>
            <p:nvPr/>
          </p:nvSpPr>
          <p:spPr>
            <a:xfrm>
              <a:off x="8770810" y="2462877"/>
              <a:ext cx="63381" cy="229756"/>
            </a:xfrm>
            <a:custGeom>
              <a:avLst/>
              <a:gdLst>
                <a:gd name="connsiteX0" fmla="*/ 86018 w 81771"/>
                <a:gd name="connsiteY0" fmla="*/ 431 h 296421"/>
                <a:gd name="connsiteX1" fmla="*/ 1998 w 81771"/>
                <a:gd name="connsiteY1" fmla="*/ 149460 h 296421"/>
                <a:gd name="connsiteX2" fmla="*/ 62611 w 81771"/>
                <a:gd name="connsiteY2" fmla="*/ 303804 h 296421"/>
                <a:gd name="connsiteX3" fmla="*/ 70277 w 81771"/>
                <a:gd name="connsiteY3" fmla="*/ 296853 h 296421"/>
                <a:gd name="connsiteX4" fmla="*/ 19885 w 81771"/>
                <a:gd name="connsiteY4" fmla="*/ 149971 h 296421"/>
                <a:gd name="connsiteX5" fmla="*/ 88574 w 81771"/>
                <a:gd name="connsiteY5" fmla="*/ 3089 h 296421"/>
                <a:gd name="connsiteX6" fmla="*/ 86018 w 81771"/>
                <a:gd name="connsiteY6" fmla="*/ 431 h 296421"/>
                <a:gd name="connsiteX7" fmla="*/ 86018 w 81771"/>
                <a:gd name="connsiteY7" fmla="*/ 431 h 29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771" h="296421">
                  <a:moveTo>
                    <a:pt x="86018" y="431"/>
                  </a:moveTo>
                  <a:cubicBezTo>
                    <a:pt x="40328" y="35082"/>
                    <a:pt x="10175" y="94877"/>
                    <a:pt x="1998" y="149460"/>
                  </a:cubicBezTo>
                  <a:cubicBezTo>
                    <a:pt x="-5873" y="202509"/>
                    <a:pt x="8540" y="276206"/>
                    <a:pt x="62611" y="303804"/>
                  </a:cubicBezTo>
                  <a:cubicBezTo>
                    <a:pt x="67313" y="306155"/>
                    <a:pt x="73037" y="301555"/>
                    <a:pt x="70277" y="296853"/>
                  </a:cubicBezTo>
                  <a:cubicBezTo>
                    <a:pt x="41453" y="247688"/>
                    <a:pt x="15797" y="209255"/>
                    <a:pt x="19885" y="149971"/>
                  </a:cubicBezTo>
                  <a:cubicBezTo>
                    <a:pt x="23667" y="95593"/>
                    <a:pt x="45746" y="40397"/>
                    <a:pt x="88574" y="3089"/>
                  </a:cubicBezTo>
                  <a:cubicBezTo>
                    <a:pt x="90516" y="1453"/>
                    <a:pt x="87960" y="-1000"/>
                    <a:pt x="86018" y="431"/>
                  </a:cubicBezTo>
                  <a:lnTo>
                    <a:pt x="86018" y="4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52464292-515B-441B-B92B-7F5506B4E724}"/>
                </a:ext>
              </a:extLst>
            </p:cNvPr>
            <p:cNvSpPr/>
            <p:nvPr/>
          </p:nvSpPr>
          <p:spPr>
            <a:xfrm>
              <a:off x="8615129" y="2639690"/>
              <a:ext cx="158453" cy="198066"/>
            </a:xfrm>
            <a:custGeom>
              <a:avLst/>
              <a:gdLst>
                <a:gd name="connsiteX0" fmla="*/ 5272 w 204428"/>
                <a:gd name="connsiteY0" fmla="*/ 253846 h 255536"/>
                <a:gd name="connsiteX1" fmla="*/ 60877 w 204428"/>
                <a:gd name="connsiteY1" fmla="*/ 100218 h 255536"/>
                <a:gd name="connsiteX2" fmla="*/ 133449 w 204428"/>
                <a:gd name="connsiteY2" fmla="*/ 44204 h 255536"/>
                <a:gd name="connsiteX3" fmla="*/ 209905 w 204428"/>
                <a:gd name="connsiteY3" fmla="*/ 14971 h 255536"/>
                <a:gd name="connsiteX4" fmla="*/ 206123 w 204428"/>
                <a:gd name="connsiteY4" fmla="*/ 47 h 255536"/>
                <a:gd name="connsiteX5" fmla="*/ 47078 w 204428"/>
                <a:gd name="connsiteY5" fmla="*/ 89792 h 255536"/>
                <a:gd name="connsiteX6" fmla="*/ 468 w 204428"/>
                <a:gd name="connsiteY6" fmla="*/ 253641 h 255536"/>
                <a:gd name="connsiteX7" fmla="*/ 5272 w 204428"/>
                <a:gd name="connsiteY7" fmla="*/ 253846 h 255536"/>
                <a:gd name="connsiteX8" fmla="*/ 5272 w 204428"/>
                <a:gd name="connsiteY8" fmla="*/ 253846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4428" h="255536">
                  <a:moveTo>
                    <a:pt x="5272" y="253846"/>
                  </a:moveTo>
                  <a:cubicBezTo>
                    <a:pt x="3432" y="198343"/>
                    <a:pt x="22649" y="142739"/>
                    <a:pt x="60877" y="100218"/>
                  </a:cubicBezTo>
                  <a:cubicBezTo>
                    <a:pt x="81115" y="77730"/>
                    <a:pt x="106158" y="58514"/>
                    <a:pt x="133449" y="44204"/>
                  </a:cubicBezTo>
                  <a:cubicBezTo>
                    <a:pt x="157878" y="31325"/>
                    <a:pt x="184863" y="26214"/>
                    <a:pt x="209905" y="14971"/>
                  </a:cubicBezTo>
                  <a:cubicBezTo>
                    <a:pt x="217572" y="11495"/>
                    <a:pt x="214096" y="354"/>
                    <a:pt x="206123" y="47"/>
                  </a:cubicBezTo>
                  <a:cubicBezTo>
                    <a:pt x="144999" y="-1690"/>
                    <a:pt x="81013" y="44613"/>
                    <a:pt x="47078" y="89792"/>
                  </a:cubicBezTo>
                  <a:cubicBezTo>
                    <a:pt x="10894" y="138037"/>
                    <a:pt x="-2803" y="195175"/>
                    <a:pt x="468" y="253641"/>
                  </a:cubicBezTo>
                  <a:cubicBezTo>
                    <a:pt x="775" y="256503"/>
                    <a:pt x="5374" y="256708"/>
                    <a:pt x="5272" y="253846"/>
                  </a:cubicBezTo>
                  <a:lnTo>
                    <a:pt x="5272" y="2538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F08AF8F9-CC21-4EE8-BB5A-B4FA6A8F62FF}"/>
                </a:ext>
              </a:extLst>
            </p:cNvPr>
            <p:cNvSpPr/>
            <p:nvPr/>
          </p:nvSpPr>
          <p:spPr>
            <a:xfrm>
              <a:off x="8636145" y="2660152"/>
              <a:ext cx="142607" cy="213911"/>
            </a:xfrm>
            <a:custGeom>
              <a:avLst/>
              <a:gdLst>
                <a:gd name="connsiteX0" fmla="*/ 7902 w 183985"/>
                <a:gd name="connsiteY0" fmla="*/ 277532 h 275978"/>
                <a:gd name="connsiteX1" fmla="*/ 50628 w 183985"/>
                <a:gd name="connsiteY1" fmla="*/ 117158 h 275978"/>
                <a:gd name="connsiteX2" fmla="*/ 103371 w 183985"/>
                <a:gd name="connsiteY2" fmla="*/ 58282 h 275978"/>
                <a:gd name="connsiteX3" fmla="*/ 186062 w 183985"/>
                <a:gd name="connsiteY3" fmla="*/ 17805 h 275978"/>
                <a:gd name="connsiteX4" fmla="*/ 188004 w 183985"/>
                <a:gd name="connsiteY4" fmla="*/ 6051 h 275978"/>
                <a:gd name="connsiteX5" fmla="*/ 48890 w 183985"/>
                <a:gd name="connsiteY5" fmla="*/ 89560 h 275978"/>
                <a:gd name="connsiteX6" fmla="*/ 4018 w 183985"/>
                <a:gd name="connsiteY6" fmla="*/ 277839 h 275978"/>
                <a:gd name="connsiteX7" fmla="*/ 7902 w 183985"/>
                <a:gd name="connsiteY7" fmla="*/ 277532 h 275978"/>
                <a:gd name="connsiteX8" fmla="*/ 7902 w 183985"/>
                <a:gd name="connsiteY8" fmla="*/ 277532 h 275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3985" h="275978">
                  <a:moveTo>
                    <a:pt x="7902" y="277532"/>
                  </a:moveTo>
                  <a:cubicBezTo>
                    <a:pt x="9231" y="220292"/>
                    <a:pt x="17613" y="166527"/>
                    <a:pt x="50628" y="117158"/>
                  </a:cubicBezTo>
                  <a:cubicBezTo>
                    <a:pt x="65245" y="95386"/>
                    <a:pt x="83030" y="75454"/>
                    <a:pt x="103371" y="58282"/>
                  </a:cubicBezTo>
                  <a:cubicBezTo>
                    <a:pt x="130457" y="35386"/>
                    <a:pt x="152842" y="28947"/>
                    <a:pt x="186062" y="17805"/>
                  </a:cubicBezTo>
                  <a:cubicBezTo>
                    <a:pt x="191377" y="16068"/>
                    <a:pt x="193524" y="9219"/>
                    <a:pt x="188004" y="6051"/>
                  </a:cubicBezTo>
                  <a:cubicBezTo>
                    <a:pt x="138737" y="-22263"/>
                    <a:pt x="71377" y="56136"/>
                    <a:pt x="48890" y="89560"/>
                  </a:cubicBezTo>
                  <a:cubicBezTo>
                    <a:pt x="12400" y="143631"/>
                    <a:pt x="-9474" y="213955"/>
                    <a:pt x="4018" y="277839"/>
                  </a:cubicBezTo>
                  <a:cubicBezTo>
                    <a:pt x="4529" y="279883"/>
                    <a:pt x="7902" y="279576"/>
                    <a:pt x="7902" y="277532"/>
                  </a:cubicBezTo>
                  <a:lnTo>
                    <a:pt x="7902" y="2775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5DAE294F-506A-4DA0-A8ED-1202523A5597}"/>
                </a:ext>
              </a:extLst>
            </p:cNvPr>
            <p:cNvSpPr/>
            <p:nvPr/>
          </p:nvSpPr>
          <p:spPr>
            <a:xfrm>
              <a:off x="8893879" y="2018751"/>
              <a:ext cx="253524" cy="198066"/>
            </a:xfrm>
            <a:custGeom>
              <a:avLst/>
              <a:gdLst>
                <a:gd name="connsiteX0" fmla="*/ 4208 w 327086"/>
                <a:gd name="connsiteY0" fmla="*/ 259011 h 255536"/>
                <a:gd name="connsiteX1" fmla="*/ 140460 w 327086"/>
                <a:gd name="connsiteY1" fmla="*/ 93935 h 255536"/>
                <a:gd name="connsiteX2" fmla="*/ 234804 w 327086"/>
                <a:gd name="connsiteY2" fmla="*/ 38944 h 255536"/>
                <a:gd name="connsiteX3" fmla="*/ 325366 w 327086"/>
                <a:gd name="connsiteY3" fmla="*/ 15945 h 255536"/>
                <a:gd name="connsiteX4" fmla="*/ 324241 w 327086"/>
                <a:gd name="connsiteY4" fmla="*/ 5826 h 255536"/>
                <a:gd name="connsiteX5" fmla="*/ 140664 w 327086"/>
                <a:gd name="connsiteY5" fmla="*/ 66235 h 255536"/>
                <a:gd name="connsiteX6" fmla="*/ 324 w 327086"/>
                <a:gd name="connsiteY6" fmla="*/ 256763 h 255536"/>
                <a:gd name="connsiteX7" fmla="*/ 4208 w 327086"/>
                <a:gd name="connsiteY7" fmla="*/ 259011 h 255536"/>
                <a:gd name="connsiteX8" fmla="*/ 4208 w 327086"/>
                <a:gd name="connsiteY8" fmla="*/ 25901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27086" h="255536">
                  <a:moveTo>
                    <a:pt x="4208" y="259011"/>
                  </a:moveTo>
                  <a:cubicBezTo>
                    <a:pt x="42129" y="199625"/>
                    <a:pt x="84037" y="139012"/>
                    <a:pt x="140460" y="93935"/>
                  </a:cubicBezTo>
                  <a:cubicBezTo>
                    <a:pt x="168773" y="71346"/>
                    <a:pt x="200255" y="52027"/>
                    <a:pt x="234804" y="38944"/>
                  </a:cubicBezTo>
                  <a:cubicBezTo>
                    <a:pt x="264242" y="27802"/>
                    <a:pt x="296950" y="28007"/>
                    <a:pt x="325366" y="15945"/>
                  </a:cubicBezTo>
                  <a:cubicBezTo>
                    <a:pt x="330476" y="13799"/>
                    <a:pt x="328432" y="7462"/>
                    <a:pt x="324241" y="5826"/>
                  </a:cubicBezTo>
                  <a:cubicBezTo>
                    <a:pt x="266490" y="-16865"/>
                    <a:pt x="182981" y="31687"/>
                    <a:pt x="140664" y="66235"/>
                  </a:cubicBezTo>
                  <a:cubicBezTo>
                    <a:pt x="77598" y="117751"/>
                    <a:pt x="37632" y="187666"/>
                    <a:pt x="324" y="256763"/>
                  </a:cubicBezTo>
                  <a:cubicBezTo>
                    <a:pt x="-1107" y="259216"/>
                    <a:pt x="2572" y="261362"/>
                    <a:pt x="4208" y="259011"/>
                  </a:cubicBezTo>
                  <a:lnTo>
                    <a:pt x="4208" y="25901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F09B1072-B6D3-41E6-BBBE-B8262807F151}"/>
                </a:ext>
              </a:extLst>
            </p:cNvPr>
            <p:cNvSpPr/>
            <p:nvPr/>
          </p:nvSpPr>
          <p:spPr>
            <a:xfrm>
              <a:off x="8932762" y="2025079"/>
              <a:ext cx="229756" cy="198066"/>
            </a:xfrm>
            <a:custGeom>
              <a:avLst/>
              <a:gdLst>
                <a:gd name="connsiteX0" fmla="*/ 5048 w 296421"/>
                <a:gd name="connsiteY0" fmla="*/ 260251 h 255536"/>
                <a:gd name="connsiteX1" fmla="*/ 122084 w 296421"/>
                <a:gd name="connsiteY1" fmla="*/ 99264 h 255536"/>
                <a:gd name="connsiteX2" fmla="*/ 296972 w 296421"/>
                <a:gd name="connsiteY2" fmla="*/ 17083 h 255536"/>
                <a:gd name="connsiteX3" fmla="*/ 292679 w 296421"/>
                <a:gd name="connsiteY3" fmla="*/ 13 h 255536"/>
                <a:gd name="connsiteX4" fmla="*/ 142 w 296421"/>
                <a:gd name="connsiteY4" fmla="*/ 258923 h 255536"/>
                <a:gd name="connsiteX5" fmla="*/ 5048 w 296421"/>
                <a:gd name="connsiteY5" fmla="*/ 260251 h 255536"/>
                <a:gd name="connsiteX6" fmla="*/ 5048 w 296421"/>
                <a:gd name="connsiteY6" fmla="*/ 260251 h 255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255536">
                  <a:moveTo>
                    <a:pt x="5048" y="260251"/>
                  </a:moveTo>
                  <a:cubicBezTo>
                    <a:pt x="29273" y="197696"/>
                    <a:pt x="67092" y="141683"/>
                    <a:pt x="122084" y="99264"/>
                  </a:cubicBezTo>
                  <a:cubicBezTo>
                    <a:pt x="175746" y="57764"/>
                    <a:pt x="233906" y="40592"/>
                    <a:pt x="296972" y="17083"/>
                  </a:cubicBezTo>
                  <a:cubicBezTo>
                    <a:pt x="305763" y="13812"/>
                    <a:pt x="301879" y="-498"/>
                    <a:pt x="292679" y="13"/>
                  </a:cubicBezTo>
                  <a:cubicBezTo>
                    <a:pt x="155201" y="7679"/>
                    <a:pt x="33873" y="141069"/>
                    <a:pt x="142" y="258923"/>
                  </a:cubicBezTo>
                  <a:cubicBezTo>
                    <a:pt x="-880" y="261989"/>
                    <a:pt x="3924" y="263216"/>
                    <a:pt x="5048" y="260251"/>
                  </a:cubicBezTo>
                  <a:lnTo>
                    <a:pt x="5048" y="2602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70351CFD-4BDA-401B-B3AF-E60659C68FB2}"/>
                </a:ext>
              </a:extLst>
            </p:cNvPr>
            <p:cNvSpPr/>
            <p:nvPr/>
          </p:nvSpPr>
          <p:spPr>
            <a:xfrm>
              <a:off x="9157523" y="1753751"/>
              <a:ext cx="301060" cy="134685"/>
            </a:xfrm>
            <a:custGeom>
              <a:avLst/>
              <a:gdLst>
                <a:gd name="connsiteX0" fmla="*/ 3826 w 388414"/>
                <a:gd name="connsiteY0" fmla="*/ 173648 h 173764"/>
                <a:gd name="connsiteX1" fmla="*/ 177795 w 388414"/>
                <a:gd name="connsiteY1" fmla="*/ 42302 h 173764"/>
                <a:gd name="connsiteX2" fmla="*/ 379669 w 388414"/>
                <a:gd name="connsiteY2" fmla="*/ 39031 h 173764"/>
                <a:gd name="connsiteX3" fmla="*/ 385393 w 388414"/>
                <a:gd name="connsiteY3" fmla="*/ 26868 h 173764"/>
                <a:gd name="connsiteX4" fmla="*/ 169822 w 388414"/>
                <a:gd name="connsiteY4" fmla="*/ 25743 h 173764"/>
                <a:gd name="connsiteX5" fmla="*/ 146 w 388414"/>
                <a:gd name="connsiteY5" fmla="*/ 172625 h 173764"/>
                <a:gd name="connsiteX6" fmla="*/ 3826 w 388414"/>
                <a:gd name="connsiteY6" fmla="*/ 173648 h 173764"/>
                <a:gd name="connsiteX7" fmla="*/ 3826 w 388414"/>
                <a:gd name="connsiteY7" fmla="*/ 173648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8414" h="173764">
                  <a:moveTo>
                    <a:pt x="3826" y="173648"/>
                  </a:moveTo>
                  <a:cubicBezTo>
                    <a:pt x="31424" y="108128"/>
                    <a:pt x="111560" y="66527"/>
                    <a:pt x="177795" y="42302"/>
                  </a:cubicBezTo>
                  <a:cubicBezTo>
                    <a:pt x="248119" y="16544"/>
                    <a:pt x="308527" y="20019"/>
                    <a:pt x="379669" y="39031"/>
                  </a:cubicBezTo>
                  <a:cubicBezTo>
                    <a:pt x="387744" y="41178"/>
                    <a:pt x="391730" y="31161"/>
                    <a:pt x="385393" y="26868"/>
                  </a:cubicBezTo>
                  <a:cubicBezTo>
                    <a:pt x="324268" y="-15245"/>
                    <a:pt x="234218" y="-1752"/>
                    <a:pt x="169822" y="25743"/>
                  </a:cubicBezTo>
                  <a:cubicBezTo>
                    <a:pt x="102361" y="54466"/>
                    <a:pt x="24473" y="103324"/>
                    <a:pt x="146" y="172625"/>
                  </a:cubicBezTo>
                  <a:cubicBezTo>
                    <a:pt x="-773" y="174874"/>
                    <a:pt x="2906" y="175794"/>
                    <a:pt x="3826" y="173648"/>
                  </a:cubicBezTo>
                  <a:lnTo>
                    <a:pt x="3826" y="1736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0EAF454A-F495-47E8-8EEB-79E6728FCD4A}"/>
                </a:ext>
              </a:extLst>
            </p:cNvPr>
            <p:cNvSpPr/>
            <p:nvPr/>
          </p:nvSpPr>
          <p:spPr>
            <a:xfrm>
              <a:off x="9152323" y="1806712"/>
              <a:ext cx="142607" cy="261447"/>
            </a:xfrm>
            <a:custGeom>
              <a:avLst/>
              <a:gdLst>
                <a:gd name="connsiteX0" fmla="*/ 186855 w 183985"/>
                <a:gd name="connsiteY0" fmla="*/ 141 h 337307"/>
                <a:gd name="connsiteX1" fmla="*/ 14726 w 183985"/>
                <a:gd name="connsiteY1" fmla="*/ 145183 h 337307"/>
                <a:gd name="connsiteX2" fmla="*/ 39360 w 183985"/>
                <a:gd name="connsiteY2" fmla="*/ 336222 h 337307"/>
                <a:gd name="connsiteX3" fmla="*/ 53567 w 183985"/>
                <a:gd name="connsiteY3" fmla="*/ 326307 h 337307"/>
                <a:gd name="connsiteX4" fmla="*/ 38031 w 183985"/>
                <a:gd name="connsiteY4" fmla="*/ 145694 h 337307"/>
                <a:gd name="connsiteX5" fmla="*/ 188695 w 183985"/>
                <a:gd name="connsiteY5" fmla="*/ 3412 h 337307"/>
                <a:gd name="connsiteX6" fmla="*/ 186855 w 183985"/>
                <a:gd name="connsiteY6" fmla="*/ 141 h 337307"/>
                <a:gd name="connsiteX7" fmla="*/ 186855 w 183985"/>
                <a:gd name="connsiteY7" fmla="*/ 141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3985" h="337307">
                  <a:moveTo>
                    <a:pt x="186855" y="141"/>
                  </a:moveTo>
                  <a:cubicBezTo>
                    <a:pt x="114692" y="26512"/>
                    <a:pt x="43755" y="74757"/>
                    <a:pt x="14726" y="145183"/>
                  </a:cubicBezTo>
                  <a:cubicBezTo>
                    <a:pt x="-9908" y="204979"/>
                    <a:pt x="-4899" y="285421"/>
                    <a:pt x="39360" y="336222"/>
                  </a:cubicBezTo>
                  <a:cubicBezTo>
                    <a:pt x="46310" y="344195"/>
                    <a:pt x="57043" y="334382"/>
                    <a:pt x="53567" y="326307"/>
                  </a:cubicBezTo>
                  <a:cubicBezTo>
                    <a:pt x="27707" y="265592"/>
                    <a:pt x="13806" y="209680"/>
                    <a:pt x="38031" y="145694"/>
                  </a:cubicBezTo>
                  <a:cubicBezTo>
                    <a:pt x="63687" y="78028"/>
                    <a:pt x="123789" y="35814"/>
                    <a:pt x="188695" y="3412"/>
                  </a:cubicBezTo>
                  <a:cubicBezTo>
                    <a:pt x="191046" y="2287"/>
                    <a:pt x="189104" y="-677"/>
                    <a:pt x="186855" y="141"/>
                  </a:cubicBezTo>
                  <a:lnTo>
                    <a:pt x="186855" y="1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DFA0035E-71E8-4FD1-8C79-26FC5B511A87}"/>
                </a:ext>
              </a:extLst>
            </p:cNvPr>
            <p:cNvSpPr/>
            <p:nvPr/>
          </p:nvSpPr>
          <p:spPr>
            <a:xfrm>
              <a:off x="9129976" y="1740653"/>
              <a:ext cx="229756" cy="166375"/>
            </a:xfrm>
            <a:custGeom>
              <a:avLst/>
              <a:gdLst>
                <a:gd name="connsiteX0" fmla="*/ 4716 w 296421"/>
                <a:gd name="connsiteY0" fmla="*/ 219984 h 214650"/>
                <a:gd name="connsiteX1" fmla="*/ 133813 w 296421"/>
                <a:gd name="connsiteY1" fmla="*/ 68706 h 214650"/>
                <a:gd name="connsiteX2" fmla="*/ 213029 w 296421"/>
                <a:gd name="connsiteY2" fmla="*/ 33033 h 214650"/>
                <a:gd name="connsiteX3" fmla="*/ 301547 w 296421"/>
                <a:gd name="connsiteY3" fmla="*/ 14941 h 214650"/>
                <a:gd name="connsiteX4" fmla="*/ 301854 w 296421"/>
                <a:gd name="connsiteY4" fmla="*/ 3493 h 214650"/>
                <a:gd name="connsiteX5" fmla="*/ 101922 w 296421"/>
                <a:gd name="connsiteY5" fmla="*/ 69422 h 214650"/>
                <a:gd name="connsiteX6" fmla="*/ 14 w 296421"/>
                <a:gd name="connsiteY6" fmla="*/ 219984 h 214650"/>
                <a:gd name="connsiteX7" fmla="*/ 4716 w 296421"/>
                <a:gd name="connsiteY7" fmla="*/ 219984 h 214650"/>
                <a:gd name="connsiteX8" fmla="*/ 4716 w 296421"/>
                <a:gd name="connsiteY8" fmla="*/ 219984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6421" h="214650">
                  <a:moveTo>
                    <a:pt x="4716" y="219984"/>
                  </a:moveTo>
                  <a:cubicBezTo>
                    <a:pt x="14120" y="147616"/>
                    <a:pt x="69622" y="102028"/>
                    <a:pt x="133813" y="68706"/>
                  </a:cubicBezTo>
                  <a:cubicBezTo>
                    <a:pt x="159264" y="55418"/>
                    <a:pt x="185840" y="42744"/>
                    <a:pt x="213029" y="33033"/>
                  </a:cubicBezTo>
                  <a:cubicBezTo>
                    <a:pt x="242569" y="22403"/>
                    <a:pt x="270985" y="20870"/>
                    <a:pt x="301547" y="14941"/>
                  </a:cubicBezTo>
                  <a:cubicBezTo>
                    <a:pt x="307680" y="13715"/>
                    <a:pt x="307884" y="5027"/>
                    <a:pt x="301854" y="3493"/>
                  </a:cubicBezTo>
                  <a:cubicBezTo>
                    <a:pt x="236334" y="-13576"/>
                    <a:pt x="153029" y="35691"/>
                    <a:pt x="101922" y="69422"/>
                  </a:cubicBezTo>
                  <a:cubicBezTo>
                    <a:pt x="48157" y="104890"/>
                    <a:pt x="5227" y="156713"/>
                    <a:pt x="14" y="219984"/>
                  </a:cubicBezTo>
                  <a:cubicBezTo>
                    <a:pt x="-292" y="222743"/>
                    <a:pt x="4410" y="222743"/>
                    <a:pt x="4716" y="219984"/>
                  </a:cubicBezTo>
                  <a:lnTo>
                    <a:pt x="4716" y="2199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C8FF6687-6C0A-42CA-9336-2FF0B4B81EBF}"/>
                </a:ext>
              </a:extLst>
            </p:cNvPr>
            <p:cNvSpPr/>
            <p:nvPr/>
          </p:nvSpPr>
          <p:spPr>
            <a:xfrm>
              <a:off x="8888076" y="2142951"/>
              <a:ext cx="293137" cy="253524"/>
            </a:xfrm>
            <a:custGeom>
              <a:avLst/>
              <a:gdLst>
                <a:gd name="connsiteX0" fmla="*/ 41 w 378193"/>
                <a:gd name="connsiteY0" fmla="*/ 234208 h 327086"/>
                <a:gd name="connsiteX1" fmla="*/ 97247 w 378193"/>
                <a:gd name="connsiteY1" fmla="*/ 332743 h 327086"/>
                <a:gd name="connsiteX2" fmla="*/ 253533 w 378193"/>
                <a:gd name="connsiteY2" fmla="*/ 285111 h 327086"/>
                <a:gd name="connsiteX3" fmla="*/ 332954 w 378193"/>
                <a:gd name="connsiteY3" fmla="*/ 226440 h 327086"/>
                <a:gd name="connsiteX4" fmla="*/ 378337 w 378193"/>
                <a:gd name="connsiteY4" fmla="*/ 174719 h 327086"/>
                <a:gd name="connsiteX5" fmla="*/ 346139 w 378193"/>
                <a:gd name="connsiteY5" fmla="*/ 115639 h 327086"/>
                <a:gd name="connsiteX6" fmla="*/ 297996 w 378193"/>
                <a:gd name="connsiteY6" fmla="*/ 5759 h 327086"/>
                <a:gd name="connsiteX7" fmla="*/ 281949 w 378193"/>
                <a:gd name="connsiteY7" fmla="*/ 7292 h 327086"/>
                <a:gd name="connsiteX8" fmla="*/ 317519 w 378193"/>
                <a:gd name="connsiteY8" fmla="*/ 100103 h 327086"/>
                <a:gd name="connsiteX9" fmla="*/ 340824 w 378193"/>
                <a:gd name="connsiteY9" fmla="*/ 192913 h 327086"/>
                <a:gd name="connsiteX10" fmla="*/ 286139 w 378193"/>
                <a:gd name="connsiteY10" fmla="*/ 242487 h 327086"/>
                <a:gd name="connsiteX11" fmla="*/ 151216 w 378193"/>
                <a:gd name="connsiteY11" fmla="*/ 322317 h 327086"/>
                <a:gd name="connsiteX12" fmla="*/ 10876 w 378193"/>
                <a:gd name="connsiteY12" fmla="*/ 230324 h 327086"/>
                <a:gd name="connsiteX13" fmla="*/ 41 w 378193"/>
                <a:gd name="connsiteY13" fmla="*/ 234208 h 327086"/>
                <a:gd name="connsiteX14" fmla="*/ 41 w 378193"/>
                <a:gd name="connsiteY14" fmla="*/ 234208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8193" h="327086">
                  <a:moveTo>
                    <a:pt x="41" y="234208"/>
                  </a:moveTo>
                  <a:cubicBezTo>
                    <a:pt x="6787" y="284497"/>
                    <a:pt x="44402" y="323543"/>
                    <a:pt x="97247" y="332743"/>
                  </a:cubicBezTo>
                  <a:cubicBezTo>
                    <a:pt x="153874" y="342657"/>
                    <a:pt x="207434" y="313015"/>
                    <a:pt x="253533" y="285111"/>
                  </a:cubicBezTo>
                  <a:cubicBezTo>
                    <a:pt x="281846" y="267939"/>
                    <a:pt x="308320" y="248109"/>
                    <a:pt x="332954" y="226440"/>
                  </a:cubicBezTo>
                  <a:cubicBezTo>
                    <a:pt x="347877" y="213356"/>
                    <a:pt x="374555" y="195571"/>
                    <a:pt x="378337" y="174719"/>
                  </a:cubicBezTo>
                  <a:cubicBezTo>
                    <a:pt x="382221" y="153050"/>
                    <a:pt x="357383" y="131585"/>
                    <a:pt x="346139" y="115639"/>
                  </a:cubicBezTo>
                  <a:cubicBezTo>
                    <a:pt x="321097" y="80375"/>
                    <a:pt x="304845" y="48075"/>
                    <a:pt x="297996" y="5759"/>
                  </a:cubicBezTo>
                  <a:cubicBezTo>
                    <a:pt x="296565" y="-2827"/>
                    <a:pt x="281744" y="-1396"/>
                    <a:pt x="281949" y="7292"/>
                  </a:cubicBezTo>
                  <a:cubicBezTo>
                    <a:pt x="282664" y="41534"/>
                    <a:pt x="295236" y="73016"/>
                    <a:pt x="317519" y="100103"/>
                  </a:cubicBezTo>
                  <a:cubicBezTo>
                    <a:pt x="342766" y="130767"/>
                    <a:pt x="374146" y="158058"/>
                    <a:pt x="340824" y="192913"/>
                  </a:cubicBezTo>
                  <a:cubicBezTo>
                    <a:pt x="323959" y="210596"/>
                    <a:pt x="305458" y="227155"/>
                    <a:pt x="286139" y="242487"/>
                  </a:cubicBezTo>
                  <a:cubicBezTo>
                    <a:pt x="248013" y="272641"/>
                    <a:pt x="200177" y="309438"/>
                    <a:pt x="151216" y="322317"/>
                  </a:cubicBezTo>
                  <a:cubicBezTo>
                    <a:pt x="82119" y="340409"/>
                    <a:pt x="33976" y="283271"/>
                    <a:pt x="10876" y="230324"/>
                  </a:cubicBezTo>
                  <a:cubicBezTo>
                    <a:pt x="8116" y="224191"/>
                    <a:pt x="-674" y="228586"/>
                    <a:pt x="41" y="234208"/>
                  </a:cubicBezTo>
                  <a:lnTo>
                    <a:pt x="41" y="2342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C8CF038B-A870-4534-9D22-59FD31E60B6A}"/>
                </a:ext>
              </a:extLst>
            </p:cNvPr>
            <p:cNvSpPr/>
            <p:nvPr/>
          </p:nvSpPr>
          <p:spPr>
            <a:xfrm>
              <a:off x="9042973" y="2185441"/>
              <a:ext cx="126762" cy="79226"/>
            </a:xfrm>
            <a:custGeom>
              <a:avLst/>
              <a:gdLst>
                <a:gd name="connsiteX0" fmla="*/ 234 w 163543"/>
                <a:gd name="connsiteY0" fmla="*/ 4501 h 102214"/>
                <a:gd name="connsiteX1" fmla="*/ 166844 w 163543"/>
                <a:gd name="connsiteY1" fmla="*/ 111009 h 102214"/>
                <a:gd name="connsiteX2" fmla="*/ 165719 w 163543"/>
                <a:gd name="connsiteY2" fmla="*/ 100480 h 102214"/>
                <a:gd name="connsiteX3" fmla="*/ 63300 w 163543"/>
                <a:gd name="connsiteY3" fmla="*/ 63172 h 102214"/>
                <a:gd name="connsiteX4" fmla="*/ 5140 w 163543"/>
                <a:gd name="connsiteY4" fmla="*/ 1026 h 102214"/>
                <a:gd name="connsiteX5" fmla="*/ 234 w 163543"/>
                <a:gd name="connsiteY5" fmla="*/ 4501 h 102214"/>
                <a:gd name="connsiteX6" fmla="*/ 234 w 163543"/>
                <a:gd name="connsiteY6" fmla="*/ 4501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543" h="102214">
                  <a:moveTo>
                    <a:pt x="234" y="4501"/>
                  </a:moveTo>
                  <a:cubicBezTo>
                    <a:pt x="23743" y="55608"/>
                    <a:pt x="104391" y="118572"/>
                    <a:pt x="166844" y="111009"/>
                  </a:cubicBezTo>
                  <a:cubicBezTo>
                    <a:pt x="173692" y="110191"/>
                    <a:pt x="171443" y="101298"/>
                    <a:pt x="165719" y="100480"/>
                  </a:cubicBezTo>
                  <a:cubicBezTo>
                    <a:pt x="128104" y="95063"/>
                    <a:pt x="93863" y="86170"/>
                    <a:pt x="63300" y="63172"/>
                  </a:cubicBezTo>
                  <a:cubicBezTo>
                    <a:pt x="39689" y="45387"/>
                    <a:pt x="23641" y="23104"/>
                    <a:pt x="5140" y="1026"/>
                  </a:cubicBezTo>
                  <a:cubicBezTo>
                    <a:pt x="2892" y="-1734"/>
                    <a:pt x="-992" y="1639"/>
                    <a:pt x="234" y="4501"/>
                  </a:cubicBezTo>
                  <a:lnTo>
                    <a:pt x="234" y="450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4F12C50C-92D4-4567-9ADA-F69B67EECCE2}"/>
                </a:ext>
              </a:extLst>
            </p:cNvPr>
            <p:cNvSpPr/>
            <p:nvPr/>
          </p:nvSpPr>
          <p:spPr>
            <a:xfrm>
              <a:off x="9332961" y="1957225"/>
              <a:ext cx="63381" cy="174298"/>
            </a:xfrm>
            <a:custGeom>
              <a:avLst/>
              <a:gdLst>
                <a:gd name="connsiteX0" fmla="*/ 80447 w 81771"/>
                <a:gd name="connsiteY0" fmla="*/ 229736 h 224871"/>
                <a:gd name="connsiteX1" fmla="*/ 15030 w 81771"/>
                <a:gd name="connsiteY1" fmla="*/ 2309 h 224871"/>
                <a:gd name="connsiteX2" fmla="*/ 1129 w 81771"/>
                <a:gd name="connsiteY2" fmla="*/ 12019 h 224871"/>
                <a:gd name="connsiteX3" fmla="*/ 73701 w 81771"/>
                <a:gd name="connsiteY3" fmla="*/ 227896 h 224871"/>
                <a:gd name="connsiteX4" fmla="*/ 80447 w 81771"/>
                <a:gd name="connsiteY4" fmla="*/ 229736 h 224871"/>
                <a:gd name="connsiteX5" fmla="*/ 80447 w 81771"/>
                <a:gd name="connsiteY5" fmla="*/ 229736 h 224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24871">
                  <a:moveTo>
                    <a:pt x="80447" y="229736"/>
                  </a:moveTo>
                  <a:cubicBezTo>
                    <a:pt x="104672" y="153484"/>
                    <a:pt x="76359" y="56687"/>
                    <a:pt x="15030" y="2309"/>
                  </a:cubicBezTo>
                  <a:cubicBezTo>
                    <a:pt x="7977" y="-3927"/>
                    <a:pt x="-3675" y="3535"/>
                    <a:pt x="1129" y="12019"/>
                  </a:cubicBezTo>
                  <a:cubicBezTo>
                    <a:pt x="42117" y="85000"/>
                    <a:pt x="100379" y="138254"/>
                    <a:pt x="73701" y="227896"/>
                  </a:cubicBezTo>
                  <a:cubicBezTo>
                    <a:pt x="72474" y="231984"/>
                    <a:pt x="79118" y="233824"/>
                    <a:pt x="80447" y="229736"/>
                  </a:cubicBezTo>
                  <a:lnTo>
                    <a:pt x="80447" y="2297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8298BB36-08C0-426A-88F8-B315F9DFC33E}"/>
                </a:ext>
              </a:extLst>
            </p:cNvPr>
            <p:cNvSpPr/>
            <p:nvPr/>
          </p:nvSpPr>
          <p:spPr>
            <a:xfrm>
              <a:off x="9312395" y="1974334"/>
              <a:ext cx="63381" cy="95071"/>
            </a:xfrm>
            <a:custGeom>
              <a:avLst/>
              <a:gdLst>
                <a:gd name="connsiteX0" fmla="*/ 82449 w 81771"/>
                <a:gd name="connsiteY0" fmla="*/ 128856 h 122657"/>
                <a:gd name="connsiteX1" fmla="*/ 7628 w 81771"/>
                <a:gd name="connsiteY1" fmla="*/ 372 h 122657"/>
                <a:gd name="connsiteX2" fmla="*/ 1496 w 81771"/>
                <a:gd name="connsiteY2" fmla="*/ 9878 h 122657"/>
                <a:gd name="connsiteX3" fmla="*/ 48310 w 81771"/>
                <a:gd name="connsiteY3" fmla="*/ 54648 h 122657"/>
                <a:gd name="connsiteX4" fmla="*/ 77032 w 81771"/>
                <a:gd name="connsiteY4" fmla="*/ 128753 h 122657"/>
                <a:gd name="connsiteX5" fmla="*/ 82449 w 81771"/>
                <a:gd name="connsiteY5" fmla="*/ 128856 h 122657"/>
                <a:gd name="connsiteX6" fmla="*/ 82449 w 81771"/>
                <a:gd name="connsiteY6" fmla="*/ 12885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771" h="122657">
                  <a:moveTo>
                    <a:pt x="82449" y="128856"/>
                  </a:moveTo>
                  <a:cubicBezTo>
                    <a:pt x="80712" y="82553"/>
                    <a:pt x="57509" y="18566"/>
                    <a:pt x="7628" y="372"/>
                  </a:cubicBezTo>
                  <a:cubicBezTo>
                    <a:pt x="1598" y="-1774"/>
                    <a:pt x="-2286" y="5892"/>
                    <a:pt x="1496" y="9878"/>
                  </a:cubicBezTo>
                  <a:cubicBezTo>
                    <a:pt x="16623" y="25721"/>
                    <a:pt x="35022" y="36863"/>
                    <a:pt x="48310" y="54648"/>
                  </a:cubicBezTo>
                  <a:cubicBezTo>
                    <a:pt x="65175" y="77033"/>
                    <a:pt x="74272" y="101360"/>
                    <a:pt x="77032" y="128753"/>
                  </a:cubicBezTo>
                  <a:cubicBezTo>
                    <a:pt x="77441" y="131922"/>
                    <a:pt x="82654" y="132229"/>
                    <a:pt x="82449" y="128856"/>
                  </a:cubicBezTo>
                  <a:lnTo>
                    <a:pt x="82449" y="1288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123F740-82FA-4790-B3D2-5F371E20DE41}"/>
                </a:ext>
              </a:extLst>
            </p:cNvPr>
            <p:cNvSpPr/>
            <p:nvPr/>
          </p:nvSpPr>
          <p:spPr>
            <a:xfrm>
              <a:off x="9424756" y="1926411"/>
              <a:ext cx="71304" cy="190143"/>
            </a:xfrm>
            <a:custGeom>
              <a:avLst/>
              <a:gdLst>
                <a:gd name="connsiteX0" fmla="*/ 89582 w 91992"/>
                <a:gd name="connsiteY0" fmla="*/ 251399 h 245314"/>
                <a:gd name="connsiteX1" fmla="*/ 82324 w 91992"/>
                <a:gd name="connsiteY1" fmla="*/ 106459 h 245314"/>
                <a:gd name="connsiteX2" fmla="*/ 15783 w 91992"/>
                <a:gd name="connsiteY2" fmla="*/ 1280 h 245314"/>
                <a:gd name="connsiteX3" fmla="*/ 3210 w 91992"/>
                <a:gd name="connsiteY3" fmla="*/ 16203 h 245314"/>
                <a:gd name="connsiteX4" fmla="*/ 84982 w 91992"/>
                <a:gd name="connsiteY4" fmla="*/ 251296 h 245314"/>
                <a:gd name="connsiteX5" fmla="*/ 89582 w 91992"/>
                <a:gd name="connsiteY5" fmla="*/ 251399 h 245314"/>
                <a:gd name="connsiteX6" fmla="*/ 89582 w 91992"/>
                <a:gd name="connsiteY6" fmla="*/ 251399 h 245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92" h="245314">
                  <a:moveTo>
                    <a:pt x="89582" y="251399"/>
                  </a:moveTo>
                  <a:cubicBezTo>
                    <a:pt x="97350" y="202642"/>
                    <a:pt x="96225" y="154193"/>
                    <a:pt x="82324" y="106459"/>
                  </a:cubicBezTo>
                  <a:cubicBezTo>
                    <a:pt x="71490" y="68946"/>
                    <a:pt x="52580" y="22029"/>
                    <a:pt x="15783" y="1280"/>
                  </a:cubicBezTo>
                  <a:cubicBezTo>
                    <a:pt x="6277" y="-4138"/>
                    <a:pt x="-5887" y="8946"/>
                    <a:pt x="3210" y="16203"/>
                  </a:cubicBezTo>
                  <a:cubicBezTo>
                    <a:pt x="70672" y="70581"/>
                    <a:pt x="95817" y="171263"/>
                    <a:pt x="84982" y="251296"/>
                  </a:cubicBezTo>
                  <a:cubicBezTo>
                    <a:pt x="84573" y="254056"/>
                    <a:pt x="89173" y="254056"/>
                    <a:pt x="89582" y="251399"/>
                  </a:cubicBezTo>
                  <a:lnTo>
                    <a:pt x="89582" y="2513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E15795B-4FAB-475D-BD50-E747A2E93782}"/>
                </a:ext>
              </a:extLst>
            </p:cNvPr>
            <p:cNvSpPr/>
            <p:nvPr/>
          </p:nvSpPr>
          <p:spPr>
            <a:xfrm>
              <a:off x="9408008" y="1931807"/>
              <a:ext cx="47536" cy="102994"/>
            </a:xfrm>
            <a:custGeom>
              <a:avLst/>
              <a:gdLst>
                <a:gd name="connsiteX0" fmla="*/ 70609 w 61328"/>
                <a:gd name="connsiteY0" fmla="*/ 136499 h 132878"/>
                <a:gd name="connsiteX1" fmla="*/ 10916 w 61328"/>
                <a:gd name="connsiteY1" fmla="*/ 656 h 132878"/>
                <a:gd name="connsiteX2" fmla="*/ 1103 w 61328"/>
                <a:gd name="connsiteY2" fmla="*/ 9549 h 132878"/>
                <a:gd name="connsiteX3" fmla="*/ 43522 w 61328"/>
                <a:gd name="connsiteY3" fmla="*/ 59532 h 132878"/>
                <a:gd name="connsiteX4" fmla="*/ 66418 w 61328"/>
                <a:gd name="connsiteY4" fmla="*/ 136397 h 132878"/>
                <a:gd name="connsiteX5" fmla="*/ 70609 w 61328"/>
                <a:gd name="connsiteY5" fmla="*/ 136499 h 132878"/>
                <a:gd name="connsiteX6" fmla="*/ 70609 w 61328"/>
                <a:gd name="connsiteY6" fmla="*/ 1364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1328" h="132878">
                  <a:moveTo>
                    <a:pt x="70609" y="136499"/>
                  </a:moveTo>
                  <a:cubicBezTo>
                    <a:pt x="72142" y="92036"/>
                    <a:pt x="59468" y="22019"/>
                    <a:pt x="10916" y="656"/>
                  </a:cubicBezTo>
                  <a:cubicBezTo>
                    <a:pt x="5192" y="-1899"/>
                    <a:pt x="-2985" y="3416"/>
                    <a:pt x="1103" y="9549"/>
                  </a:cubicBezTo>
                  <a:cubicBezTo>
                    <a:pt x="13267" y="27948"/>
                    <a:pt x="31972" y="40009"/>
                    <a:pt x="43522" y="59532"/>
                  </a:cubicBezTo>
                  <a:cubicBezTo>
                    <a:pt x="57117" y="82530"/>
                    <a:pt x="66112" y="109924"/>
                    <a:pt x="66418" y="136397"/>
                  </a:cubicBezTo>
                  <a:cubicBezTo>
                    <a:pt x="66418" y="138953"/>
                    <a:pt x="70507" y="139055"/>
                    <a:pt x="70609" y="136499"/>
                  </a:cubicBezTo>
                  <a:lnTo>
                    <a:pt x="70609" y="1364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8AAFCAA-89AE-4418-A0A9-0C18CA1FF8BC}"/>
                </a:ext>
              </a:extLst>
            </p:cNvPr>
            <p:cNvSpPr/>
            <p:nvPr/>
          </p:nvSpPr>
          <p:spPr>
            <a:xfrm>
              <a:off x="9638021" y="2358812"/>
              <a:ext cx="245602" cy="118840"/>
            </a:xfrm>
            <a:custGeom>
              <a:avLst/>
              <a:gdLst>
                <a:gd name="connsiteX0" fmla="*/ 246087 w 316864"/>
                <a:gd name="connsiteY0" fmla="*/ 177 h 153321"/>
                <a:gd name="connsiteX1" fmla="*/ 120670 w 316864"/>
                <a:gd name="connsiteY1" fmla="*/ 61403 h 153321"/>
                <a:gd name="connsiteX2" fmla="*/ 5679 w 316864"/>
                <a:gd name="connsiteY2" fmla="*/ 137451 h 153321"/>
                <a:gd name="connsiteX3" fmla="*/ 20398 w 316864"/>
                <a:gd name="connsiteY3" fmla="*/ 151965 h 153321"/>
                <a:gd name="connsiteX4" fmla="*/ 94196 w 316864"/>
                <a:gd name="connsiteY4" fmla="*/ 114555 h 153321"/>
                <a:gd name="connsiteX5" fmla="*/ 176683 w 316864"/>
                <a:gd name="connsiteY5" fmla="*/ 83686 h 153321"/>
                <a:gd name="connsiteX6" fmla="*/ 320397 w 316864"/>
                <a:gd name="connsiteY6" fmla="*/ 50671 h 153321"/>
                <a:gd name="connsiteX7" fmla="*/ 320090 w 316864"/>
                <a:gd name="connsiteY7" fmla="*/ 47604 h 153321"/>
                <a:gd name="connsiteX8" fmla="*/ 168404 w 316864"/>
                <a:gd name="connsiteY8" fmla="*/ 80824 h 153321"/>
                <a:gd name="connsiteX9" fmla="*/ 105031 w 316864"/>
                <a:gd name="connsiteY9" fmla="*/ 103924 h 153321"/>
                <a:gd name="connsiteX10" fmla="*/ 11403 w 316864"/>
                <a:gd name="connsiteY10" fmla="*/ 136326 h 153321"/>
                <a:gd name="connsiteX11" fmla="*/ 20500 w 316864"/>
                <a:gd name="connsiteY11" fmla="*/ 152067 h 153321"/>
                <a:gd name="connsiteX12" fmla="*/ 248540 w 316864"/>
                <a:gd name="connsiteY12" fmla="*/ 4368 h 153321"/>
                <a:gd name="connsiteX13" fmla="*/ 246087 w 316864"/>
                <a:gd name="connsiteY13" fmla="*/ 177 h 153321"/>
                <a:gd name="connsiteX14" fmla="*/ 246087 w 316864"/>
                <a:gd name="connsiteY14" fmla="*/ 177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6864" h="153321">
                  <a:moveTo>
                    <a:pt x="246087" y="177"/>
                  </a:moveTo>
                  <a:cubicBezTo>
                    <a:pt x="202135" y="16531"/>
                    <a:pt x="160431" y="37281"/>
                    <a:pt x="120670" y="61403"/>
                  </a:cubicBezTo>
                  <a:cubicBezTo>
                    <a:pt x="81420" y="85117"/>
                    <a:pt x="46258" y="116088"/>
                    <a:pt x="5679" y="137451"/>
                  </a:cubicBezTo>
                  <a:cubicBezTo>
                    <a:pt x="-9245" y="145321"/>
                    <a:pt x="8643" y="166173"/>
                    <a:pt x="20398" y="151965"/>
                  </a:cubicBezTo>
                  <a:cubicBezTo>
                    <a:pt x="35525" y="133567"/>
                    <a:pt x="72425" y="123550"/>
                    <a:pt x="94196" y="114555"/>
                  </a:cubicBezTo>
                  <a:cubicBezTo>
                    <a:pt x="121283" y="103413"/>
                    <a:pt x="148677" y="92783"/>
                    <a:pt x="176683" y="83686"/>
                  </a:cubicBezTo>
                  <a:cubicBezTo>
                    <a:pt x="223804" y="68252"/>
                    <a:pt x="271538" y="59768"/>
                    <a:pt x="320397" y="50671"/>
                  </a:cubicBezTo>
                  <a:cubicBezTo>
                    <a:pt x="322237" y="50364"/>
                    <a:pt x="321930" y="47502"/>
                    <a:pt x="320090" y="47604"/>
                  </a:cubicBezTo>
                  <a:cubicBezTo>
                    <a:pt x="268165" y="49751"/>
                    <a:pt x="217058" y="64470"/>
                    <a:pt x="168404" y="80824"/>
                  </a:cubicBezTo>
                  <a:cubicBezTo>
                    <a:pt x="147041" y="87979"/>
                    <a:pt x="125985" y="95747"/>
                    <a:pt x="105031" y="103924"/>
                  </a:cubicBezTo>
                  <a:cubicBezTo>
                    <a:pt x="78455" y="114248"/>
                    <a:pt x="40738" y="137860"/>
                    <a:pt x="11403" y="136326"/>
                  </a:cubicBezTo>
                  <a:cubicBezTo>
                    <a:pt x="14469" y="141539"/>
                    <a:pt x="17433" y="146854"/>
                    <a:pt x="20500" y="152067"/>
                  </a:cubicBezTo>
                  <a:cubicBezTo>
                    <a:pt x="73549" y="84708"/>
                    <a:pt x="171471" y="42187"/>
                    <a:pt x="248540" y="4368"/>
                  </a:cubicBezTo>
                  <a:cubicBezTo>
                    <a:pt x="251198" y="2834"/>
                    <a:pt x="248847" y="-845"/>
                    <a:pt x="246087" y="177"/>
                  </a:cubicBezTo>
                  <a:lnTo>
                    <a:pt x="246087" y="1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F32B195B-B356-4F9F-A90D-3B33B776FE74}"/>
                </a:ext>
              </a:extLst>
            </p:cNvPr>
            <p:cNvSpPr/>
            <p:nvPr/>
          </p:nvSpPr>
          <p:spPr>
            <a:xfrm>
              <a:off x="9505477" y="2391286"/>
              <a:ext cx="174298" cy="55458"/>
            </a:xfrm>
            <a:custGeom>
              <a:avLst/>
              <a:gdLst>
                <a:gd name="connsiteX0" fmla="*/ 770 w 224871"/>
                <a:gd name="connsiteY0" fmla="*/ 51090 h 71550"/>
                <a:gd name="connsiteX1" fmla="*/ 229526 w 224871"/>
                <a:gd name="connsiteY1" fmla="*/ 4276 h 71550"/>
                <a:gd name="connsiteX2" fmla="*/ 226460 w 224871"/>
                <a:gd name="connsiteY2" fmla="*/ 290 h 71550"/>
                <a:gd name="connsiteX3" fmla="*/ 8027 w 224871"/>
                <a:gd name="connsiteY3" fmla="*/ 46082 h 71550"/>
                <a:gd name="connsiteX4" fmla="*/ 770 w 224871"/>
                <a:gd name="connsiteY4" fmla="*/ 51090 h 71550"/>
                <a:gd name="connsiteX5" fmla="*/ 770 w 224871"/>
                <a:gd name="connsiteY5" fmla="*/ 51090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4871" h="71550">
                  <a:moveTo>
                    <a:pt x="770" y="51090"/>
                  </a:moveTo>
                  <a:cubicBezTo>
                    <a:pt x="57090" y="124173"/>
                    <a:pt x="178010" y="42811"/>
                    <a:pt x="229526" y="4276"/>
                  </a:cubicBezTo>
                  <a:cubicBezTo>
                    <a:pt x="231877" y="2538"/>
                    <a:pt x="228913" y="-1039"/>
                    <a:pt x="226460" y="290"/>
                  </a:cubicBezTo>
                  <a:cubicBezTo>
                    <a:pt x="171979" y="29932"/>
                    <a:pt x="67312" y="101380"/>
                    <a:pt x="8027" y="46082"/>
                  </a:cubicBezTo>
                  <a:cubicBezTo>
                    <a:pt x="4552" y="42811"/>
                    <a:pt x="-2296" y="47002"/>
                    <a:pt x="770" y="51090"/>
                  </a:cubicBezTo>
                  <a:lnTo>
                    <a:pt x="770" y="510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C96B757A-BFEB-45D8-8296-83FF364D623C}"/>
                </a:ext>
              </a:extLst>
            </p:cNvPr>
            <p:cNvSpPr/>
            <p:nvPr/>
          </p:nvSpPr>
          <p:spPr>
            <a:xfrm>
              <a:off x="9645612" y="3029076"/>
              <a:ext cx="364441" cy="142607"/>
            </a:xfrm>
            <a:custGeom>
              <a:avLst/>
              <a:gdLst>
                <a:gd name="connsiteX0" fmla="*/ 485 w 470186"/>
                <a:gd name="connsiteY0" fmla="*/ 2719 h 183985"/>
                <a:gd name="connsiteX1" fmla="*/ 468934 w 470186"/>
                <a:gd name="connsiteY1" fmla="*/ 186194 h 183985"/>
                <a:gd name="connsiteX2" fmla="*/ 469139 w 470186"/>
                <a:gd name="connsiteY2" fmla="*/ 178630 h 183985"/>
                <a:gd name="connsiteX3" fmla="*/ 2939 w 470186"/>
                <a:gd name="connsiteY3" fmla="*/ 471 h 183985"/>
                <a:gd name="connsiteX4" fmla="*/ 485 w 470186"/>
                <a:gd name="connsiteY4" fmla="*/ 2719 h 183985"/>
                <a:gd name="connsiteX5" fmla="*/ 485 w 470186"/>
                <a:gd name="connsiteY5" fmla="*/ 2719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70186" h="183985">
                  <a:moveTo>
                    <a:pt x="485" y="2719"/>
                  </a:moveTo>
                  <a:cubicBezTo>
                    <a:pt x="117010" y="119448"/>
                    <a:pt x="296396" y="199585"/>
                    <a:pt x="468934" y="186194"/>
                  </a:cubicBezTo>
                  <a:cubicBezTo>
                    <a:pt x="473943" y="185786"/>
                    <a:pt x="474352" y="178937"/>
                    <a:pt x="469139" y="178630"/>
                  </a:cubicBezTo>
                  <a:cubicBezTo>
                    <a:pt x="292103" y="169022"/>
                    <a:pt x="133160" y="118631"/>
                    <a:pt x="2939" y="471"/>
                  </a:cubicBezTo>
                  <a:cubicBezTo>
                    <a:pt x="1405" y="-960"/>
                    <a:pt x="-1048" y="1186"/>
                    <a:pt x="485" y="2719"/>
                  </a:cubicBezTo>
                  <a:lnTo>
                    <a:pt x="485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D70D8602-DC88-4C4F-BF20-14918CF739FB}"/>
                </a:ext>
              </a:extLst>
            </p:cNvPr>
            <p:cNvSpPr/>
            <p:nvPr/>
          </p:nvSpPr>
          <p:spPr>
            <a:xfrm>
              <a:off x="9689448" y="3083840"/>
              <a:ext cx="198066" cy="87149"/>
            </a:xfrm>
            <a:custGeom>
              <a:avLst/>
              <a:gdLst>
                <a:gd name="connsiteX0" fmla="*/ 863 w 255536"/>
                <a:gd name="connsiteY0" fmla="*/ 4536 h 112435"/>
                <a:gd name="connsiteX1" fmla="*/ 261305 w 255536"/>
                <a:gd name="connsiteY1" fmla="*/ 119833 h 112435"/>
                <a:gd name="connsiteX2" fmla="*/ 262327 w 255536"/>
                <a:gd name="connsiteY2" fmla="*/ 113803 h 112435"/>
                <a:gd name="connsiteX3" fmla="*/ 4951 w 255536"/>
                <a:gd name="connsiteY3" fmla="*/ 754 h 112435"/>
                <a:gd name="connsiteX4" fmla="*/ 863 w 255536"/>
                <a:gd name="connsiteY4" fmla="*/ 4536 h 112435"/>
                <a:gd name="connsiteX5" fmla="*/ 863 w 255536"/>
                <a:gd name="connsiteY5" fmla="*/ 4536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36" h="112435">
                  <a:moveTo>
                    <a:pt x="863" y="4536"/>
                  </a:moveTo>
                  <a:cubicBezTo>
                    <a:pt x="70164" y="69748"/>
                    <a:pt x="162873" y="114314"/>
                    <a:pt x="261305" y="119833"/>
                  </a:cubicBezTo>
                  <a:cubicBezTo>
                    <a:pt x="264882" y="120038"/>
                    <a:pt x="266007" y="114314"/>
                    <a:pt x="262327" y="113803"/>
                  </a:cubicBezTo>
                  <a:cubicBezTo>
                    <a:pt x="164815" y="98880"/>
                    <a:pt x="78239" y="64535"/>
                    <a:pt x="4951" y="754"/>
                  </a:cubicBezTo>
                  <a:cubicBezTo>
                    <a:pt x="2294" y="-1597"/>
                    <a:pt x="-1795" y="2083"/>
                    <a:pt x="863" y="4536"/>
                  </a:cubicBezTo>
                  <a:lnTo>
                    <a:pt x="863" y="45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9C34C66D-12F5-4A35-96CE-F44DE4F6499B}"/>
                </a:ext>
              </a:extLst>
            </p:cNvPr>
            <p:cNvSpPr/>
            <p:nvPr/>
          </p:nvSpPr>
          <p:spPr>
            <a:xfrm>
              <a:off x="9712579" y="3044380"/>
              <a:ext cx="514971" cy="87149"/>
            </a:xfrm>
            <a:custGeom>
              <a:avLst/>
              <a:gdLst>
                <a:gd name="connsiteX0" fmla="*/ 866 w 664393"/>
                <a:gd name="connsiteY0" fmla="*/ 3418 h 112435"/>
                <a:gd name="connsiteX1" fmla="*/ 340524 w 664393"/>
                <a:gd name="connsiteY1" fmla="*/ 111561 h 112435"/>
                <a:gd name="connsiteX2" fmla="*/ 519195 w 664393"/>
                <a:gd name="connsiteY2" fmla="*/ 98069 h 112435"/>
                <a:gd name="connsiteX3" fmla="*/ 670370 w 664393"/>
                <a:gd name="connsiteY3" fmla="*/ 24372 h 112435"/>
                <a:gd name="connsiteX4" fmla="*/ 652994 w 664393"/>
                <a:gd name="connsiteY4" fmla="*/ 11289 h 112435"/>
                <a:gd name="connsiteX5" fmla="*/ 489962 w 664393"/>
                <a:gd name="connsiteY5" fmla="*/ 81305 h 112435"/>
                <a:gd name="connsiteX6" fmla="*/ 322739 w 664393"/>
                <a:gd name="connsiteY6" fmla="*/ 96433 h 112435"/>
                <a:gd name="connsiteX7" fmla="*/ 2910 w 664393"/>
                <a:gd name="connsiteY7" fmla="*/ 250 h 112435"/>
                <a:gd name="connsiteX8" fmla="*/ 866 w 664393"/>
                <a:gd name="connsiteY8" fmla="*/ 3418 h 112435"/>
                <a:gd name="connsiteX9" fmla="*/ 866 w 664393"/>
                <a:gd name="connsiteY9" fmla="*/ 3418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4393" h="112435">
                  <a:moveTo>
                    <a:pt x="866" y="3418"/>
                  </a:moveTo>
                  <a:cubicBezTo>
                    <a:pt x="100934" y="69755"/>
                    <a:pt x="219196" y="103690"/>
                    <a:pt x="340524" y="111561"/>
                  </a:cubicBezTo>
                  <a:cubicBezTo>
                    <a:pt x="400626" y="115445"/>
                    <a:pt x="460422" y="111050"/>
                    <a:pt x="519195" y="98069"/>
                  </a:cubicBezTo>
                  <a:cubicBezTo>
                    <a:pt x="570507" y="86723"/>
                    <a:pt x="642466" y="70880"/>
                    <a:pt x="670370" y="24372"/>
                  </a:cubicBezTo>
                  <a:cubicBezTo>
                    <a:pt x="676401" y="14457"/>
                    <a:pt x="661477" y="1680"/>
                    <a:pt x="652994" y="11289"/>
                  </a:cubicBezTo>
                  <a:cubicBezTo>
                    <a:pt x="614561" y="54832"/>
                    <a:pt x="546589" y="69551"/>
                    <a:pt x="489962" y="81305"/>
                  </a:cubicBezTo>
                  <a:cubicBezTo>
                    <a:pt x="435481" y="92651"/>
                    <a:pt x="378446" y="98069"/>
                    <a:pt x="322739" y="96433"/>
                  </a:cubicBezTo>
                  <a:cubicBezTo>
                    <a:pt x="208770" y="93060"/>
                    <a:pt x="99196" y="57285"/>
                    <a:pt x="2910" y="250"/>
                  </a:cubicBezTo>
                  <a:cubicBezTo>
                    <a:pt x="763" y="-875"/>
                    <a:pt x="-1179" y="2089"/>
                    <a:pt x="866" y="3418"/>
                  </a:cubicBezTo>
                  <a:lnTo>
                    <a:pt x="866" y="34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600D893B-5FE3-4BD2-838B-3050DD9D0B72}"/>
                </a:ext>
              </a:extLst>
            </p:cNvPr>
            <p:cNvSpPr/>
            <p:nvPr/>
          </p:nvSpPr>
          <p:spPr>
            <a:xfrm>
              <a:off x="9820437" y="3041558"/>
              <a:ext cx="269369" cy="47536"/>
            </a:xfrm>
            <a:custGeom>
              <a:avLst/>
              <a:gdLst>
                <a:gd name="connsiteX0" fmla="*/ 1441 w 347529"/>
                <a:gd name="connsiteY0" fmla="*/ 5525 h 61328"/>
                <a:gd name="connsiteX1" fmla="*/ 348050 w 347529"/>
                <a:gd name="connsiteY1" fmla="*/ 40176 h 61328"/>
                <a:gd name="connsiteX2" fmla="*/ 346414 w 347529"/>
                <a:gd name="connsiteY2" fmla="*/ 36189 h 61328"/>
                <a:gd name="connsiteX3" fmla="*/ 4609 w 347529"/>
                <a:gd name="connsiteY3" fmla="*/ 516 h 61328"/>
                <a:gd name="connsiteX4" fmla="*/ 1441 w 347529"/>
                <a:gd name="connsiteY4" fmla="*/ 5525 h 61328"/>
                <a:gd name="connsiteX5" fmla="*/ 1441 w 347529"/>
                <a:gd name="connsiteY5" fmla="*/ 55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7529" h="61328">
                  <a:moveTo>
                    <a:pt x="1441" y="5525"/>
                  </a:moveTo>
                  <a:cubicBezTo>
                    <a:pt x="101611" y="66342"/>
                    <a:pt x="236943" y="86888"/>
                    <a:pt x="348050" y="40176"/>
                  </a:cubicBezTo>
                  <a:cubicBezTo>
                    <a:pt x="350401" y="39153"/>
                    <a:pt x="348867" y="35474"/>
                    <a:pt x="346414" y="36189"/>
                  </a:cubicBezTo>
                  <a:cubicBezTo>
                    <a:pt x="228663" y="68182"/>
                    <a:pt x="110606" y="63378"/>
                    <a:pt x="4609" y="516"/>
                  </a:cubicBezTo>
                  <a:cubicBezTo>
                    <a:pt x="1236" y="-1630"/>
                    <a:pt x="-1932" y="3481"/>
                    <a:pt x="1441" y="5525"/>
                  </a:cubicBezTo>
                  <a:lnTo>
                    <a:pt x="1441" y="55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190465F0-BC64-45C1-9FFD-3FBDD24DE392}"/>
                </a:ext>
              </a:extLst>
            </p:cNvPr>
            <p:cNvSpPr/>
            <p:nvPr/>
          </p:nvSpPr>
          <p:spPr>
            <a:xfrm>
              <a:off x="9912652" y="2543850"/>
              <a:ext cx="229756" cy="55458"/>
            </a:xfrm>
            <a:custGeom>
              <a:avLst/>
              <a:gdLst>
                <a:gd name="connsiteX0" fmla="*/ 2365 w 296421"/>
                <a:gd name="connsiteY0" fmla="*/ 5128 h 71550"/>
                <a:gd name="connsiteX1" fmla="*/ 292756 w 296421"/>
                <a:gd name="connsiteY1" fmla="*/ 77190 h 71550"/>
                <a:gd name="connsiteX2" fmla="*/ 305227 w 296421"/>
                <a:gd name="connsiteY2" fmla="*/ 74328 h 71550"/>
                <a:gd name="connsiteX3" fmla="*/ 198208 w 296421"/>
                <a:gd name="connsiteY3" fmla="*/ 5231 h 71550"/>
                <a:gd name="connsiteX4" fmla="*/ 2467 w 296421"/>
                <a:gd name="connsiteY4" fmla="*/ 324 h 71550"/>
                <a:gd name="connsiteX5" fmla="*/ 2365 w 296421"/>
                <a:gd name="connsiteY5" fmla="*/ 5128 h 71550"/>
                <a:gd name="connsiteX6" fmla="*/ 2365 w 296421"/>
                <a:gd name="connsiteY6" fmla="*/ 51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6421" h="71550">
                  <a:moveTo>
                    <a:pt x="2365" y="5128"/>
                  </a:moveTo>
                  <a:cubicBezTo>
                    <a:pt x="91701" y="8195"/>
                    <a:pt x="236436" y="-2333"/>
                    <a:pt x="292756" y="77190"/>
                  </a:cubicBezTo>
                  <a:cubicBezTo>
                    <a:pt x="296027" y="81892"/>
                    <a:pt x="305635" y="81176"/>
                    <a:pt x="305227" y="74328"/>
                  </a:cubicBezTo>
                  <a:cubicBezTo>
                    <a:pt x="302365" y="26287"/>
                    <a:pt x="239911" y="11159"/>
                    <a:pt x="198208" y="5231"/>
                  </a:cubicBezTo>
                  <a:cubicBezTo>
                    <a:pt x="134222" y="-3969"/>
                    <a:pt x="67067" y="2164"/>
                    <a:pt x="2467" y="324"/>
                  </a:cubicBezTo>
                  <a:cubicBezTo>
                    <a:pt x="-701" y="222"/>
                    <a:pt x="-906" y="5026"/>
                    <a:pt x="2365" y="5128"/>
                  </a:cubicBezTo>
                  <a:lnTo>
                    <a:pt x="2365" y="51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57D8D159-3D5F-4DE0-8195-F42C59621D9B}"/>
                </a:ext>
              </a:extLst>
            </p:cNvPr>
            <p:cNvSpPr/>
            <p:nvPr/>
          </p:nvSpPr>
          <p:spPr>
            <a:xfrm>
              <a:off x="10005912" y="2515038"/>
              <a:ext cx="126762" cy="47536"/>
            </a:xfrm>
            <a:custGeom>
              <a:avLst/>
              <a:gdLst>
                <a:gd name="connsiteX0" fmla="*/ 2555 w 163543"/>
                <a:gd name="connsiteY0" fmla="*/ 7343 h 61328"/>
                <a:gd name="connsiteX1" fmla="*/ 85860 w 163543"/>
                <a:gd name="connsiteY1" fmla="*/ 15111 h 61328"/>
                <a:gd name="connsiteX2" fmla="*/ 152402 w 163543"/>
                <a:gd name="connsiteY2" fmla="*/ 66729 h 61328"/>
                <a:gd name="connsiteX3" fmla="*/ 160272 w 163543"/>
                <a:gd name="connsiteY3" fmla="*/ 70000 h 61328"/>
                <a:gd name="connsiteX4" fmla="*/ 118671 w 163543"/>
                <a:gd name="connsiteY4" fmla="*/ 14395 h 61328"/>
                <a:gd name="connsiteX5" fmla="*/ 1635 w 163543"/>
                <a:gd name="connsiteY5" fmla="*/ 3561 h 61328"/>
                <a:gd name="connsiteX6" fmla="*/ 2555 w 163543"/>
                <a:gd name="connsiteY6" fmla="*/ 7343 h 61328"/>
                <a:gd name="connsiteX7" fmla="*/ 2555 w 163543"/>
                <a:gd name="connsiteY7" fmla="*/ 734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543" h="61328">
                  <a:moveTo>
                    <a:pt x="2555" y="7343"/>
                  </a:moveTo>
                  <a:cubicBezTo>
                    <a:pt x="31073" y="3254"/>
                    <a:pt x="58773" y="5809"/>
                    <a:pt x="85860" y="15111"/>
                  </a:cubicBezTo>
                  <a:cubicBezTo>
                    <a:pt x="110392" y="23493"/>
                    <a:pt x="149744" y="39234"/>
                    <a:pt x="152402" y="66729"/>
                  </a:cubicBezTo>
                  <a:cubicBezTo>
                    <a:pt x="152708" y="70307"/>
                    <a:pt x="157104" y="72964"/>
                    <a:pt x="160272" y="70000"/>
                  </a:cubicBezTo>
                  <a:cubicBezTo>
                    <a:pt x="185110" y="46900"/>
                    <a:pt x="136967" y="22062"/>
                    <a:pt x="118671" y="14395"/>
                  </a:cubicBezTo>
                  <a:cubicBezTo>
                    <a:pt x="82078" y="-1141"/>
                    <a:pt x="40681" y="-2981"/>
                    <a:pt x="1635" y="3561"/>
                  </a:cubicBezTo>
                  <a:cubicBezTo>
                    <a:pt x="-1124" y="3970"/>
                    <a:pt x="-102" y="7752"/>
                    <a:pt x="2555" y="7343"/>
                  </a:cubicBezTo>
                  <a:lnTo>
                    <a:pt x="2555" y="7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CFD823CF-603B-4194-860E-299F5C25EDFA}"/>
                </a:ext>
              </a:extLst>
            </p:cNvPr>
            <p:cNvSpPr/>
            <p:nvPr/>
          </p:nvSpPr>
          <p:spPr>
            <a:xfrm>
              <a:off x="9885471" y="2301651"/>
              <a:ext cx="158453" cy="47536"/>
            </a:xfrm>
            <a:custGeom>
              <a:avLst/>
              <a:gdLst>
                <a:gd name="connsiteX0" fmla="*/ 2885 w 204428"/>
                <a:gd name="connsiteY0" fmla="*/ 39886 h 61328"/>
                <a:gd name="connsiteX1" fmla="*/ 113481 w 204428"/>
                <a:gd name="connsiteY1" fmla="*/ 12696 h 61328"/>
                <a:gd name="connsiteX2" fmla="*/ 199137 w 204428"/>
                <a:gd name="connsiteY2" fmla="*/ 60737 h 61328"/>
                <a:gd name="connsiteX3" fmla="*/ 211505 w 204428"/>
                <a:gd name="connsiteY3" fmla="*/ 54400 h 61328"/>
                <a:gd name="connsiteX4" fmla="*/ 1045 w 204428"/>
                <a:gd name="connsiteY4" fmla="*/ 36615 h 61328"/>
                <a:gd name="connsiteX5" fmla="*/ 2885 w 204428"/>
                <a:gd name="connsiteY5" fmla="*/ 39886 h 61328"/>
                <a:gd name="connsiteX6" fmla="*/ 2885 w 204428"/>
                <a:gd name="connsiteY6" fmla="*/ 39886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61328">
                  <a:moveTo>
                    <a:pt x="2885" y="39886"/>
                  </a:moveTo>
                  <a:cubicBezTo>
                    <a:pt x="37229" y="24860"/>
                    <a:pt x="74844" y="10652"/>
                    <a:pt x="113481" y="12696"/>
                  </a:cubicBezTo>
                  <a:cubicBezTo>
                    <a:pt x="153140" y="14843"/>
                    <a:pt x="174605" y="34264"/>
                    <a:pt x="199137" y="60737"/>
                  </a:cubicBezTo>
                  <a:cubicBezTo>
                    <a:pt x="203839" y="65848"/>
                    <a:pt x="213447" y="60840"/>
                    <a:pt x="211505" y="54400"/>
                  </a:cubicBezTo>
                  <a:cubicBezTo>
                    <a:pt x="185440" y="-34424"/>
                    <a:pt x="57978" y="5030"/>
                    <a:pt x="1045" y="36615"/>
                  </a:cubicBezTo>
                  <a:cubicBezTo>
                    <a:pt x="-1204" y="37739"/>
                    <a:pt x="534" y="40805"/>
                    <a:pt x="2885" y="39886"/>
                  </a:cubicBezTo>
                  <a:lnTo>
                    <a:pt x="2885" y="3988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9CA2B22E-8D81-407D-9E6E-DEDD77D76BF5}"/>
                </a:ext>
              </a:extLst>
            </p:cNvPr>
            <p:cNvSpPr/>
            <p:nvPr/>
          </p:nvSpPr>
          <p:spPr>
            <a:xfrm>
              <a:off x="9867913" y="2276472"/>
              <a:ext cx="158453" cy="39613"/>
            </a:xfrm>
            <a:custGeom>
              <a:avLst/>
              <a:gdLst>
                <a:gd name="connsiteX0" fmla="*/ 4583 w 204428"/>
                <a:gd name="connsiteY0" fmla="*/ 35982 h 51107"/>
                <a:gd name="connsiteX1" fmla="*/ 115895 w 204428"/>
                <a:gd name="connsiteY1" fmla="*/ 11041 h 51107"/>
                <a:gd name="connsiteX2" fmla="*/ 199608 w 204428"/>
                <a:gd name="connsiteY2" fmla="*/ 52847 h 51107"/>
                <a:gd name="connsiteX3" fmla="*/ 208399 w 204428"/>
                <a:gd name="connsiteY3" fmla="*/ 44874 h 51107"/>
                <a:gd name="connsiteX4" fmla="*/ 1619 w 204428"/>
                <a:gd name="connsiteY4" fmla="*/ 30871 h 51107"/>
                <a:gd name="connsiteX5" fmla="*/ 4583 w 204428"/>
                <a:gd name="connsiteY5" fmla="*/ 35982 h 51107"/>
                <a:gd name="connsiteX6" fmla="*/ 4583 w 204428"/>
                <a:gd name="connsiteY6" fmla="*/ 3598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4428" h="51107">
                  <a:moveTo>
                    <a:pt x="4583" y="35982"/>
                  </a:moveTo>
                  <a:cubicBezTo>
                    <a:pt x="38314" y="21058"/>
                    <a:pt x="77973" y="7668"/>
                    <a:pt x="115895" y="11041"/>
                  </a:cubicBezTo>
                  <a:cubicBezTo>
                    <a:pt x="151670" y="14210"/>
                    <a:pt x="170477" y="37719"/>
                    <a:pt x="199608" y="52847"/>
                  </a:cubicBezTo>
                  <a:cubicBezTo>
                    <a:pt x="204617" y="55403"/>
                    <a:pt x="212079" y="50087"/>
                    <a:pt x="208399" y="44874"/>
                  </a:cubicBezTo>
                  <a:cubicBezTo>
                    <a:pt x="159234" y="-22894"/>
                    <a:pt x="67139" y="-2246"/>
                    <a:pt x="1619" y="30871"/>
                  </a:cubicBezTo>
                  <a:cubicBezTo>
                    <a:pt x="-1958" y="32711"/>
                    <a:pt x="1006" y="37515"/>
                    <a:pt x="4583" y="35982"/>
                  </a:cubicBezTo>
                  <a:lnTo>
                    <a:pt x="4583" y="359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0B82ABEF-D88D-410E-ABA6-81A3DF0054B3}"/>
                </a:ext>
              </a:extLst>
            </p:cNvPr>
            <p:cNvSpPr/>
            <p:nvPr/>
          </p:nvSpPr>
          <p:spPr>
            <a:xfrm>
              <a:off x="9872078" y="3481594"/>
              <a:ext cx="190143" cy="158453"/>
            </a:xfrm>
            <a:custGeom>
              <a:avLst/>
              <a:gdLst>
                <a:gd name="connsiteX0" fmla="*/ 6774 w 245314"/>
                <a:gd name="connsiteY0" fmla="*/ 204316 h 204428"/>
                <a:gd name="connsiteX1" fmla="*/ 245752 w 245314"/>
                <a:gd name="connsiteY1" fmla="*/ 4180 h 204428"/>
                <a:gd name="connsiteX2" fmla="*/ 242788 w 245314"/>
                <a:gd name="connsiteY2" fmla="*/ 296 h 204428"/>
                <a:gd name="connsiteX3" fmla="*/ 1050 w 245314"/>
                <a:gd name="connsiteY3" fmla="*/ 198796 h 204428"/>
                <a:gd name="connsiteX4" fmla="*/ 6774 w 245314"/>
                <a:gd name="connsiteY4" fmla="*/ 204316 h 204428"/>
                <a:gd name="connsiteX5" fmla="*/ 6774 w 245314"/>
                <a:gd name="connsiteY5" fmla="*/ 204316 h 204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5314" h="204428">
                  <a:moveTo>
                    <a:pt x="6774" y="204316"/>
                  </a:moveTo>
                  <a:cubicBezTo>
                    <a:pt x="79551" y="128984"/>
                    <a:pt x="162038" y="67860"/>
                    <a:pt x="245752" y="4180"/>
                  </a:cubicBezTo>
                  <a:cubicBezTo>
                    <a:pt x="248001" y="2442"/>
                    <a:pt x="245241" y="-1033"/>
                    <a:pt x="242788" y="296"/>
                  </a:cubicBezTo>
                  <a:cubicBezTo>
                    <a:pt x="150386" y="50279"/>
                    <a:pt x="70863" y="123464"/>
                    <a:pt x="1050" y="198796"/>
                  </a:cubicBezTo>
                  <a:cubicBezTo>
                    <a:pt x="-2323" y="202374"/>
                    <a:pt x="3197" y="207996"/>
                    <a:pt x="6774" y="204316"/>
                  </a:cubicBezTo>
                  <a:lnTo>
                    <a:pt x="6774" y="20431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FFF09D17-67E1-4574-B802-F98A9E93D631}"/>
                </a:ext>
              </a:extLst>
            </p:cNvPr>
            <p:cNvSpPr/>
            <p:nvPr/>
          </p:nvSpPr>
          <p:spPr>
            <a:xfrm>
              <a:off x="9924295" y="3530260"/>
              <a:ext cx="95071" cy="79226"/>
            </a:xfrm>
            <a:custGeom>
              <a:avLst/>
              <a:gdLst>
                <a:gd name="connsiteX0" fmla="*/ 7173 w 122657"/>
                <a:gd name="connsiteY0" fmla="*/ 105447 h 102214"/>
                <a:gd name="connsiteX1" fmla="*/ 131568 w 122657"/>
                <a:gd name="connsiteY1" fmla="*/ 5686 h 102214"/>
                <a:gd name="connsiteX2" fmla="*/ 127582 w 122657"/>
                <a:gd name="connsiteY2" fmla="*/ 575 h 102214"/>
                <a:gd name="connsiteX3" fmla="*/ 1449 w 122657"/>
                <a:gd name="connsiteY3" fmla="*/ 99825 h 102214"/>
                <a:gd name="connsiteX4" fmla="*/ 7173 w 122657"/>
                <a:gd name="connsiteY4" fmla="*/ 105447 h 102214"/>
                <a:gd name="connsiteX5" fmla="*/ 7173 w 122657"/>
                <a:gd name="connsiteY5" fmla="*/ 10544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02214">
                  <a:moveTo>
                    <a:pt x="7173" y="105447"/>
                  </a:moveTo>
                  <a:cubicBezTo>
                    <a:pt x="48877" y="72738"/>
                    <a:pt x="92522" y="41256"/>
                    <a:pt x="131568" y="5686"/>
                  </a:cubicBezTo>
                  <a:cubicBezTo>
                    <a:pt x="134226" y="3233"/>
                    <a:pt x="130751" y="-1674"/>
                    <a:pt x="127582" y="575"/>
                  </a:cubicBezTo>
                  <a:cubicBezTo>
                    <a:pt x="83425" y="31035"/>
                    <a:pt x="42948" y="66401"/>
                    <a:pt x="1449" y="99825"/>
                  </a:cubicBezTo>
                  <a:cubicBezTo>
                    <a:pt x="-2741" y="103096"/>
                    <a:pt x="3085" y="108616"/>
                    <a:pt x="7173" y="105447"/>
                  </a:cubicBezTo>
                  <a:lnTo>
                    <a:pt x="7173" y="1054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7714384D-D5E2-4458-BEB0-C289BAA1941E}"/>
                </a:ext>
              </a:extLst>
            </p:cNvPr>
            <p:cNvSpPr/>
            <p:nvPr/>
          </p:nvSpPr>
          <p:spPr>
            <a:xfrm>
              <a:off x="9230730" y="3659083"/>
              <a:ext cx="277292" cy="71304"/>
            </a:xfrm>
            <a:custGeom>
              <a:avLst/>
              <a:gdLst>
                <a:gd name="connsiteX0" fmla="*/ 451 w 357750"/>
                <a:gd name="connsiteY0" fmla="*/ 4661 h 91992"/>
                <a:gd name="connsiteX1" fmla="*/ 148867 w 357750"/>
                <a:gd name="connsiteY1" fmla="*/ 93485 h 91992"/>
                <a:gd name="connsiteX2" fmla="*/ 363313 w 357750"/>
                <a:gd name="connsiteY2" fmla="*/ 43196 h 91992"/>
                <a:gd name="connsiteX3" fmla="*/ 361268 w 357750"/>
                <a:gd name="connsiteY3" fmla="*/ 38187 h 91992"/>
                <a:gd name="connsiteX4" fmla="*/ 174216 w 357750"/>
                <a:gd name="connsiteY4" fmla="*/ 78358 h 91992"/>
                <a:gd name="connsiteX5" fmla="*/ 5767 w 357750"/>
                <a:gd name="connsiteY5" fmla="*/ 1083 h 91992"/>
                <a:gd name="connsiteX6" fmla="*/ 451 w 357750"/>
                <a:gd name="connsiteY6" fmla="*/ 4661 h 91992"/>
                <a:gd name="connsiteX7" fmla="*/ 451 w 357750"/>
                <a:gd name="connsiteY7" fmla="*/ 4661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7750" h="91992">
                  <a:moveTo>
                    <a:pt x="451" y="4661"/>
                  </a:moveTo>
                  <a:cubicBezTo>
                    <a:pt x="28969" y="49738"/>
                    <a:pt x="93058" y="88681"/>
                    <a:pt x="148867" y="93485"/>
                  </a:cubicBezTo>
                  <a:cubicBezTo>
                    <a:pt x="218577" y="99516"/>
                    <a:pt x="301677" y="71509"/>
                    <a:pt x="363313" y="43196"/>
                  </a:cubicBezTo>
                  <a:cubicBezTo>
                    <a:pt x="366175" y="41867"/>
                    <a:pt x="364437" y="37267"/>
                    <a:pt x="361268" y="38187"/>
                  </a:cubicBezTo>
                  <a:cubicBezTo>
                    <a:pt x="301269" y="55155"/>
                    <a:pt x="237589" y="77949"/>
                    <a:pt x="174216" y="78358"/>
                  </a:cubicBezTo>
                  <a:cubicBezTo>
                    <a:pt x="116669" y="78767"/>
                    <a:pt x="42768" y="42787"/>
                    <a:pt x="5767" y="1083"/>
                  </a:cubicBezTo>
                  <a:cubicBezTo>
                    <a:pt x="3313" y="-1779"/>
                    <a:pt x="-1491" y="1595"/>
                    <a:pt x="451" y="4661"/>
                  </a:cubicBezTo>
                  <a:lnTo>
                    <a:pt x="451" y="4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4BB3ED6C-5AA9-4E97-98F4-E794DB8FD995}"/>
                </a:ext>
              </a:extLst>
            </p:cNvPr>
            <p:cNvSpPr/>
            <p:nvPr/>
          </p:nvSpPr>
          <p:spPr>
            <a:xfrm>
              <a:off x="9392126" y="3581998"/>
              <a:ext cx="237679" cy="102994"/>
            </a:xfrm>
            <a:custGeom>
              <a:avLst/>
              <a:gdLst>
                <a:gd name="connsiteX0" fmla="*/ 3195 w 306643"/>
                <a:gd name="connsiteY0" fmla="*/ 133245 h 132878"/>
                <a:gd name="connsiteX1" fmla="*/ 305647 w 306643"/>
                <a:gd name="connsiteY1" fmla="*/ 5068 h 132878"/>
                <a:gd name="connsiteX2" fmla="*/ 301150 w 306643"/>
                <a:gd name="connsiteY2" fmla="*/ 673 h 132878"/>
                <a:gd name="connsiteX3" fmla="*/ 1968 w 306643"/>
                <a:gd name="connsiteY3" fmla="*/ 128338 h 132878"/>
                <a:gd name="connsiteX4" fmla="*/ 3195 w 306643"/>
                <a:gd name="connsiteY4" fmla="*/ 133245 h 132878"/>
                <a:gd name="connsiteX5" fmla="*/ 3195 w 306643"/>
                <a:gd name="connsiteY5" fmla="*/ 133245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3" h="132878">
                  <a:moveTo>
                    <a:pt x="3195" y="133245"/>
                  </a:moveTo>
                  <a:cubicBezTo>
                    <a:pt x="114199" y="120672"/>
                    <a:pt x="224182" y="78764"/>
                    <a:pt x="305647" y="5068"/>
                  </a:cubicBezTo>
                  <a:cubicBezTo>
                    <a:pt x="308713" y="2308"/>
                    <a:pt x="304421" y="-1576"/>
                    <a:pt x="301150" y="673"/>
                  </a:cubicBezTo>
                  <a:cubicBezTo>
                    <a:pt x="210485" y="64659"/>
                    <a:pt x="114404" y="110451"/>
                    <a:pt x="1968" y="128338"/>
                  </a:cubicBezTo>
                  <a:cubicBezTo>
                    <a:pt x="-1405" y="128952"/>
                    <a:pt x="-76" y="133654"/>
                    <a:pt x="3195" y="133245"/>
                  </a:cubicBezTo>
                  <a:lnTo>
                    <a:pt x="3195" y="1332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E5186BBA-B447-4BCB-BF60-A91E8D41AC8C}"/>
                </a:ext>
              </a:extLst>
            </p:cNvPr>
            <p:cNvSpPr/>
            <p:nvPr/>
          </p:nvSpPr>
          <p:spPr>
            <a:xfrm>
              <a:off x="9525886" y="3585063"/>
              <a:ext cx="134685" cy="87149"/>
            </a:xfrm>
            <a:custGeom>
              <a:avLst/>
              <a:gdLst>
                <a:gd name="connsiteX0" fmla="*/ 5614 w 173764"/>
                <a:gd name="connsiteY0" fmla="*/ 121624 h 112435"/>
                <a:gd name="connsiteX1" fmla="*/ 173144 w 173764"/>
                <a:gd name="connsiteY1" fmla="*/ 4895 h 112435"/>
                <a:gd name="connsiteX2" fmla="*/ 169771 w 173764"/>
                <a:gd name="connsiteY2" fmla="*/ 500 h 112435"/>
                <a:gd name="connsiteX3" fmla="*/ 1935 w 173764"/>
                <a:gd name="connsiteY3" fmla="*/ 115185 h 112435"/>
                <a:gd name="connsiteX4" fmla="*/ 5614 w 173764"/>
                <a:gd name="connsiteY4" fmla="*/ 121624 h 112435"/>
                <a:gd name="connsiteX5" fmla="*/ 5614 w 173764"/>
                <a:gd name="connsiteY5" fmla="*/ 121624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5614" y="121624"/>
                  </a:moveTo>
                  <a:cubicBezTo>
                    <a:pt x="64899" y="91164"/>
                    <a:pt x="129805" y="54878"/>
                    <a:pt x="173144" y="4895"/>
                  </a:cubicBezTo>
                  <a:cubicBezTo>
                    <a:pt x="174984" y="2749"/>
                    <a:pt x="172633" y="-1442"/>
                    <a:pt x="169771" y="500"/>
                  </a:cubicBezTo>
                  <a:cubicBezTo>
                    <a:pt x="113144" y="38831"/>
                    <a:pt x="62854" y="82272"/>
                    <a:pt x="1935" y="115185"/>
                  </a:cubicBezTo>
                  <a:cubicBezTo>
                    <a:pt x="-2358" y="117536"/>
                    <a:pt x="1219" y="123873"/>
                    <a:pt x="5614" y="121624"/>
                  </a:cubicBezTo>
                  <a:lnTo>
                    <a:pt x="5614" y="12162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41E9CF4F-8A0D-4651-8019-C67F0845015F}"/>
                </a:ext>
              </a:extLst>
            </p:cNvPr>
            <p:cNvSpPr/>
            <p:nvPr/>
          </p:nvSpPr>
          <p:spPr>
            <a:xfrm>
              <a:off x="9722340" y="3231075"/>
              <a:ext cx="253524" cy="47536"/>
            </a:xfrm>
            <a:custGeom>
              <a:avLst/>
              <a:gdLst>
                <a:gd name="connsiteX0" fmla="*/ 1458 w 327086"/>
                <a:gd name="connsiteY0" fmla="*/ 5925 h 61328"/>
                <a:gd name="connsiteX1" fmla="*/ 331611 w 327086"/>
                <a:gd name="connsiteY1" fmla="*/ 45788 h 61328"/>
                <a:gd name="connsiteX2" fmla="*/ 329260 w 327086"/>
                <a:gd name="connsiteY2" fmla="*/ 39962 h 61328"/>
                <a:gd name="connsiteX3" fmla="*/ 4934 w 327086"/>
                <a:gd name="connsiteY3" fmla="*/ 507 h 61328"/>
                <a:gd name="connsiteX4" fmla="*/ 1458 w 327086"/>
                <a:gd name="connsiteY4" fmla="*/ 5925 h 61328"/>
                <a:gd name="connsiteX5" fmla="*/ 1458 w 327086"/>
                <a:gd name="connsiteY5" fmla="*/ 5925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27086" h="61328">
                  <a:moveTo>
                    <a:pt x="1458" y="5925"/>
                  </a:moveTo>
                  <a:cubicBezTo>
                    <a:pt x="95802" y="66435"/>
                    <a:pt x="224286" y="89229"/>
                    <a:pt x="331611" y="45788"/>
                  </a:cubicBezTo>
                  <a:cubicBezTo>
                    <a:pt x="335086" y="44357"/>
                    <a:pt x="332838" y="39144"/>
                    <a:pt x="329260" y="39962"/>
                  </a:cubicBezTo>
                  <a:cubicBezTo>
                    <a:pt x="216518" y="66742"/>
                    <a:pt x="105104" y="60916"/>
                    <a:pt x="4934" y="507"/>
                  </a:cubicBezTo>
                  <a:cubicBezTo>
                    <a:pt x="1356" y="-1639"/>
                    <a:pt x="-2017" y="3574"/>
                    <a:pt x="1458" y="5925"/>
                  </a:cubicBezTo>
                  <a:lnTo>
                    <a:pt x="1458" y="59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7188774-3F56-440A-9BC0-E2DB37990AD1}"/>
                </a:ext>
              </a:extLst>
            </p:cNvPr>
            <p:cNvSpPr/>
            <p:nvPr/>
          </p:nvSpPr>
          <p:spPr>
            <a:xfrm>
              <a:off x="9759518" y="3282530"/>
              <a:ext cx="166375" cy="23768"/>
            </a:xfrm>
            <a:custGeom>
              <a:avLst/>
              <a:gdLst>
                <a:gd name="connsiteX0" fmla="*/ 1841 w 214650"/>
                <a:gd name="connsiteY0" fmla="*/ 7000 h 30664"/>
                <a:gd name="connsiteX1" fmla="*/ 218024 w 214650"/>
                <a:gd name="connsiteY1" fmla="*/ 9146 h 30664"/>
                <a:gd name="connsiteX2" fmla="*/ 216082 w 214650"/>
                <a:gd name="connsiteY2" fmla="*/ 4342 h 30664"/>
                <a:gd name="connsiteX3" fmla="*/ 5929 w 214650"/>
                <a:gd name="connsiteY3" fmla="*/ 560 h 30664"/>
                <a:gd name="connsiteX4" fmla="*/ 1841 w 214650"/>
                <a:gd name="connsiteY4" fmla="*/ 7000 h 30664"/>
                <a:gd name="connsiteX5" fmla="*/ 1841 w 214650"/>
                <a:gd name="connsiteY5" fmla="*/ 700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30664">
                  <a:moveTo>
                    <a:pt x="1841" y="7000"/>
                  </a:moveTo>
                  <a:cubicBezTo>
                    <a:pt x="68485" y="47579"/>
                    <a:pt x="148110" y="34904"/>
                    <a:pt x="218024" y="9146"/>
                  </a:cubicBezTo>
                  <a:cubicBezTo>
                    <a:pt x="220989" y="8022"/>
                    <a:pt x="218944" y="3729"/>
                    <a:pt x="216082" y="4342"/>
                  </a:cubicBezTo>
                  <a:cubicBezTo>
                    <a:pt x="145248" y="17630"/>
                    <a:pt x="72573" y="38789"/>
                    <a:pt x="5929" y="560"/>
                  </a:cubicBezTo>
                  <a:cubicBezTo>
                    <a:pt x="1534" y="-1893"/>
                    <a:pt x="-2452" y="4342"/>
                    <a:pt x="1841" y="7000"/>
                  </a:cubicBezTo>
                  <a:lnTo>
                    <a:pt x="1841" y="70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2C19BE9-E4CB-4975-9E7C-C560881C57C1}"/>
                </a:ext>
              </a:extLst>
            </p:cNvPr>
            <p:cNvSpPr/>
            <p:nvPr/>
          </p:nvSpPr>
          <p:spPr>
            <a:xfrm>
              <a:off x="8939059" y="3195316"/>
              <a:ext cx="134685" cy="142607"/>
            </a:xfrm>
            <a:custGeom>
              <a:avLst/>
              <a:gdLst>
                <a:gd name="connsiteX0" fmla="*/ 5408 w 173764"/>
                <a:gd name="connsiteY0" fmla="*/ 191582 h 183985"/>
                <a:gd name="connsiteX1" fmla="*/ 181421 w 173764"/>
                <a:gd name="connsiteY1" fmla="*/ 3916 h 183985"/>
                <a:gd name="connsiteX2" fmla="*/ 178661 w 173764"/>
                <a:gd name="connsiteY2" fmla="*/ 338 h 183985"/>
                <a:gd name="connsiteX3" fmla="*/ 400 w 173764"/>
                <a:gd name="connsiteY3" fmla="*/ 188720 h 183985"/>
                <a:gd name="connsiteX4" fmla="*/ 5408 w 173764"/>
                <a:gd name="connsiteY4" fmla="*/ 191582 h 183985"/>
                <a:gd name="connsiteX5" fmla="*/ 5408 w 173764"/>
                <a:gd name="connsiteY5" fmla="*/ 191582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83985">
                  <a:moveTo>
                    <a:pt x="5408" y="191582"/>
                  </a:moveTo>
                  <a:cubicBezTo>
                    <a:pt x="49565" y="117680"/>
                    <a:pt x="110587" y="55637"/>
                    <a:pt x="181421" y="3916"/>
                  </a:cubicBezTo>
                  <a:cubicBezTo>
                    <a:pt x="183465" y="2383"/>
                    <a:pt x="180808" y="-1093"/>
                    <a:pt x="178661" y="338"/>
                  </a:cubicBezTo>
                  <a:cubicBezTo>
                    <a:pt x="102307" y="48584"/>
                    <a:pt x="44352" y="112672"/>
                    <a:pt x="400" y="188720"/>
                  </a:cubicBezTo>
                  <a:cubicBezTo>
                    <a:pt x="-1440" y="191888"/>
                    <a:pt x="3568" y="194750"/>
                    <a:pt x="5408" y="191582"/>
                  </a:cubicBezTo>
                  <a:lnTo>
                    <a:pt x="5408" y="1915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A475097A-A4DB-480A-80A8-D284A7635D9A}"/>
                </a:ext>
              </a:extLst>
            </p:cNvPr>
            <p:cNvSpPr/>
            <p:nvPr/>
          </p:nvSpPr>
          <p:spPr>
            <a:xfrm>
              <a:off x="8908019" y="3224486"/>
              <a:ext cx="87149" cy="95071"/>
            </a:xfrm>
            <a:custGeom>
              <a:avLst/>
              <a:gdLst>
                <a:gd name="connsiteX0" fmla="*/ 7839 w 112435"/>
                <a:gd name="connsiteY0" fmla="*/ 126861 h 122657"/>
                <a:gd name="connsiteX1" fmla="*/ 113733 w 112435"/>
                <a:gd name="connsiteY1" fmla="*/ 5532 h 122657"/>
                <a:gd name="connsiteX2" fmla="*/ 108827 w 112435"/>
                <a:gd name="connsiteY2" fmla="*/ 728 h 122657"/>
                <a:gd name="connsiteX3" fmla="*/ 582 w 112435"/>
                <a:gd name="connsiteY3" fmla="*/ 122772 h 122657"/>
                <a:gd name="connsiteX4" fmla="*/ 7839 w 112435"/>
                <a:gd name="connsiteY4" fmla="*/ 126861 h 122657"/>
                <a:gd name="connsiteX5" fmla="*/ 7839 w 112435"/>
                <a:gd name="connsiteY5" fmla="*/ 126861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22657">
                  <a:moveTo>
                    <a:pt x="7839" y="126861"/>
                  </a:moveTo>
                  <a:cubicBezTo>
                    <a:pt x="35948" y="79944"/>
                    <a:pt x="72234" y="42023"/>
                    <a:pt x="113733" y="5532"/>
                  </a:cubicBezTo>
                  <a:cubicBezTo>
                    <a:pt x="117106" y="2568"/>
                    <a:pt x="112404" y="-1725"/>
                    <a:pt x="108827" y="728"/>
                  </a:cubicBezTo>
                  <a:cubicBezTo>
                    <a:pt x="63341" y="32721"/>
                    <a:pt x="27975" y="76162"/>
                    <a:pt x="582" y="122772"/>
                  </a:cubicBezTo>
                  <a:cubicBezTo>
                    <a:pt x="-2076" y="127269"/>
                    <a:pt x="5079" y="131358"/>
                    <a:pt x="7839" y="126861"/>
                  </a:cubicBezTo>
                  <a:lnTo>
                    <a:pt x="7839" y="1268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3AFF98B-2EB4-40A6-A519-655E526C83B3}"/>
                </a:ext>
              </a:extLst>
            </p:cNvPr>
            <p:cNvSpPr/>
            <p:nvPr/>
          </p:nvSpPr>
          <p:spPr>
            <a:xfrm>
              <a:off x="9411162" y="2582761"/>
              <a:ext cx="110917" cy="427822"/>
            </a:xfrm>
            <a:custGeom>
              <a:avLst/>
              <a:gdLst>
                <a:gd name="connsiteX0" fmla="*/ 53354 w 143100"/>
                <a:gd name="connsiteY0" fmla="*/ 553903 h 551957"/>
                <a:gd name="connsiteX1" fmla="*/ 24836 w 143100"/>
                <a:gd name="connsiteY1" fmla="*/ 263409 h 551957"/>
                <a:gd name="connsiteX2" fmla="*/ 67562 w 143100"/>
                <a:gd name="connsiteY2" fmla="*/ 124500 h 551957"/>
                <a:gd name="connsiteX3" fmla="*/ 144120 w 143100"/>
                <a:gd name="connsiteY3" fmla="*/ 14722 h 551957"/>
                <a:gd name="connsiteX4" fmla="*/ 130730 w 143100"/>
                <a:gd name="connsiteY4" fmla="*/ 1434 h 551957"/>
                <a:gd name="connsiteX5" fmla="*/ 5415 w 143100"/>
                <a:gd name="connsiteY5" fmla="*/ 238776 h 551957"/>
                <a:gd name="connsiteX6" fmla="*/ 48039 w 143100"/>
                <a:gd name="connsiteY6" fmla="*/ 555027 h 551957"/>
                <a:gd name="connsiteX7" fmla="*/ 53354 w 143100"/>
                <a:gd name="connsiteY7" fmla="*/ 553903 h 551957"/>
                <a:gd name="connsiteX8" fmla="*/ 53354 w 143100"/>
                <a:gd name="connsiteY8" fmla="*/ 553903 h 55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3100" h="551957">
                  <a:moveTo>
                    <a:pt x="53354" y="553903"/>
                  </a:moveTo>
                  <a:cubicBezTo>
                    <a:pt x="24325" y="460172"/>
                    <a:pt x="10731" y="360616"/>
                    <a:pt x="24836" y="263409"/>
                  </a:cubicBezTo>
                  <a:cubicBezTo>
                    <a:pt x="31787" y="215471"/>
                    <a:pt x="45381" y="168248"/>
                    <a:pt x="67562" y="124500"/>
                  </a:cubicBezTo>
                  <a:cubicBezTo>
                    <a:pt x="88107" y="83819"/>
                    <a:pt x="118976" y="52337"/>
                    <a:pt x="144120" y="14722"/>
                  </a:cubicBezTo>
                  <a:cubicBezTo>
                    <a:pt x="149231" y="7158"/>
                    <a:pt x="139112" y="-3983"/>
                    <a:pt x="130730" y="1434"/>
                  </a:cubicBezTo>
                  <a:cubicBezTo>
                    <a:pt x="54887" y="50190"/>
                    <a:pt x="18192" y="157311"/>
                    <a:pt x="5415" y="238776"/>
                  </a:cubicBezTo>
                  <a:cubicBezTo>
                    <a:pt x="-11450" y="346306"/>
                    <a:pt x="13388" y="453017"/>
                    <a:pt x="48039" y="555027"/>
                  </a:cubicBezTo>
                  <a:cubicBezTo>
                    <a:pt x="49061" y="558196"/>
                    <a:pt x="54376" y="557072"/>
                    <a:pt x="53354" y="553903"/>
                  </a:cubicBezTo>
                  <a:lnTo>
                    <a:pt x="53354" y="5539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935D8912-4B0B-4C38-87CE-84C1996FA0F3}"/>
                </a:ext>
              </a:extLst>
            </p:cNvPr>
            <p:cNvSpPr/>
            <p:nvPr/>
          </p:nvSpPr>
          <p:spPr>
            <a:xfrm>
              <a:off x="9072624" y="3478968"/>
              <a:ext cx="221833" cy="87149"/>
            </a:xfrm>
            <a:custGeom>
              <a:avLst/>
              <a:gdLst>
                <a:gd name="connsiteX0" fmla="*/ 3377 w 286200"/>
                <a:gd name="connsiteY0" fmla="*/ 120309 h 112435"/>
                <a:gd name="connsiteX1" fmla="*/ 286613 w 286200"/>
                <a:gd name="connsiteY1" fmla="*/ 5012 h 112435"/>
                <a:gd name="connsiteX2" fmla="*/ 283036 w 286200"/>
                <a:gd name="connsiteY2" fmla="*/ 412 h 112435"/>
                <a:gd name="connsiteX3" fmla="*/ 3684 w 286200"/>
                <a:gd name="connsiteY3" fmla="*/ 113563 h 112435"/>
                <a:gd name="connsiteX4" fmla="*/ 3377 w 286200"/>
                <a:gd name="connsiteY4" fmla="*/ 120309 h 112435"/>
                <a:gd name="connsiteX5" fmla="*/ 3377 w 286200"/>
                <a:gd name="connsiteY5" fmla="*/ 12030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6200" h="112435">
                  <a:moveTo>
                    <a:pt x="3377" y="120309"/>
                  </a:moveTo>
                  <a:cubicBezTo>
                    <a:pt x="104262" y="125420"/>
                    <a:pt x="211792" y="63887"/>
                    <a:pt x="286613" y="5012"/>
                  </a:cubicBezTo>
                  <a:cubicBezTo>
                    <a:pt x="289271" y="2865"/>
                    <a:pt x="286000" y="-1326"/>
                    <a:pt x="283036" y="412"/>
                  </a:cubicBezTo>
                  <a:cubicBezTo>
                    <a:pt x="198607" y="48248"/>
                    <a:pt x="105693" y="111723"/>
                    <a:pt x="3684" y="113563"/>
                  </a:cubicBezTo>
                  <a:cubicBezTo>
                    <a:pt x="-1018" y="113563"/>
                    <a:pt x="-1325" y="120003"/>
                    <a:pt x="3377" y="120309"/>
                  </a:cubicBezTo>
                  <a:lnTo>
                    <a:pt x="3377" y="120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C5086408-7F07-4DBF-A957-849BFE18F555}"/>
                </a:ext>
              </a:extLst>
            </p:cNvPr>
            <p:cNvSpPr/>
            <p:nvPr/>
          </p:nvSpPr>
          <p:spPr>
            <a:xfrm>
              <a:off x="9564520" y="4009267"/>
              <a:ext cx="174298" cy="324828"/>
            </a:xfrm>
            <a:custGeom>
              <a:avLst/>
              <a:gdLst>
                <a:gd name="connsiteX0" fmla="*/ 540 w 224871"/>
                <a:gd name="connsiteY0" fmla="*/ 5577 h 419079"/>
                <a:gd name="connsiteX1" fmla="*/ 109092 w 224871"/>
                <a:gd name="connsiteY1" fmla="*/ 222885 h 419079"/>
                <a:gd name="connsiteX2" fmla="*/ 219790 w 224871"/>
                <a:gd name="connsiteY2" fmla="*/ 425066 h 419079"/>
                <a:gd name="connsiteX3" fmla="*/ 230421 w 224871"/>
                <a:gd name="connsiteY3" fmla="*/ 417706 h 419079"/>
                <a:gd name="connsiteX4" fmla="*/ 126060 w 224871"/>
                <a:gd name="connsiteY4" fmla="*/ 197434 h 419079"/>
                <a:gd name="connsiteX5" fmla="*/ 6673 w 224871"/>
                <a:gd name="connsiteY5" fmla="*/ 1182 h 419079"/>
                <a:gd name="connsiteX6" fmla="*/ 540 w 224871"/>
                <a:gd name="connsiteY6" fmla="*/ 5577 h 419079"/>
                <a:gd name="connsiteX7" fmla="*/ 540 w 224871"/>
                <a:gd name="connsiteY7" fmla="*/ 5577 h 419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4871" h="419079">
                  <a:moveTo>
                    <a:pt x="540" y="5577"/>
                  </a:moveTo>
                  <a:cubicBezTo>
                    <a:pt x="46230" y="73550"/>
                    <a:pt x="75872" y="149087"/>
                    <a:pt x="109092" y="222885"/>
                  </a:cubicBezTo>
                  <a:cubicBezTo>
                    <a:pt x="139961" y="291165"/>
                    <a:pt x="168785" y="367519"/>
                    <a:pt x="219790" y="425066"/>
                  </a:cubicBezTo>
                  <a:cubicBezTo>
                    <a:pt x="225003" y="430994"/>
                    <a:pt x="232976" y="423737"/>
                    <a:pt x="230421" y="417706"/>
                  </a:cubicBezTo>
                  <a:cubicBezTo>
                    <a:pt x="199041" y="343396"/>
                    <a:pt x="160199" y="270824"/>
                    <a:pt x="126060" y="197434"/>
                  </a:cubicBezTo>
                  <a:cubicBezTo>
                    <a:pt x="93760" y="127928"/>
                    <a:pt x="54407" y="62306"/>
                    <a:pt x="6673" y="1182"/>
                  </a:cubicBezTo>
                  <a:cubicBezTo>
                    <a:pt x="4118" y="-2089"/>
                    <a:pt x="-1811" y="2102"/>
                    <a:pt x="540" y="5577"/>
                  </a:cubicBezTo>
                  <a:lnTo>
                    <a:pt x="540" y="55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F98A7EA9-716C-4847-87EA-1FEF260C45C8}"/>
                </a:ext>
              </a:extLst>
            </p:cNvPr>
            <p:cNvSpPr/>
            <p:nvPr/>
          </p:nvSpPr>
          <p:spPr>
            <a:xfrm>
              <a:off x="9139890" y="2593161"/>
              <a:ext cx="356518" cy="475358"/>
            </a:xfrm>
            <a:custGeom>
              <a:avLst/>
              <a:gdLst>
                <a:gd name="connsiteX0" fmla="*/ 364701 w 459964"/>
                <a:gd name="connsiteY0" fmla="*/ 193672 h 613286"/>
                <a:gd name="connsiteX1" fmla="*/ 304906 w 459964"/>
                <a:gd name="connsiteY1" fmla="*/ 335239 h 613286"/>
                <a:gd name="connsiteX2" fmla="*/ 214548 w 459964"/>
                <a:gd name="connsiteY2" fmla="*/ 406892 h 613286"/>
                <a:gd name="connsiteX3" fmla="*/ 109778 w 459964"/>
                <a:gd name="connsiteY3" fmla="*/ 444098 h 613286"/>
                <a:gd name="connsiteX4" fmla="*/ 0 w 459964"/>
                <a:gd name="connsiteY4" fmla="*/ 406176 h 613286"/>
                <a:gd name="connsiteX5" fmla="*/ 9915 w 459964"/>
                <a:gd name="connsiteY5" fmla="*/ 620826 h 613286"/>
                <a:gd name="connsiteX6" fmla="*/ 112640 w 459964"/>
                <a:gd name="connsiteY6" fmla="*/ 504813 h 613286"/>
                <a:gd name="connsiteX7" fmla="*/ 267189 w 459964"/>
                <a:gd name="connsiteY7" fmla="*/ 373468 h 613286"/>
                <a:gd name="connsiteX8" fmla="*/ 381464 w 459964"/>
                <a:gd name="connsiteY8" fmla="*/ 212071 h 613286"/>
                <a:gd name="connsiteX9" fmla="*/ 402725 w 459964"/>
                <a:gd name="connsiteY9" fmla="*/ 375103 h 613286"/>
                <a:gd name="connsiteX10" fmla="*/ 423270 w 459964"/>
                <a:gd name="connsiteY10" fmla="*/ 167710 h 613286"/>
                <a:gd name="connsiteX11" fmla="*/ 463031 w 459964"/>
                <a:gd name="connsiteY11" fmla="*/ 20112 h 613286"/>
                <a:gd name="connsiteX12" fmla="*/ 456899 w 459964"/>
                <a:gd name="connsiteY12" fmla="*/ 2736 h 613286"/>
                <a:gd name="connsiteX13" fmla="*/ 423679 w 459964"/>
                <a:gd name="connsiteY13" fmla="*/ 11833 h 613286"/>
                <a:gd name="connsiteX14" fmla="*/ 320647 w 459964"/>
                <a:gd name="connsiteY14" fmla="*/ 16228 h 613286"/>
                <a:gd name="connsiteX15" fmla="*/ 356422 w 459964"/>
                <a:gd name="connsiteY15" fmla="*/ 99533 h 613286"/>
                <a:gd name="connsiteX16" fmla="*/ 364701 w 459964"/>
                <a:gd name="connsiteY16" fmla="*/ 193672 h 61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59964" h="613286">
                  <a:moveTo>
                    <a:pt x="364701" y="193672"/>
                  </a:moveTo>
                  <a:cubicBezTo>
                    <a:pt x="359897" y="245086"/>
                    <a:pt x="339659" y="295478"/>
                    <a:pt x="304906" y="335239"/>
                  </a:cubicBezTo>
                  <a:cubicBezTo>
                    <a:pt x="279761" y="363962"/>
                    <a:pt x="247768" y="386653"/>
                    <a:pt x="214548" y="406892"/>
                  </a:cubicBezTo>
                  <a:cubicBezTo>
                    <a:pt x="182759" y="426210"/>
                    <a:pt x="147598" y="444098"/>
                    <a:pt x="109778" y="444098"/>
                  </a:cubicBezTo>
                  <a:cubicBezTo>
                    <a:pt x="70323" y="444098"/>
                    <a:pt x="34140" y="424881"/>
                    <a:pt x="0" y="406176"/>
                  </a:cubicBezTo>
                  <a:cubicBezTo>
                    <a:pt x="36184" y="471695"/>
                    <a:pt x="39966" y="552547"/>
                    <a:pt x="9915" y="620826"/>
                  </a:cubicBezTo>
                  <a:cubicBezTo>
                    <a:pt x="41806" y="580349"/>
                    <a:pt x="75025" y="540690"/>
                    <a:pt x="112640" y="504813"/>
                  </a:cubicBezTo>
                  <a:cubicBezTo>
                    <a:pt x="161499" y="458305"/>
                    <a:pt x="217206" y="418851"/>
                    <a:pt x="267189" y="373468"/>
                  </a:cubicBezTo>
                  <a:cubicBezTo>
                    <a:pt x="317069" y="328084"/>
                    <a:pt x="362044" y="274933"/>
                    <a:pt x="381464" y="212071"/>
                  </a:cubicBezTo>
                  <a:cubicBezTo>
                    <a:pt x="375229" y="266960"/>
                    <a:pt x="382589" y="323280"/>
                    <a:pt x="402725" y="375103"/>
                  </a:cubicBezTo>
                  <a:cubicBezTo>
                    <a:pt x="394139" y="305597"/>
                    <a:pt x="401192" y="234456"/>
                    <a:pt x="423270" y="167710"/>
                  </a:cubicBezTo>
                  <a:cubicBezTo>
                    <a:pt x="439420" y="118953"/>
                    <a:pt x="463645" y="71117"/>
                    <a:pt x="463031" y="20112"/>
                  </a:cubicBezTo>
                  <a:cubicBezTo>
                    <a:pt x="462929" y="13775"/>
                    <a:pt x="462111" y="6722"/>
                    <a:pt x="456899" y="2736"/>
                  </a:cubicBezTo>
                  <a:cubicBezTo>
                    <a:pt x="447188" y="-4726"/>
                    <a:pt x="433696" y="4678"/>
                    <a:pt x="423679" y="11833"/>
                  </a:cubicBezTo>
                  <a:cubicBezTo>
                    <a:pt x="391788" y="34524"/>
                    <a:pt x="354684" y="29925"/>
                    <a:pt x="320647" y="16228"/>
                  </a:cubicBezTo>
                  <a:cubicBezTo>
                    <a:pt x="326677" y="43622"/>
                    <a:pt x="348653" y="70708"/>
                    <a:pt x="356422" y="99533"/>
                  </a:cubicBezTo>
                  <a:cubicBezTo>
                    <a:pt x="364803" y="130299"/>
                    <a:pt x="367665" y="162190"/>
                    <a:pt x="364701" y="193672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2265968-246D-4594-9E96-E0F22B2DB037}"/>
                </a:ext>
              </a:extLst>
            </p:cNvPr>
            <p:cNvSpPr/>
            <p:nvPr/>
          </p:nvSpPr>
          <p:spPr>
            <a:xfrm>
              <a:off x="10102028" y="3325217"/>
              <a:ext cx="293137" cy="594197"/>
            </a:xfrm>
            <a:custGeom>
              <a:avLst/>
              <a:gdLst>
                <a:gd name="connsiteX0" fmla="*/ 57222 w 378193"/>
                <a:gd name="connsiteY0" fmla="*/ 1706 h 766608"/>
                <a:gd name="connsiteX1" fmla="*/ 88602 w 378193"/>
                <a:gd name="connsiteY1" fmla="*/ 284636 h 766608"/>
                <a:gd name="connsiteX2" fmla="*/ 379401 w 378193"/>
                <a:gd name="connsiteY2" fmla="*/ 775061 h 766608"/>
                <a:gd name="connsiteX3" fmla="*/ 383490 w 378193"/>
                <a:gd name="connsiteY3" fmla="*/ 773016 h 766608"/>
                <a:gd name="connsiteX4" fmla="*/ 180799 w 378193"/>
                <a:gd name="connsiteY4" fmla="*/ 405657 h 766608"/>
                <a:gd name="connsiteX5" fmla="*/ 76234 w 378193"/>
                <a:gd name="connsiteY5" fmla="*/ 20411 h 766608"/>
                <a:gd name="connsiteX6" fmla="*/ 57222 w 378193"/>
                <a:gd name="connsiteY6" fmla="*/ 1706 h 766608"/>
                <a:gd name="connsiteX7" fmla="*/ 57222 w 378193"/>
                <a:gd name="connsiteY7" fmla="*/ 1706 h 766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8193" h="766608">
                  <a:moveTo>
                    <a:pt x="57222" y="1706"/>
                  </a:moveTo>
                  <a:cubicBezTo>
                    <a:pt x="-64209" y="71927"/>
                    <a:pt x="37597" y="205215"/>
                    <a:pt x="88602" y="284636"/>
                  </a:cubicBezTo>
                  <a:cubicBezTo>
                    <a:pt x="191225" y="444499"/>
                    <a:pt x="282502" y="611926"/>
                    <a:pt x="379401" y="775061"/>
                  </a:cubicBezTo>
                  <a:cubicBezTo>
                    <a:pt x="380833" y="777514"/>
                    <a:pt x="384819" y="775469"/>
                    <a:pt x="383490" y="773016"/>
                  </a:cubicBezTo>
                  <a:cubicBezTo>
                    <a:pt x="316335" y="650359"/>
                    <a:pt x="249589" y="527497"/>
                    <a:pt x="180799" y="405657"/>
                  </a:cubicBezTo>
                  <a:cubicBezTo>
                    <a:pt x="123763" y="304772"/>
                    <a:pt x="-8809" y="131212"/>
                    <a:pt x="76234" y="20411"/>
                  </a:cubicBezTo>
                  <a:cubicBezTo>
                    <a:pt x="84513" y="9679"/>
                    <a:pt x="68874" y="-5040"/>
                    <a:pt x="57222" y="1706"/>
                  </a:cubicBezTo>
                  <a:lnTo>
                    <a:pt x="57222" y="17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2396CCD3-23AA-4FDB-96BA-A2FA67D8BB16}"/>
                </a:ext>
              </a:extLst>
            </p:cNvPr>
            <p:cNvSpPr/>
            <p:nvPr/>
          </p:nvSpPr>
          <p:spPr>
            <a:xfrm>
              <a:off x="9558488" y="732429"/>
              <a:ext cx="1378537" cy="1410228"/>
            </a:xfrm>
            <a:custGeom>
              <a:avLst/>
              <a:gdLst>
                <a:gd name="connsiteX0" fmla="*/ 39600 w 1778531"/>
                <a:gd name="connsiteY0" fmla="*/ 1530666 h 1819416"/>
                <a:gd name="connsiteX1" fmla="*/ 296874 w 1778531"/>
                <a:gd name="connsiteY1" fmla="*/ 1213904 h 1819416"/>
                <a:gd name="connsiteX2" fmla="*/ 583381 w 1778531"/>
                <a:gd name="connsiteY2" fmla="*/ 870974 h 1819416"/>
                <a:gd name="connsiteX3" fmla="*/ 705425 w 1778531"/>
                <a:gd name="connsiteY3" fmla="*/ 604808 h 1819416"/>
                <a:gd name="connsiteX4" fmla="*/ 796804 w 1778531"/>
                <a:gd name="connsiteY4" fmla="*/ 245626 h 1819416"/>
                <a:gd name="connsiteX5" fmla="*/ 1161710 w 1778531"/>
                <a:gd name="connsiteY5" fmla="*/ 70329 h 1819416"/>
                <a:gd name="connsiteX6" fmla="*/ 1261982 w 1778531"/>
                <a:gd name="connsiteY6" fmla="*/ 42629 h 1819416"/>
                <a:gd name="connsiteX7" fmla="*/ 1346820 w 1778531"/>
                <a:gd name="connsiteY7" fmla="*/ 96700 h 1819416"/>
                <a:gd name="connsiteX8" fmla="*/ 1149035 w 1778531"/>
                <a:gd name="connsiteY8" fmla="*/ 213122 h 1819416"/>
                <a:gd name="connsiteX9" fmla="*/ 1031387 w 1778531"/>
                <a:gd name="connsiteY9" fmla="*/ 414178 h 1819416"/>
                <a:gd name="connsiteX10" fmla="*/ 1146787 w 1778531"/>
                <a:gd name="connsiteY10" fmla="*/ 667057 h 1819416"/>
                <a:gd name="connsiteX11" fmla="*/ 1383004 w 1778531"/>
                <a:gd name="connsiteY11" fmla="*/ 776528 h 1819416"/>
                <a:gd name="connsiteX12" fmla="*/ 1532953 w 1778531"/>
                <a:gd name="connsiteY12" fmla="*/ 685149 h 1819416"/>
                <a:gd name="connsiteX13" fmla="*/ 1770193 w 1778531"/>
                <a:gd name="connsiteY13" fmla="*/ 529169 h 1819416"/>
                <a:gd name="connsiteX14" fmla="*/ 1740755 w 1778531"/>
                <a:gd name="connsiteY14" fmla="*/ 516699 h 1819416"/>
                <a:gd name="connsiteX15" fmla="*/ 1526513 w 1778531"/>
                <a:gd name="connsiteY15" fmla="*/ 941196 h 1819416"/>
                <a:gd name="connsiteX16" fmla="*/ 1304095 w 1778531"/>
                <a:gd name="connsiteY16" fmla="*/ 1070497 h 1819416"/>
                <a:gd name="connsiteX17" fmla="*/ 1049479 w 1778531"/>
                <a:gd name="connsiteY17" fmla="*/ 1133359 h 1819416"/>
                <a:gd name="connsiteX18" fmla="*/ 692546 w 1778531"/>
                <a:gd name="connsiteY18" fmla="*/ 1400650 h 1819416"/>
                <a:gd name="connsiteX19" fmla="*/ 361167 w 1778531"/>
                <a:gd name="connsiteY19" fmla="*/ 1800001 h 1819416"/>
                <a:gd name="connsiteX20" fmla="*/ 395408 w 1778531"/>
                <a:gd name="connsiteY20" fmla="*/ 1819524 h 1819416"/>
                <a:gd name="connsiteX21" fmla="*/ 788321 w 1778531"/>
                <a:gd name="connsiteY21" fmla="*/ 1351382 h 1819416"/>
                <a:gd name="connsiteX22" fmla="*/ 1020859 w 1778531"/>
                <a:gd name="connsiteY22" fmla="*/ 1178640 h 1819416"/>
                <a:gd name="connsiteX23" fmla="*/ 1300517 w 1778531"/>
                <a:gd name="connsiteY23" fmla="*/ 1106885 h 1819416"/>
                <a:gd name="connsiteX24" fmla="*/ 1646104 w 1778531"/>
                <a:gd name="connsiteY24" fmla="*/ 881605 h 1819416"/>
                <a:gd name="connsiteX25" fmla="*/ 1780312 w 1778531"/>
                <a:gd name="connsiteY25" fmla="*/ 508011 h 1819416"/>
                <a:gd name="connsiteX26" fmla="*/ 1750874 w 1778531"/>
                <a:gd name="connsiteY26" fmla="*/ 495541 h 1819416"/>
                <a:gd name="connsiteX27" fmla="*/ 1401198 w 1778531"/>
                <a:gd name="connsiteY27" fmla="*/ 727056 h 1819416"/>
                <a:gd name="connsiteX28" fmla="*/ 1079632 w 1778531"/>
                <a:gd name="connsiteY28" fmla="*/ 493496 h 1819416"/>
                <a:gd name="connsiteX29" fmla="*/ 1118882 w 1778531"/>
                <a:gd name="connsiteY29" fmla="*/ 275269 h 1819416"/>
                <a:gd name="connsiteX30" fmla="*/ 1291011 w 1778531"/>
                <a:gd name="connsiteY30" fmla="*/ 167637 h 1819416"/>
                <a:gd name="connsiteX31" fmla="*/ 1388115 w 1778531"/>
                <a:gd name="connsiteY31" fmla="*/ 23923 h 1819416"/>
                <a:gd name="connsiteX32" fmla="*/ 1125322 w 1778531"/>
                <a:gd name="connsiteY32" fmla="*/ 41811 h 1819416"/>
                <a:gd name="connsiteX33" fmla="*/ 826140 w 1778531"/>
                <a:gd name="connsiteY33" fmla="*/ 175916 h 1819416"/>
                <a:gd name="connsiteX34" fmla="*/ 669241 w 1778531"/>
                <a:gd name="connsiteY34" fmla="*/ 406001 h 1819416"/>
                <a:gd name="connsiteX35" fmla="*/ 626515 w 1778531"/>
                <a:gd name="connsiteY35" fmla="*/ 752814 h 1819416"/>
                <a:gd name="connsiteX36" fmla="*/ 336226 w 1778531"/>
                <a:gd name="connsiteY36" fmla="*/ 1113325 h 1819416"/>
                <a:gd name="connsiteX37" fmla="*/ 3825 w 1778531"/>
                <a:gd name="connsiteY37" fmla="*/ 1503682 h 1819416"/>
                <a:gd name="connsiteX38" fmla="*/ 39600 w 1778531"/>
                <a:gd name="connsiteY38" fmla="*/ 1530666 h 1819416"/>
                <a:gd name="connsiteX39" fmla="*/ 39600 w 1778531"/>
                <a:gd name="connsiteY39" fmla="*/ 1530666 h 1819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1778531" h="1819416">
                  <a:moveTo>
                    <a:pt x="39600" y="1530666"/>
                  </a:moveTo>
                  <a:cubicBezTo>
                    <a:pt x="130673" y="1429167"/>
                    <a:pt x="209582" y="1318367"/>
                    <a:pt x="296874" y="1213904"/>
                  </a:cubicBezTo>
                  <a:cubicBezTo>
                    <a:pt x="392342" y="1099628"/>
                    <a:pt x="488526" y="985761"/>
                    <a:pt x="583381" y="870974"/>
                  </a:cubicBezTo>
                  <a:cubicBezTo>
                    <a:pt x="650536" y="789714"/>
                    <a:pt x="701745" y="710089"/>
                    <a:pt x="705425" y="604808"/>
                  </a:cubicBezTo>
                  <a:cubicBezTo>
                    <a:pt x="710229" y="470703"/>
                    <a:pt x="684369" y="350294"/>
                    <a:pt x="796804" y="245626"/>
                  </a:cubicBezTo>
                  <a:cubicBezTo>
                    <a:pt x="893193" y="155882"/>
                    <a:pt x="1033635" y="103446"/>
                    <a:pt x="1161710" y="70329"/>
                  </a:cubicBezTo>
                  <a:cubicBezTo>
                    <a:pt x="1194010" y="61947"/>
                    <a:pt x="1229580" y="50295"/>
                    <a:pt x="1261982" y="42629"/>
                  </a:cubicBezTo>
                  <a:cubicBezTo>
                    <a:pt x="1371556" y="16666"/>
                    <a:pt x="1383618" y="74111"/>
                    <a:pt x="1346820" y="96700"/>
                  </a:cubicBezTo>
                  <a:cubicBezTo>
                    <a:pt x="1293567" y="129511"/>
                    <a:pt x="1202494" y="180311"/>
                    <a:pt x="1149035" y="213122"/>
                  </a:cubicBezTo>
                  <a:cubicBezTo>
                    <a:pt x="1068491" y="262492"/>
                    <a:pt x="1024129" y="320856"/>
                    <a:pt x="1031387" y="414178"/>
                  </a:cubicBezTo>
                  <a:cubicBezTo>
                    <a:pt x="1038235" y="502594"/>
                    <a:pt x="1092613" y="597040"/>
                    <a:pt x="1146787" y="667057"/>
                  </a:cubicBezTo>
                  <a:cubicBezTo>
                    <a:pt x="1199325" y="735131"/>
                    <a:pt x="1287434" y="806579"/>
                    <a:pt x="1383004" y="776528"/>
                  </a:cubicBezTo>
                  <a:cubicBezTo>
                    <a:pt x="1437280" y="759458"/>
                    <a:pt x="1487365" y="716733"/>
                    <a:pt x="1532953" y="685149"/>
                  </a:cubicBezTo>
                  <a:cubicBezTo>
                    <a:pt x="1610840" y="631282"/>
                    <a:pt x="1689954" y="579970"/>
                    <a:pt x="1770193" y="529169"/>
                  </a:cubicBezTo>
                  <a:cubicBezTo>
                    <a:pt x="1760380" y="524979"/>
                    <a:pt x="1750567" y="520890"/>
                    <a:pt x="1740755" y="516699"/>
                  </a:cubicBezTo>
                  <a:cubicBezTo>
                    <a:pt x="1769988" y="666034"/>
                    <a:pt x="1636598" y="846341"/>
                    <a:pt x="1526513" y="941196"/>
                  </a:cubicBezTo>
                  <a:cubicBezTo>
                    <a:pt x="1461709" y="997107"/>
                    <a:pt x="1386888" y="1042388"/>
                    <a:pt x="1304095" y="1070497"/>
                  </a:cubicBezTo>
                  <a:cubicBezTo>
                    <a:pt x="1221301" y="1098504"/>
                    <a:pt x="1133090" y="1108010"/>
                    <a:pt x="1049479" y="1133359"/>
                  </a:cubicBezTo>
                  <a:cubicBezTo>
                    <a:pt x="899121" y="1178946"/>
                    <a:pt x="793840" y="1291382"/>
                    <a:pt x="692546" y="1400650"/>
                  </a:cubicBezTo>
                  <a:cubicBezTo>
                    <a:pt x="574488" y="1527907"/>
                    <a:pt x="468083" y="1664363"/>
                    <a:pt x="361167" y="1800001"/>
                  </a:cubicBezTo>
                  <a:cubicBezTo>
                    <a:pt x="345834" y="1819422"/>
                    <a:pt x="380178" y="1839047"/>
                    <a:pt x="395408" y="1819524"/>
                  </a:cubicBezTo>
                  <a:cubicBezTo>
                    <a:pt x="520212" y="1659048"/>
                    <a:pt x="644301" y="1497140"/>
                    <a:pt x="788321" y="1351382"/>
                  </a:cubicBezTo>
                  <a:cubicBezTo>
                    <a:pt x="856498" y="1282388"/>
                    <a:pt x="926719" y="1214722"/>
                    <a:pt x="1020859" y="1178640"/>
                  </a:cubicBezTo>
                  <a:cubicBezTo>
                    <a:pt x="1110807" y="1144194"/>
                    <a:pt x="1208728" y="1135505"/>
                    <a:pt x="1300517" y="1106885"/>
                  </a:cubicBezTo>
                  <a:cubicBezTo>
                    <a:pt x="1436054" y="1064569"/>
                    <a:pt x="1556053" y="986068"/>
                    <a:pt x="1646104" y="881605"/>
                  </a:cubicBezTo>
                  <a:cubicBezTo>
                    <a:pt x="1731147" y="782866"/>
                    <a:pt x="1811998" y="639152"/>
                    <a:pt x="1780312" y="508011"/>
                  </a:cubicBezTo>
                  <a:cubicBezTo>
                    <a:pt x="1777654" y="497176"/>
                    <a:pt x="1761709" y="488079"/>
                    <a:pt x="1750874" y="495541"/>
                  </a:cubicBezTo>
                  <a:cubicBezTo>
                    <a:pt x="1637212" y="574041"/>
                    <a:pt x="1522834" y="659902"/>
                    <a:pt x="1401198" y="727056"/>
                  </a:cubicBezTo>
                  <a:cubicBezTo>
                    <a:pt x="1250636" y="810055"/>
                    <a:pt x="1124504" y="601844"/>
                    <a:pt x="1079632" y="493496"/>
                  </a:cubicBezTo>
                  <a:cubicBezTo>
                    <a:pt x="1046821" y="414382"/>
                    <a:pt x="1049581" y="336699"/>
                    <a:pt x="1118882" y="275269"/>
                  </a:cubicBezTo>
                  <a:cubicBezTo>
                    <a:pt x="1168967" y="230908"/>
                    <a:pt x="1234487" y="203616"/>
                    <a:pt x="1291011" y="167637"/>
                  </a:cubicBezTo>
                  <a:cubicBezTo>
                    <a:pt x="1333839" y="140448"/>
                    <a:pt x="1450977" y="84945"/>
                    <a:pt x="1388115" y="23923"/>
                  </a:cubicBezTo>
                  <a:cubicBezTo>
                    <a:pt x="1331181" y="-31477"/>
                    <a:pt x="1186139" y="24332"/>
                    <a:pt x="1125322" y="41811"/>
                  </a:cubicBezTo>
                  <a:cubicBezTo>
                    <a:pt x="1020450" y="71760"/>
                    <a:pt x="914555" y="113872"/>
                    <a:pt x="826140" y="175916"/>
                  </a:cubicBezTo>
                  <a:cubicBezTo>
                    <a:pt x="744471" y="233156"/>
                    <a:pt x="683142" y="308795"/>
                    <a:pt x="669241" y="406001"/>
                  </a:cubicBezTo>
                  <a:cubicBezTo>
                    <a:pt x="651967" y="526512"/>
                    <a:pt x="691319" y="639254"/>
                    <a:pt x="626515" y="752814"/>
                  </a:cubicBezTo>
                  <a:cubicBezTo>
                    <a:pt x="552308" y="882729"/>
                    <a:pt x="432512" y="997618"/>
                    <a:pt x="336226" y="1113325"/>
                  </a:cubicBezTo>
                  <a:cubicBezTo>
                    <a:pt x="227163" y="1244466"/>
                    <a:pt x="107981" y="1369270"/>
                    <a:pt x="3825" y="1503682"/>
                  </a:cubicBezTo>
                  <a:cubicBezTo>
                    <a:pt x="-11405" y="1523409"/>
                    <a:pt x="22632" y="1549576"/>
                    <a:pt x="39600" y="1530666"/>
                  </a:cubicBezTo>
                  <a:lnTo>
                    <a:pt x="39600" y="15306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50982CFF-A118-42CA-A64B-4D104D558DB7}"/>
                </a:ext>
              </a:extLst>
            </p:cNvPr>
            <p:cNvSpPr/>
            <p:nvPr/>
          </p:nvSpPr>
          <p:spPr>
            <a:xfrm>
              <a:off x="10229181" y="1402318"/>
              <a:ext cx="483280" cy="142607"/>
            </a:xfrm>
            <a:custGeom>
              <a:avLst/>
              <a:gdLst>
                <a:gd name="connsiteX0" fmla="*/ 499 w 623508"/>
                <a:gd name="connsiteY0" fmla="*/ 3236 h 183985"/>
                <a:gd name="connsiteX1" fmla="*/ 282100 w 623508"/>
                <a:gd name="connsiteY1" fmla="*/ 177921 h 183985"/>
                <a:gd name="connsiteX2" fmla="*/ 619203 w 623508"/>
                <a:gd name="connsiteY2" fmla="*/ 143577 h 183985"/>
                <a:gd name="connsiteX3" fmla="*/ 612457 w 623508"/>
                <a:gd name="connsiteY3" fmla="*/ 126916 h 183985"/>
                <a:gd name="connsiteX4" fmla="*/ 283020 w 623508"/>
                <a:gd name="connsiteY4" fmla="*/ 153083 h 183985"/>
                <a:gd name="connsiteX5" fmla="*/ 3361 w 623508"/>
                <a:gd name="connsiteY5" fmla="*/ 579 h 183985"/>
                <a:gd name="connsiteX6" fmla="*/ 499 w 623508"/>
                <a:gd name="connsiteY6" fmla="*/ 3236 h 183985"/>
                <a:gd name="connsiteX7" fmla="*/ 499 w 623508"/>
                <a:gd name="connsiteY7" fmla="*/ 3236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23508" h="183985">
                  <a:moveTo>
                    <a:pt x="499" y="3236"/>
                  </a:moveTo>
                  <a:cubicBezTo>
                    <a:pt x="75320" y="86030"/>
                    <a:pt x="169460" y="150732"/>
                    <a:pt x="282100" y="177921"/>
                  </a:cubicBezTo>
                  <a:cubicBezTo>
                    <a:pt x="390141" y="203986"/>
                    <a:pt x="522099" y="200101"/>
                    <a:pt x="619203" y="143577"/>
                  </a:cubicBezTo>
                  <a:cubicBezTo>
                    <a:pt x="627789" y="138568"/>
                    <a:pt x="623087" y="123236"/>
                    <a:pt x="612457" y="126916"/>
                  </a:cubicBezTo>
                  <a:cubicBezTo>
                    <a:pt x="503292" y="163815"/>
                    <a:pt x="397602" y="181192"/>
                    <a:pt x="283020" y="153083"/>
                  </a:cubicBezTo>
                  <a:cubicBezTo>
                    <a:pt x="177739" y="127223"/>
                    <a:pt x="80431" y="72640"/>
                    <a:pt x="3361" y="579"/>
                  </a:cubicBezTo>
                  <a:cubicBezTo>
                    <a:pt x="1624" y="-1159"/>
                    <a:pt x="-1136" y="1397"/>
                    <a:pt x="499" y="3236"/>
                  </a:cubicBezTo>
                  <a:lnTo>
                    <a:pt x="499" y="32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D5595331-6B66-465F-B82D-BE01989A538E}"/>
                </a:ext>
              </a:extLst>
            </p:cNvPr>
            <p:cNvSpPr/>
            <p:nvPr/>
          </p:nvSpPr>
          <p:spPr>
            <a:xfrm>
              <a:off x="10088488" y="1003346"/>
              <a:ext cx="95071" cy="340673"/>
            </a:xfrm>
            <a:custGeom>
              <a:avLst/>
              <a:gdLst>
                <a:gd name="connsiteX0" fmla="*/ 125184 w 122657"/>
                <a:gd name="connsiteY0" fmla="*/ 441006 h 439522"/>
                <a:gd name="connsiteX1" fmla="*/ 35338 w 122657"/>
                <a:gd name="connsiteY1" fmla="*/ 230546 h 439522"/>
                <a:gd name="connsiteX2" fmla="*/ 34520 w 122657"/>
                <a:gd name="connsiteY2" fmla="*/ 4141 h 439522"/>
                <a:gd name="connsiteX3" fmla="*/ 25832 w 122657"/>
                <a:gd name="connsiteY3" fmla="*/ 2813 h 439522"/>
                <a:gd name="connsiteX4" fmla="*/ 121607 w 122657"/>
                <a:gd name="connsiteY4" fmla="*/ 443357 h 439522"/>
                <a:gd name="connsiteX5" fmla="*/ 125184 w 122657"/>
                <a:gd name="connsiteY5" fmla="*/ 441006 h 439522"/>
                <a:gd name="connsiteX6" fmla="*/ 125184 w 122657"/>
                <a:gd name="connsiteY6" fmla="*/ 441006 h 439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657" h="439522">
                  <a:moveTo>
                    <a:pt x="125184" y="441006"/>
                  </a:moveTo>
                  <a:cubicBezTo>
                    <a:pt x="80210" y="377940"/>
                    <a:pt x="50568" y="305163"/>
                    <a:pt x="35338" y="230546"/>
                  </a:cubicBezTo>
                  <a:cubicBezTo>
                    <a:pt x="19699" y="153579"/>
                    <a:pt x="28081" y="81211"/>
                    <a:pt x="34520" y="4141"/>
                  </a:cubicBezTo>
                  <a:cubicBezTo>
                    <a:pt x="34929" y="-969"/>
                    <a:pt x="27672" y="-1276"/>
                    <a:pt x="25832" y="2813"/>
                  </a:cubicBezTo>
                  <a:cubicBezTo>
                    <a:pt x="-37439" y="147855"/>
                    <a:pt x="23583" y="326730"/>
                    <a:pt x="121607" y="443357"/>
                  </a:cubicBezTo>
                  <a:cubicBezTo>
                    <a:pt x="123242" y="445197"/>
                    <a:pt x="126616" y="442948"/>
                    <a:pt x="125184" y="441006"/>
                  </a:cubicBezTo>
                  <a:lnTo>
                    <a:pt x="125184" y="4410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88DC6AAE-B4C8-4E9C-B039-EF8D7C18A364}"/>
                </a:ext>
              </a:extLst>
            </p:cNvPr>
            <p:cNvSpPr/>
            <p:nvPr/>
          </p:nvSpPr>
          <p:spPr>
            <a:xfrm>
              <a:off x="9605768" y="1751386"/>
              <a:ext cx="348596" cy="348596"/>
            </a:xfrm>
            <a:custGeom>
              <a:avLst/>
              <a:gdLst>
                <a:gd name="connsiteX0" fmla="*/ 17750 w 449743"/>
                <a:gd name="connsiteY0" fmla="*/ 252645 h 449743"/>
                <a:gd name="connsiteX1" fmla="*/ 173116 w 449743"/>
                <a:gd name="connsiteY1" fmla="*/ 74178 h 449743"/>
                <a:gd name="connsiteX2" fmla="*/ 274002 w 449743"/>
                <a:gd name="connsiteY2" fmla="*/ 18165 h 449743"/>
                <a:gd name="connsiteX3" fmla="*/ 379896 w 449743"/>
                <a:gd name="connsiteY3" fmla="*/ 73565 h 449743"/>
                <a:gd name="connsiteX4" fmla="*/ 424871 w 449743"/>
                <a:gd name="connsiteY4" fmla="*/ 191725 h 449743"/>
                <a:gd name="connsiteX5" fmla="*/ 368755 w 449743"/>
                <a:gd name="connsiteY5" fmla="*/ 268590 h 449743"/>
                <a:gd name="connsiteX6" fmla="*/ 229028 w 449743"/>
                <a:gd name="connsiteY6" fmla="*/ 441026 h 449743"/>
                <a:gd name="connsiteX7" fmla="*/ 247018 w 449743"/>
                <a:gd name="connsiteY7" fmla="*/ 454518 h 449743"/>
                <a:gd name="connsiteX8" fmla="*/ 431923 w 449743"/>
                <a:gd name="connsiteY8" fmla="*/ 223411 h 449743"/>
                <a:gd name="connsiteX9" fmla="*/ 453082 w 449743"/>
                <a:gd name="connsiteY9" fmla="*/ 133258 h 449743"/>
                <a:gd name="connsiteX10" fmla="*/ 381021 w 449743"/>
                <a:gd name="connsiteY10" fmla="*/ 46478 h 449743"/>
                <a:gd name="connsiteX11" fmla="*/ 200203 w 449743"/>
                <a:gd name="connsiteY11" fmla="*/ 22458 h 449743"/>
                <a:gd name="connsiteX12" fmla="*/ 98295 w 449743"/>
                <a:gd name="connsiteY12" fmla="*/ 126614 h 449743"/>
                <a:gd name="connsiteX13" fmla="*/ 1805 w 449743"/>
                <a:gd name="connsiteY13" fmla="*/ 243547 h 449743"/>
                <a:gd name="connsiteX14" fmla="*/ 17750 w 449743"/>
                <a:gd name="connsiteY14" fmla="*/ 252645 h 449743"/>
                <a:gd name="connsiteX15" fmla="*/ 17750 w 449743"/>
                <a:gd name="connsiteY15" fmla="*/ 252645 h 44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9743" h="449743">
                  <a:moveTo>
                    <a:pt x="17750" y="252645"/>
                  </a:moveTo>
                  <a:cubicBezTo>
                    <a:pt x="66813" y="191111"/>
                    <a:pt x="117921" y="131009"/>
                    <a:pt x="173116" y="74178"/>
                  </a:cubicBezTo>
                  <a:cubicBezTo>
                    <a:pt x="201021" y="45456"/>
                    <a:pt x="229437" y="16222"/>
                    <a:pt x="274002" y="18165"/>
                  </a:cubicBezTo>
                  <a:cubicBezTo>
                    <a:pt x="316728" y="20107"/>
                    <a:pt x="351481" y="45558"/>
                    <a:pt x="379896" y="73565"/>
                  </a:cubicBezTo>
                  <a:cubicBezTo>
                    <a:pt x="413320" y="106376"/>
                    <a:pt x="450629" y="143480"/>
                    <a:pt x="424871" y="191725"/>
                  </a:cubicBezTo>
                  <a:cubicBezTo>
                    <a:pt x="410152" y="219220"/>
                    <a:pt x="387767" y="243854"/>
                    <a:pt x="368755" y="268590"/>
                  </a:cubicBezTo>
                  <a:cubicBezTo>
                    <a:pt x="323576" y="327159"/>
                    <a:pt x="275842" y="383684"/>
                    <a:pt x="229028" y="441026"/>
                  </a:cubicBezTo>
                  <a:cubicBezTo>
                    <a:pt x="221055" y="450736"/>
                    <a:pt x="238534" y="464126"/>
                    <a:pt x="247018" y="454518"/>
                  </a:cubicBezTo>
                  <a:cubicBezTo>
                    <a:pt x="312128" y="381332"/>
                    <a:pt x="377034" y="303854"/>
                    <a:pt x="431923" y="223411"/>
                  </a:cubicBezTo>
                  <a:cubicBezTo>
                    <a:pt x="450833" y="195711"/>
                    <a:pt x="464734" y="166171"/>
                    <a:pt x="453082" y="133258"/>
                  </a:cubicBezTo>
                  <a:cubicBezTo>
                    <a:pt x="441020" y="99323"/>
                    <a:pt x="408516" y="69578"/>
                    <a:pt x="381021" y="46478"/>
                  </a:cubicBezTo>
                  <a:cubicBezTo>
                    <a:pt x="330731" y="4059"/>
                    <a:pt x="258977" y="-20472"/>
                    <a:pt x="200203" y="22458"/>
                  </a:cubicBezTo>
                  <a:cubicBezTo>
                    <a:pt x="161464" y="50771"/>
                    <a:pt x="129573" y="91452"/>
                    <a:pt x="98295" y="126614"/>
                  </a:cubicBezTo>
                  <a:cubicBezTo>
                    <a:pt x="64565" y="164536"/>
                    <a:pt x="32367" y="203377"/>
                    <a:pt x="1805" y="243547"/>
                  </a:cubicBezTo>
                  <a:cubicBezTo>
                    <a:pt x="-5350" y="252849"/>
                    <a:pt x="10595" y="261639"/>
                    <a:pt x="17750" y="252645"/>
                  </a:cubicBezTo>
                  <a:lnTo>
                    <a:pt x="17750" y="25264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EFA1779D-2253-46C4-A450-CF77530CECFA}"/>
                </a:ext>
              </a:extLst>
            </p:cNvPr>
            <p:cNvSpPr/>
            <p:nvPr/>
          </p:nvSpPr>
          <p:spPr>
            <a:xfrm>
              <a:off x="7790935" y="2999699"/>
              <a:ext cx="1220085" cy="1180472"/>
            </a:xfrm>
            <a:custGeom>
              <a:avLst/>
              <a:gdLst>
                <a:gd name="connsiteX0" fmla="*/ 1135869 w 1574102"/>
                <a:gd name="connsiteY0" fmla="*/ 2597 h 1522995"/>
                <a:gd name="connsiteX1" fmla="*/ 400129 w 1574102"/>
                <a:gd name="connsiteY1" fmla="*/ 627434 h 1522995"/>
                <a:gd name="connsiteX2" fmla="*/ 92873 w 1574102"/>
                <a:gd name="connsiteY2" fmla="*/ 826752 h 1522995"/>
                <a:gd name="connsiteX3" fmla="*/ 1289 w 1574102"/>
                <a:gd name="connsiteY3" fmla="*/ 1116325 h 1522995"/>
                <a:gd name="connsiteX4" fmla="*/ 490589 w 1574102"/>
                <a:gd name="connsiteY4" fmla="*/ 1531827 h 1522995"/>
                <a:gd name="connsiteX5" fmla="*/ 848544 w 1574102"/>
                <a:gd name="connsiteY5" fmla="*/ 1364604 h 1522995"/>
                <a:gd name="connsiteX6" fmla="*/ 989600 w 1574102"/>
                <a:gd name="connsiteY6" fmla="*/ 1077484 h 1522995"/>
                <a:gd name="connsiteX7" fmla="*/ 1035494 w 1574102"/>
                <a:gd name="connsiteY7" fmla="*/ 862527 h 1522995"/>
                <a:gd name="connsiteX8" fmla="*/ 1186669 w 1574102"/>
                <a:gd name="connsiteY8" fmla="*/ 635100 h 1522995"/>
                <a:gd name="connsiteX9" fmla="*/ 1573960 w 1574102"/>
                <a:gd name="connsiteY9" fmla="*/ 203039 h 1522995"/>
                <a:gd name="connsiteX10" fmla="*/ 1542171 w 1574102"/>
                <a:gd name="connsiteY10" fmla="*/ 171966 h 1522995"/>
                <a:gd name="connsiteX11" fmla="*/ 1267623 w 1574102"/>
                <a:gd name="connsiteY11" fmla="*/ 476769 h 1522995"/>
                <a:gd name="connsiteX12" fmla="*/ 1035290 w 1574102"/>
                <a:gd name="connsiteY12" fmla="*/ 773804 h 1522995"/>
                <a:gd name="connsiteX13" fmla="*/ 948612 w 1574102"/>
                <a:gd name="connsiteY13" fmla="*/ 1053974 h 1522995"/>
                <a:gd name="connsiteX14" fmla="*/ 752360 w 1574102"/>
                <a:gd name="connsiteY14" fmla="*/ 1388522 h 1522995"/>
                <a:gd name="connsiteX15" fmla="*/ 326228 w 1574102"/>
                <a:gd name="connsiteY15" fmla="*/ 1479493 h 1522995"/>
                <a:gd name="connsiteX16" fmla="*/ 37677 w 1574102"/>
                <a:gd name="connsiteY16" fmla="*/ 1134417 h 1522995"/>
                <a:gd name="connsiteX17" fmla="*/ 167489 w 1574102"/>
                <a:gd name="connsiteY17" fmla="*/ 799665 h 1522995"/>
                <a:gd name="connsiteX18" fmla="*/ 514201 w 1574102"/>
                <a:gd name="connsiteY18" fmla="*/ 622629 h 1522995"/>
                <a:gd name="connsiteX19" fmla="*/ 852939 w 1574102"/>
                <a:gd name="connsiteY19" fmla="*/ 358098 h 1522995"/>
                <a:gd name="connsiteX20" fmla="*/ 1151099 w 1574102"/>
                <a:gd name="connsiteY20" fmla="*/ 14147 h 1522995"/>
                <a:gd name="connsiteX21" fmla="*/ 1135869 w 1574102"/>
                <a:gd name="connsiteY21" fmla="*/ 2597 h 1522995"/>
                <a:gd name="connsiteX22" fmla="*/ 1135869 w 1574102"/>
                <a:gd name="connsiteY22" fmla="*/ 2597 h 15229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4102" h="1522995">
                  <a:moveTo>
                    <a:pt x="1135869" y="2597"/>
                  </a:moveTo>
                  <a:cubicBezTo>
                    <a:pt x="907726" y="231966"/>
                    <a:pt x="719652" y="506923"/>
                    <a:pt x="400129" y="627434"/>
                  </a:cubicBezTo>
                  <a:cubicBezTo>
                    <a:pt x="279005" y="673123"/>
                    <a:pt x="171067" y="724844"/>
                    <a:pt x="92873" y="826752"/>
                  </a:cubicBezTo>
                  <a:cubicBezTo>
                    <a:pt x="29295" y="909647"/>
                    <a:pt x="-7502" y="1013395"/>
                    <a:pt x="1289" y="1116325"/>
                  </a:cubicBezTo>
                  <a:cubicBezTo>
                    <a:pt x="20812" y="1346717"/>
                    <a:pt x="243026" y="1551963"/>
                    <a:pt x="490589" y="1531827"/>
                  </a:cubicBezTo>
                  <a:cubicBezTo>
                    <a:pt x="626125" y="1520788"/>
                    <a:pt x="751849" y="1452713"/>
                    <a:pt x="848544" y="1364604"/>
                  </a:cubicBezTo>
                  <a:cubicBezTo>
                    <a:pt x="936346" y="1284570"/>
                    <a:pt x="970895" y="1189102"/>
                    <a:pt x="989600" y="1077484"/>
                  </a:cubicBezTo>
                  <a:cubicBezTo>
                    <a:pt x="1001661" y="1005320"/>
                    <a:pt x="1008101" y="931419"/>
                    <a:pt x="1035494" y="862527"/>
                  </a:cubicBezTo>
                  <a:cubicBezTo>
                    <a:pt x="1068816" y="778608"/>
                    <a:pt x="1129634" y="705730"/>
                    <a:pt x="1186669" y="635100"/>
                  </a:cubicBezTo>
                  <a:cubicBezTo>
                    <a:pt x="1308202" y="484538"/>
                    <a:pt x="1440672" y="344095"/>
                    <a:pt x="1573960" y="203039"/>
                  </a:cubicBezTo>
                  <a:cubicBezTo>
                    <a:pt x="1593381" y="182494"/>
                    <a:pt x="1562614" y="151523"/>
                    <a:pt x="1542171" y="171966"/>
                  </a:cubicBezTo>
                  <a:cubicBezTo>
                    <a:pt x="1445272" y="269070"/>
                    <a:pt x="1355732" y="372613"/>
                    <a:pt x="1267623" y="476769"/>
                  </a:cubicBezTo>
                  <a:cubicBezTo>
                    <a:pt x="1187181" y="571829"/>
                    <a:pt x="1099992" y="668319"/>
                    <a:pt x="1035290" y="773804"/>
                  </a:cubicBezTo>
                  <a:cubicBezTo>
                    <a:pt x="981832" y="860994"/>
                    <a:pt x="965069" y="955951"/>
                    <a:pt x="948612" y="1053974"/>
                  </a:cubicBezTo>
                  <a:cubicBezTo>
                    <a:pt x="925103" y="1194315"/>
                    <a:pt x="874813" y="1299595"/>
                    <a:pt x="752360" y="1388522"/>
                  </a:cubicBezTo>
                  <a:cubicBezTo>
                    <a:pt x="632667" y="1475404"/>
                    <a:pt x="474541" y="1524978"/>
                    <a:pt x="326228" y="1479493"/>
                  </a:cubicBezTo>
                  <a:cubicBezTo>
                    <a:pt x="177711" y="1434008"/>
                    <a:pt x="59858" y="1277108"/>
                    <a:pt x="37677" y="1134417"/>
                  </a:cubicBezTo>
                  <a:cubicBezTo>
                    <a:pt x="18461" y="1011044"/>
                    <a:pt x="77541" y="886854"/>
                    <a:pt x="167489" y="799665"/>
                  </a:cubicBezTo>
                  <a:cubicBezTo>
                    <a:pt x="263571" y="706547"/>
                    <a:pt x="393894" y="676905"/>
                    <a:pt x="514201" y="622629"/>
                  </a:cubicBezTo>
                  <a:cubicBezTo>
                    <a:pt x="648817" y="561914"/>
                    <a:pt x="754405" y="461539"/>
                    <a:pt x="852939" y="358098"/>
                  </a:cubicBezTo>
                  <a:cubicBezTo>
                    <a:pt x="958016" y="247707"/>
                    <a:pt x="1059924" y="135169"/>
                    <a:pt x="1151099" y="14147"/>
                  </a:cubicBezTo>
                  <a:cubicBezTo>
                    <a:pt x="1157436" y="5561"/>
                    <a:pt x="1143433" y="-4967"/>
                    <a:pt x="1135869" y="2597"/>
                  </a:cubicBezTo>
                  <a:lnTo>
                    <a:pt x="1135869" y="25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32CE2205-1B99-4AE8-96EE-83B4054F85C2}"/>
                </a:ext>
              </a:extLst>
            </p:cNvPr>
            <p:cNvSpPr/>
            <p:nvPr/>
          </p:nvSpPr>
          <p:spPr>
            <a:xfrm>
              <a:off x="8064712" y="3490406"/>
              <a:ext cx="475358" cy="435744"/>
            </a:xfrm>
            <a:custGeom>
              <a:avLst/>
              <a:gdLst>
                <a:gd name="connsiteX0" fmla="*/ 6335 w 613286"/>
                <a:gd name="connsiteY0" fmla="*/ 46779 h 562179"/>
                <a:gd name="connsiteX1" fmla="*/ 249605 w 613286"/>
                <a:gd name="connsiteY1" fmla="*/ 33389 h 562179"/>
                <a:gd name="connsiteX2" fmla="*/ 471002 w 613286"/>
                <a:gd name="connsiteY2" fmla="*/ 164121 h 562179"/>
                <a:gd name="connsiteX3" fmla="*/ 576998 w 613286"/>
                <a:gd name="connsiteY3" fmla="*/ 558260 h 562179"/>
                <a:gd name="connsiteX4" fmla="*/ 596317 w 613286"/>
                <a:gd name="connsiteY4" fmla="*/ 561122 h 562179"/>
                <a:gd name="connsiteX5" fmla="*/ 595397 w 613286"/>
                <a:gd name="connsiteY5" fmla="*/ 337068 h 562179"/>
                <a:gd name="connsiteX6" fmla="*/ 474068 w 613286"/>
                <a:gd name="connsiteY6" fmla="*/ 143474 h 562179"/>
                <a:gd name="connsiteX7" fmla="*/ 2655 w 613286"/>
                <a:gd name="connsiteY7" fmla="*/ 37273 h 562179"/>
                <a:gd name="connsiteX8" fmla="*/ 6335 w 613286"/>
                <a:gd name="connsiteY8" fmla="*/ 46779 h 562179"/>
                <a:gd name="connsiteX9" fmla="*/ 6335 w 613286"/>
                <a:gd name="connsiteY9" fmla="*/ 46779 h 562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3286" h="562179">
                  <a:moveTo>
                    <a:pt x="6335" y="46779"/>
                  </a:moveTo>
                  <a:cubicBezTo>
                    <a:pt x="89231" y="23883"/>
                    <a:pt x="164052" y="14071"/>
                    <a:pt x="249605" y="33389"/>
                  </a:cubicBezTo>
                  <a:cubicBezTo>
                    <a:pt x="336692" y="53117"/>
                    <a:pt x="411922" y="101362"/>
                    <a:pt x="471002" y="164121"/>
                  </a:cubicBezTo>
                  <a:cubicBezTo>
                    <a:pt x="576998" y="276864"/>
                    <a:pt x="593966" y="413729"/>
                    <a:pt x="576998" y="558260"/>
                  </a:cubicBezTo>
                  <a:cubicBezTo>
                    <a:pt x="575669" y="569401"/>
                    <a:pt x="592535" y="570424"/>
                    <a:pt x="596317" y="561122"/>
                  </a:cubicBezTo>
                  <a:cubicBezTo>
                    <a:pt x="624323" y="492945"/>
                    <a:pt x="613591" y="406370"/>
                    <a:pt x="595397" y="337068"/>
                  </a:cubicBezTo>
                  <a:cubicBezTo>
                    <a:pt x="575260" y="260305"/>
                    <a:pt x="533864" y="198465"/>
                    <a:pt x="474068" y="143474"/>
                  </a:cubicBezTo>
                  <a:cubicBezTo>
                    <a:pt x="358157" y="36966"/>
                    <a:pt x="157817" y="-53493"/>
                    <a:pt x="2655" y="37273"/>
                  </a:cubicBezTo>
                  <a:cubicBezTo>
                    <a:pt x="-2353" y="40237"/>
                    <a:pt x="202" y="48517"/>
                    <a:pt x="6335" y="46779"/>
                  </a:cubicBezTo>
                  <a:lnTo>
                    <a:pt x="6335" y="4677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BCFA958B-4E31-47FB-B98A-B1ED06D5492D}"/>
                </a:ext>
              </a:extLst>
            </p:cNvPr>
            <p:cNvSpPr/>
            <p:nvPr/>
          </p:nvSpPr>
          <p:spPr>
            <a:xfrm>
              <a:off x="7901603" y="3564373"/>
              <a:ext cx="538739" cy="530816"/>
            </a:xfrm>
            <a:custGeom>
              <a:avLst/>
              <a:gdLst>
                <a:gd name="connsiteX0" fmla="*/ 144710 w 695058"/>
                <a:gd name="connsiteY0" fmla="*/ 89442 h 684836"/>
                <a:gd name="connsiteX1" fmla="*/ 124471 w 695058"/>
                <a:gd name="connsiteY1" fmla="*/ 121639 h 684836"/>
                <a:gd name="connsiteX2" fmla="*/ 117214 w 695058"/>
                <a:gd name="connsiteY2" fmla="*/ 148931 h 684836"/>
                <a:gd name="connsiteX3" fmla="*/ 61814 w 695058"/>
                <a:gd name="connsiteY3" fmla="*/ 183786 h 684836"/>
                <a:gd name="connsiteX4" fmla="*/ 23279 w 695058"/>
                <a:gd name="connsiteY4" fmla="*/ 261469 h 684836"/>
                <a:gd name="connsiteX5" fmla="*/ 37078 w 695058"/>
                <a:gd name="connsiteY5" fmla="*/ 293462 h 684836"/>
                <a:gd name="connsiteX6" fmla="*/ 28287 w 695058"/>
                <a:gd name="connsiteY6" fmla="*/ 336085 h 684836"/>
                <a:gd name="connsiteX7" fmla="*/ 1916 w 695058"/>
                <a:gd name="connsiteY7" fmla="*/ 378709 h 684836"/>
                <a:gd name="connsiteX8" fmla="*/ 40758 w 695058"/>
                <a:gd name="connsiteY8" fmla="*/ 448623 h 684836"/>
                <a:gd name="connsiteX9" fmla="*/ 74284 w 695058"/>
                <a:gd name="connsiteY9" fmla="*/ 494415 h 684836"/>
                <a:gd name="connsiteX10" fmla="*/ 68356 w 695058"/>
                <a:gd name="connsiteY10" fmla="*/ 528453 h 684836"/>
                <a:gd name="connsiteX11" fmla="*/ 83177 w 695058"/>
                <a:gd name="connsiteY11" fmla="*/ 578947 h 684836"/>
                <a:gd name="connsiteX12" fmla="*/ 119974 w 695058"/>
                <a:gd name="connsiteY12" fmla="*/ 595710 h 684836"/>
                <a:gd name="connsiteX13" fmla="*/ 156669 w 695058"/>
                <a:gd name="connsiteY13" fmla="*/ 601025 h 684836"/>
                <a:gd name="connsiteX14" fmla="*/ 201848 w 695058"/>
                <a:gd name="connsiteY14" fmla="*/ 650292 h 684836"/>
                <a:gd name="connsiteX15" fmla="*/ 264812 w 695058"/>
                <a:gd name="connsiteY15" fmla="*/ 671349 h 684836"/>
                <a:gd name="connsiteX16" fmla="*/ 323074 w 695058"/>
                <a:gd name="connsiteY16" fmla="*/ 657550 h 684836"/>
                <a:gd name="connsiteX17" fmla="*/ 353329 w 695058"/>
                <a:gd name="connsiteY17" fmla="*/ 670735 h 684836"/>
                <a:gd name="connsiteX18" fmla="*/ 398713 w 695058"/>
                <a:gd name="connsiteY18" fmla="*/ 688010 h 684836"/>
                <a:gd name="connsiteX19" fmla="*/ 467094 w 695058"/>
                <a:gd name="connsiteY19" fmla="*/ 641911 h 684836"/>
                <a:gd name="connsiteX20" fmla="*/ 505220 w 695058"/>
                <a:gd name="connsiteY20" fmla="*/ 613700 h 684836"/>
                <a:gd name="connsiteX21" fmla="*/ 541302 w 695058"/>
                <a:gd name="connsiteY21" fmla="*/ 617788 h 684836"/>
                <a:gd name="connsiteX22" fmla="*/ 581370 w 695058"/>
                <a:gd name="connsiteY22" fmla="*/ 610327 h 684836"/>
                <a:gd name="connsiteX23" fmla="*/ 625629 w 695058"/>
                <a:gd name="connsiteY23" fmla="*/ 503104 h 684836"/>
                <a:gd name="connsiteX24" fmla="*/ 690637 w 695058"/>
                <a:gd name="connsiteY24" fmla="*/ 445659 h 684836"/>
                <a:gd name="connsiteX25" fmla="*/ 671523 w 695058"/>
                <a:gd name="connsiteY25" fmla="*/ 409373 h 684836"/>
                <a:gd name="connsiteX26" fmla="*/ 694623 w 695058"/>
                <a:gd name="connsiteY26" fmla="*/ 326579 h 684836"/>
                <a:gd name="connsiteX27" fmla="*/ 669274 w 695058"/>
                <a:gd name="connsiteY27" fmla="*/ 246341 h 684836"/>
                <a:gd name="connsiteX28" fmla="*/ 629819 w 695058"/>
                <a:gd name="connsiteY28" fmla="*/ 204842 h 684836"/>
                <a:gd name="connsiteX29" fmla="*/ 634419 w 695058"/>
                <a:gd name="connsiteY29" fmla="*/ 172542 h 684836"/>
                <a:gd name="connsiteX30" fmla="*/ 626038 w 695058"/>
                <a:gd name="connsiteY30" fmla="*/ 116427 h 684836"/>
                <a:gd name="connsiteX31" fmla="*/ 599053 w 695058"/>
                <a:gd name="connsiteY31" fmla="*/ 100992 h 684836"/>
                <a:gd name="connsiteX32" fmla="*/ 574010 w 695058"/>
                <a:gd name="connsiteY32" fmla="*/ 100890 h 684836"/>
                <a:gd name="connsiteX33" fmla="*/ 501336 w 695058"/>
                <a:gd name="connsiteY33" fmla="*/ 67057 h 684836"/>
                <a:gd name="connsiteX34" fmla="*/ 473227 w 695058"/>
                <a:gd name="connsiteY34" fmla="*/ 29135 h 684836"/>
                <a:gd name="connsiteX35" fmla="*/ 420178 w 695058"/>
                <a:gd name="connsiteY35" fmla="*/ 37619 h 684836"/>
                <a:gd name="connsiteX36" fmla="*/ 341575 w 695058"/>
                <a:gd name="connsiteY36" fmla="*/ 28011 h 684836"/>
                <a:gd name="connsiteX37" fmla="*/ 325016 w 695058"/>
                <a:gd name="connsiteY37" fmla="*/ 9408 h 684836"/>
                <a:gd name="connsiteX38" fmla="*/ 282086 w 695058"/>
                <a:gd name="connsiteY38" fmla="*/ 2662 h 684836"/>
                <a:gd name="connsiteX39" fmla="*/ 245595 w 695058"/>
                <a:gd name="connsiteY39" fmla="*/ 34655 h 684836"/>
                <a:gd name="connsiteX40" fmla="*/ 205834 w 695058"/>
                <a:gd name="connsiteY40" fmla="*/ 79323 h 684836"/>
                <a:gd name="connsiteX41" fmla="*/ 157691 w 695058"/>
                <a:gd name="connsiteY41" fmla="*/ 80651 h 684836"/>
                <a:gd name="connsiteX42" fmla="*/ 117521 w 695058"/>
                <a:gd name="connsiteY42" fmla="*/ 155268 h 684836"/>
                <a:gd name="connsiteX43" fmla="*/ 134897 w 695058"/>
                <a:gd name="connsiteY43" fmla="*/ 151384 h 684836"/>
                <a:gd name="connsiteX44" fmla="*/ 134897 w 695058"/>
                <a:gd name="connsiteY44" fmla="*/ 118062 h 684836"/>
                <a:gd name="connsiteX45" fmla="*/ 178747 w 695058"/>
                <a:gd name="connsiteY45" fmla="*/ 108862 h 684836"/>
                <a:gd name="connsiteX46" fmla="*/ 191524 w 695058"/>
                <a:gd name="connsiteY46" fmla="*/ 111827 h 684836"/>
                <a:gd name="connsiteX47" fmla="*/ 227095 w 695058"/>
                <a:gd name="connsiteY47" fmla="*/ 100685 h 684836"/>
                <a:gd name="connsiteX48" fmla="*/ 328082 w 695058"/>
                <a:gd name="connsiteY48" fmla="*/ 45592 h 684836"/>
                <a:gd name="connsiteX49" fmla="*/ 391762 w 695058"/>
                <a:gd name="connsiteY49" fmla="*/ 70328 h 684836"/>
                <a:gd name="connsiteX50" fmla="*/ 476702 w 695058"/>
                <a:gd name="connsiteY50" fmla="*/ 63377 h 684836"/>
                <a:gd name="connsiteX51" fmla="*/ 503074 w 695058"/>
                <a:gd name="connsiteY51" fmla="*/ 104161 h 684836"/>
                <a:gd name="connsiteX52" fmla="*/ 577486 w 695058"/>
                <a:gd name="connsiteY52" fmla="*/ 120311 h 684836"/>
                <a:gd name="connsiteX53" fmla="*/ 614794 w 695058"/>
                <a:gd name="connsiteY53" fmla="*/ 229476 h 684836"/>
                <a:gd name="connsiteX54" fmla="*/ 640143 w 695058"/>
                <a:gd name="connsiteY54" fmla="*/ 253905 h 684836"/>
                <a:gd name="connsiteX55" fmla="*/ 659053 w 695058"/>
                <a:gd name="connsiteY55" fmla="*/ 262900 h 684836"/>
                <a:gd name="connsiteX56" fmla="*/ 669172 w 695058"/>
                <a:gd name="connsiteY56" fmla="*/ 334450 h 684836"/>
                <a:gd name="connsiteX57" fmla="*/ 649445 w 695058"/>
                <a:gd name="connsiteY57" fmla="*/ 412031 h 684836"/>
                <a:gd name="connsiteX58" fmla="*/ 640961 w 695058"/>
                <a:gd name="connsiteY58" fmla="*/ 478266 h 684836"/>
                <a:gd name="connsiteX59" fmla="*/ 605288 w 695058"/>
                <a:gd name="connsiteY59" fmla="*/ 494824 h 684836"/>
                <a:gd name="connsiteX60" fmla="*/ 579632 w 695058"/>
                <a:gd name="connsiteY60" fmla="*/ 578334 h 684836"/>
                <a:gd name="connsiteX61" fmla="*/ 513908 w 695058"/>
                <a:gd name="connsiteY61" fmla="*/ 591519 h 684836"/>
                <a:gd name="connsiteX62" fmla="*/ 480178 w 695058"/>
                <a:gd name="connsiteY62" fmla="*/ 596323 h 684836"/>
                <a:gd name="connsiteX63" fmla="*/ 394522 w 695058"/>
                <a:gd name="connsiteY63" fmla="*/ 666136 h 684836"/>
                <a:gd name="connsiteX64" fmla="*/ 319803 w 695058"/>
                <a:gd name="connsiteY64" fmla="*/ 636289 h 684836"/>
                <a:gd name="connsiteX65" fmla="*/ 284539 w 695058"/>
                <a:gd name="connsiteY65" fmla="*/ 640276 h 684836"/>
                <a:gd name="connsiteX66" fmla="*/ 248968 w 695058"/>
                <a:gd name="connsiteY66" fmla="*/ 656016 h 684836"/>
                <a:gd name="connsiteX67" fmla="*/ 212376 w 695058"/>
                <a:gd name="connsiteY67" fmla="*/ 618913 h 684836"/>
                <a:gd name="connsiteX68" fmla="*/ 149718 w 695058"/>
                <a:gd name="connsiteY68" fmla="*/ 581196 h 684836"/>
                <a:gd name="connsiteX69" fmla="*/ 89003 w 695058"/>
                <a:gd name="connsiteY69" fmla="*/ 540310 h 684836"/>
                <a:gd name="connsiteX70" fmla="*/ 93603 w 695058"/>
                <a:gd name="connsiteY70" fmla="*/ 482047 h 684836"/>
                <a:gd name="connsiteX71" fmla="*/ 25425 w 695058"/>
                <a:gd name="connsiteY71" fmla="*/ 399969 h 684836"/>
                <a:gd name="connsiteX72" fmla="*/ 62018 w 695058"/>
                <a:gd name="connsiteY72" fmla="*/ 307874 h 684836"/>
                <a:gd name="connsiteX73" fmla="*/ 45153 w 695058"/>
                <a:gd name="connsiteY73" fmla="*/ 262286 h 684836"/>
                <a:gd name="connsiteX74" fmla="*/ 57725 w 695058"/>
                <a:gd name="connsiteY74" fmla="*/ 205864 h 684836"/>
                <a:gd name="connsiteX75" fmla="*/ 100962 w 695058"/>
                <a:gd name="connsiteY75" fmla="*/ 188181 h 684836"/>
                <a:gd name="connsiteX76" fmla="*/ 131422 w 695058"/>
                <a:gd name="connsiteY76" fmla="*/ 162627 h 684836"/>
                <a:gd name="connsiteX77" fmla="*/ 152989 w 695058"/>
                <a:gd name="connsiteY77" fmla="*/ 97721 h 684836"/>
                <a:gd name="connsiteX78" fmla="*/ 144710 w 695058"/>
                <a:gd name="connsiteY78" fmla="*/ 89442 h 684836"/>
                <a:gd name="connsiteX79" fmla="*/ 144710 w 695058"/>
                <a:gd name="connsiteY79" fmla="*/ 89442 h 68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95058" h="684836">
                  <a:moveTo>
                    <a:pt x="144710" y="89442"/>
                  </a:moveTo>
                  <a:cubicBezTo>
                    <a:pt x="133262" y="98539"/>
                    <a:pt x="128764" y="108045"/>
                    <a:pt x="124471" y="121639"/>
                  </a:cubicBezTo>
                  <a:cubicBezTo>
                    <a:pt x="121916" y="130021"/>
                    <a:pt x="121814" y="141265"/>
                    <a:pt x="117214" y="148931"/>
                  </a:cubicBezTo>
                  <a:cubicBezTo>
                    <a:pt x="104233" y="169987"/>
                    <a:pt x="82563" y="174178"/>
                    <a:pt x="61814" y="183786"/>
                  </a:cubicBezTo>
                  <a:cubicBezTo>
                    <a:pt x="30945" y="197993"/>
                    <a:pt x="13773" y="229373"/>
                    <a:pt x="23279" y="261469"/>
                  </a:cubicBezTo>
                  <a:cubicBezTo>
                    <a:pt x="26652" y="272712"/>
                    <a:pt x="34011" y="282014"/>
                    <a:pt x="37078" y="293462"/>
                  </a:cubicBezTo>
                  <a:cubicBezTo>
                    <a:pt x="42086" y="311861"/>
                    <a:pt x="38509" y="320344"/>
                    <a:pt x="28287" y="336085"/>
                  </a:cubicBezTo>
                  <a:cubicBezTo>
                    <a:pt x="19293" y="350089"/>
                    <a:pt x="6516" y="362457"/>
                    <a:pt x="1916" y="378709"/>
                  </a:cubicBezTo>
                  <a:cubicBezTo>
                    <a:pt x="-6976" y="410600"/>
                    <a:pt x="16635" y="430531"/>
                    <a:pt x="40758" y="448623"/>
                  </a:cubicBezTo>
                  <a:cubicBezTo>
                    <a:pt x="56601" y="460480"/>
                    <a:pt x="72853" y="473155"/>
                    <a:pt x="74284" y="494415"/>
                  </a:cubicBezTo>
                  <a:cubicBezTo>
                    <a:pt x="74999" y="505250"/>
                    <a:pt x="69071" y="517414"/>
                    <a:pt x="68356" y="528453"/>
                  </a:cubicBezTo>
                  <a:cubicBezTo>
                    <a:pt x="67231" y="546340"/>
                    <a:pt x="69582" y="565250"/>
                    <a:pt x="83177" y="578947"/>
                  </a:cubicBezTo>
                  <a:cubicBezTo>
                    <a:pt x="93091" y="588964"/>
                    <a:pt x="106175" y="593053"/>
                    <a:pt x="119974" y="595710"/>
                  </a:cubicBezTo>
                  <a:cubicBezTo>
                    <a:pt x="132035" y="598061"/>
                    <a:pt x="144812" y="597959"/>
                    <a:pt x="156669" y="601025"/>
                  </a:cubicBezTo>
                  <a:cubicBezTo>
                    <a:pt x="184982" y="608180"/>
                    <a:pt x="191626" y="627601"/>
                    <a:pt x="201848" y="650292"/>
                  </a:cubicBezTo>
                  <a:cubicBezTo>
                    <a:pt x="214011" y="677686"/>
                    <a:pt x="236907" y="680650"/>
                    <a:pt x="264812" y="671349"/>
                  </a:cubicBezTo>
                  <a:cubicBezTo>
                    <a:pt x="284744" y="664705"/>
                    <a:pt x="301098" y="652950"/>
                    <a:pt x="323074" y="657550"/>
                  </a:cubicBezTo>
                  <a:cubicBezTo>
                    <a:pt x="333602" y="659696"/>
                    <a:pt x="343823" y="666033"/>
                    <a:pt x="353329" y="670735"/>
                  </a:cubicBezTo>
                  <a:cubicBezTo>
                    <a:pt x="367537" y="677788"/>
                    <a:pt x="382358" y="686170"/>
                    <a:pt x="398713" y="688010"/>
                  </a:cubicBezTo>
                  <a:cubicBezTo>
                    <a:pt x="434488" y="692098"/>
                    <a:pt x="450126" y="666749"/>
                    <a:pt x="467094" y="641911"/>
                  </a:cubicBezTo>
                  <a:cubicBezTo>
                    <a:pt x="478235" y="625557"/>
                    <a:pt x="483653" y="615846"/>
                    <a:pt x="505220" y="613700"/>
                  </a:cubicBezTo>
                  <a:cubicBezTo>
                    <a:pt x="519019" y="612269"/>
                    <a:pt x="528218" y="616357"/>
                    <a:pt x="541302" y="617788"/>
                  </a:cubicBezTo>
                  <a:cubicBezTo>
                    <a:pt x="555612" y="619321"/>
                    <a:pt x="569002" y="617788"/>
                    <a:pt x="581370" y="610327"/>
                  </a:cubicBezTo>
                  <a:cubicBezTo>
                    <a:pt x="625220" y="583649"/>
                    <a:pt x="589240" y="527124"/>
                    <a:pt x="625629" y="503104"/>
                  </a:cubicBezTo>
                  <a:cubicBezTo>
                    <a:pt x="653329" y="484807"/>
                    <a:pt x="692272" y="488896"/>
                    <a:pt x="690637" y="445659"/>
                  </a:cubicBezTo>
                  <a:cubicBezTo>
                    <a:pt x="690024" y="428692"/>
                    <a:pt x="678065" y="422661"/>
                    <a:pt x="671523" y="409373"/>
                  </a:cubicBezTo>
                  <a:cubicBezTo>
                    <a:pt x="657009" y="379731"/>
                    <a:pt x="684300" y="352849"/>
                    <a:pt x="694623" y="326579"/>
                  </a:cubicBezTo>
                  <a:cubicBezTo>
                    <a:pt x="707298" y="294177"/>
                    <a:pt x="701574" y="264331"/>
                    <a:pt x="669274" y="246341"/>
                  </a:cubicBezTo>
                  <a:cubicBezTo>
                    <a:pt x="651387" y="236426"/>
                    <a:pt x="635032" y="227023"/>
                    <a:pt x="629819" y="204842"/>
                  </a:cubicBezTo>
                  <a:cubicBezTo>
                    <a:pt x="627571" y="195131"/>
                    <a:pt x="633090" y="182048"/>
                    <a:pt x="634419" y="172542"/>
                  </a:cubicBezTo>
                  <a:cubicBezTo>
                    <a:pt x="637077" y="153939"/>
                    <a:pt x="638917" y="132372"/>
                    <a:pt x="626038" y="116427"/>
                  </a:cubicBezTo>
                  <a:cubicBezTo>
                    <a:pt x="619291" y="108045"/>
                    <a:pt x="609785" y="103138"/>
                    <a:pt x="599053" y="100992"/>
                  </a:cubicBezTo>
                  <a:cubicBezTo>
                    <a:pt x="590671" y="99357"/>
                    <a:pt x="582392" y="100583"/>
                    <a:pt x="574010" y="100890"/>
                  </a:cubicBezTo>
                  <a:cubicBezTo>
                    <a:pt x="541302" y="102423"/>
                    <a:pt x="517384" y="95881"/>
                    <a:pt x="501336" y="67057"/>
                  </a:cubicBezTo>
                  <a:cubicBezTo>
                    <a:pt x="492954" y="52031"/>
                    <a:pt x="491626" y="36290"/>
                    <a:pt x="473227" y="29135"/>
                  </a:cubicBezTo>
                  <a:cubicBezTo>
                    <a:pt x="454624" y="21878"/>
                    <a:pt x="436839" y="30566"/>
                    <a:pt x="420178" y="37619"/>
                  </a:cubicBezTo>
                  <a:cubicBezTo>
                    <a:pt x="389309" y="50498"/>
                    <a:pt x="365391" y="52338"/>
                    <a:pt x="341575" y="28011"/>
                  </a:cubicBezTo>
                  <a:cubicBezTo>
                    <a:pt x="335646" y="21980"/>
                    <a:pt x="331967" y="14621"/>
                    <a:pt x="325016" y="9408"/>
                  </a:cubicBezTo>
                  <a:cubicBezTo>
                    <a:pt x="312341" y="-200"/>
                    <a:pt x="297418" y="-2449"/>
                    <a:pt x="282086" y="2662"/>
                  </a:cubicBezTo>
                  <a:cubicBezTo>
                    <a:pt x="265732" y="8181"/>
                    <a:pt x="254181" y="20856"/>
                    <a:pt x="245595" y="34655"/>
                  </a:cubicBezTo>
                  <a:cubicBezTo>
                    <a:pt x="231899" y="56733"/>
                    <a:pt x="232614" y="67159"/>
                    <a:pt x="205834" y="79323"/>
                  </a:cubicBezTo>
                  <a:cubicBezTo>
                    <a:pt x="177316" y="92304"/>
                    <a:pt x="182427" y="81980"/>
                    <a:pt x="157691" y="80651"/>
                  </a:cubicBezTo>
                  <a:cubicBezTo>
                    <a:pt x="113432" y="78198"/>
                    <a:pt x="111592" y="125523"/>
                    <a:pt x="117521" y="155268"/>
                  </a:cubicBezTo>
                  <a:cubicBezTo>
                    <a:pt x="119667" y="166103"/>
                    <a:pt x="136124" y="161912"/>
                    <a:pt x="134897" y="151384"/>
                  </a:cubicBezTo>
                  <a:cubicBezTo>
                    <a:pt x="134897" y="140242"/>
                    <a:pt x="134897" y="129203"/>
                    <a:pt x="134897" y="118062"/>
                  </a:cubicBezTo>
                  <a:cubicBezTo>
                    <a:pt x="149616" y="103547"/>
                    <a:pt x="164233" y="100481"/>
                    <a:pt x="178747" y="108862"/>
                  </a:cubicBezTo>
                  <a:cubicBezTo>
                    <a:pt x="183040" y="108965"/>
                    <a:pt x="187231" y="111520"/>
                    <a:pt x="191524" y="111827"/>
                  </a:cubicBezTo>
                  <a:cubicBezTo>
                    <a:pt x="204914" y="112645"/>
                    <a:pt x="216566" y="108249"/>
                    <a:pt x="227095" y="100685"/>
                  </a:cubicBezTo>
                  <a:cubicBezTo>
                    <a:pt x="263381" y="74621"/>
                    <a:pt x="264198" y="-7866"/>
                    <a:pt x="328082" y="45592"/>
                  </a:cubicBezTo>
                  <a:cubicBezTo>
                    <a:pt x="347401" y="61742"/>
                    <a:pt x="363755" y="73496"/>
                    <a:pt x="391762" y="70328"/>
                  </a:cubicBezTo>
                  <a:cubicBezTo>
                    <a:pt x="417418" y="67363"/>
                    <a:pt x="450944" y="33530"/>
                    <a:pt x="476702" y="63377"/>
                  </a:cubicBezTo>
                  <a:cubicBezTo>
                    <a:pt x="488048" y="76563"/>
                    <a:pt x="487128" y="91384"/>
                    <a:pt x="503074" y="104161"/>
                  </a:cubicBezTo>
                  <a:cubicBezTo>
                    <a:pt x="528934" y="124910"/>
                    <a:pt x="547843" y="116733"/>
                    <a:pt x="577486" y="120311"/>
                  </a:cubicBezTo>
                  <a:cubicBezTo>
                    <a:pt x="646787" y="128897"/>
                    <a:pt x="596089" y="191656"/>
                    <a:pt x="614794" y="229476"/>
                  </a:cubicBezTo>
                  <a:cubicBezTo>
                    <a:pt x="620416" y="240924"/>
                    <a:pt x="629104" y="247363"/>
                    <a:pt x="640143" y="253905"/>
                  </a:cubicBezTo>
                  <a:cubicBezTo>
                    <a:pt x="645663" y="257176"/>
                    <a:pt x="653840" y="259118"/>
                    <a:pt x="659053" y="262900"/>
                  </a:cubicBezTo>
                  <a:cubicBezTo>
                    <a:pt x="690535" y="286103"/>
                    <a:pt x="682255" y="307772"/>
                    <a:pt x="669172" y="334450"/>
                  </a:cubicBezTo>
                  <a:cubicBezTo>
                    <a:pt x="657520" y="358368"/>
                    <a:pt x="638201" y="384739"/>
                    <a:pt x="649445" y="412031"/>
                  </a:cubicBezTo>
                  <a:cubicBezTo>
                    <a:pt x="660893" y="439833"/>
                    <a:pt x="701165" y="444126"/>
                    <a:pt x="640961" y="478266"/>
                  </a:cubicBezTo>
                  <a:cubicBezTo>
                    <a:pt x="628797" y="485114"/>
                    <a:pt x="616020" y="484501"/>
                    <a:pt x="605288" y="494824"/>
                  </a:cubicBezTo>
                  <a:cubicBezTo>
                    <a:pt x="581983" y="517107"/>
                    <a:pt x="595680" y="552984"/>
                    <a:pt x="579632" y="578334"/>
                  </a:cubicBezTo>
                  <a:cubicBezTo>
                    <a:pt x="561745" y="606443"/>
                    <a:pt x="541915" y="594177"/>
                    <a:pt x="513908" y="591519"/>
                  </a:cubicBezTo>
                  <a:cubicBezTo>
                    <a:pt x="502051" y="590395"/>
                    <a:pt x="490910" y="590906"/>
                    <a:pt x="480178" y="596323"/>
                  </a:cubicBezTo>
                  <a:cubicBezTo>
                    <a:pt x="445425" y="613802"/>
                    <a:pt x="443483" y="676664"/>
                    <a:pt x="394522" y="666136"/>
                  </a:cubicBezTo>
                  <a:cubicBezTo>
                    <a:pt x="368048" y="660412"/>
                    <a:pt x="347299" y="640173"/>
                    <a:pt x="319803" y="636289"/>
                  </a:cubicBezTo>
                  <a:cubicBezTo>
                    <a:pt x="307231" y="634449"/>
                    <a:pt x="296396" y="636085"/>
                    <a:pt x="284539" y="640276"/>
                  </a:cubicBezTo>
                  <a:cubicBezTo>
                    <a:pt x="277486" y="642831"/>
                    <a:pt x="254999" y="656937"/>
                    <a:pt x="248968" y="656016"/>
                  </a:cubicBezTo>
                  <a:cubicBezTo>
                    <a:pt x="231081" y="653461"/>
                    <a:pt x="221575" y="630054"/>
                    <a:pt x="212376" y="618913"/>
                  </a:cubicBezTo>
                  <a:cubicBezTo>
                    <a:pt x="194488" y="597141"/>
                    <a:pt x="178952" y="586408"/>
                    <a:pt x="149718" y="581196"/>
                  </a:cubicBezTo>
                  <a:cubicBezTo>
                    <a:pt x="118338" y="575574"/>
                    <a:pt x="94727" y="576494"/>
                    <a:pt x="89003" y="540310"/>
                  </a:cubicBezTo>
                  <a:cubicBezTo>
                    <a:pt x="85936" y="520685"/>
                    <a:pt x="97793" y="501673"/>
                    <a:pt x="93603" y="482047"/>
                  </a:cubicBezTo>
                  <a:cubicBezTo>
                    <a:pt x="85425" y="443717"/>
                    <a:pt x="35443" y="435744"/>
                    <a:pt x="25425" y="399969"/>
                  </a:cubicBezTo>
                  <a:cubicBezTo>
                    <a:pt x="15306" y="363581"/>
                    <a:pt x="60689" y="343956"/>
                    <a:pt x="62018" y="307874"/>
                  </a:cubicBezTo>
                  <a:cubicBezTo>
                    <a:pt x="62632" y="290395"/>
                    <a:pt x="50570" y="278130"/>
                    <a:pt x="45153" y="262286"/>
                  </a:cubicBezTo>
                  <a:cubicBezTo>
                    <a:pt x="38100" y="241639"/>
                    <a:pt x="39224" y="222014"/>
                    <a:pt x="57725" y="205864"/>
                  </a:cubicBezTo>
                  <a:cubicBezTo>
                    <a:pt x="74999" y="190736"/>
                    <a:pt x="85323" y="196460"/>
                    <a:pt x="100962" y="188181"/>
                  </a:cubicBezTo>
                  <a:cubicBezTo>
                    <a:pt x="114556" y="181026"/>
                    <a:pt x="124471" y="176324"/>
                    <a:pt x="131422" y="162627"/>
                  </a:cubicBezTo>
                  <a:cubicBezTo>
                    <a:pt x="142257" y="141571"/>
                    <a:pt x="134386" y="116324"/>
                    <a:pt x="152989" y="97721"/>
                  </a:cubicBezTo>
                  <a:cubicBezTo>
                    <a:pt x="157793" y="92202"/>
                    <a:pt x="150332" y="84944"/>
                    <a:pt x="144710" y="89442"/>
                  </a:cubicBezTo>
                  <a:lnTo>
                    <a:pt x="144710" y="8944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84E128AA-FDD7-4F1D-A31B-B4FC8B3CC78D}"/>
                </a:ext>
              </a:extLst>
            </p:cNvPr>
            <p:cNvSpPr/>
            <p:nvPr/>
          </p:nvSpPr>
          <p:spPr>
            <a:xfrm>
              <a:off x="8609195" y="3024062"/>
              <a:ext cx="324828" cy="269369"/>
            </a:xfrm>
            <a:custGeom>
              <a:avLst/>
              <a:gdLst>
                <a:gd name="connsiteX0" fmla="*/ 121990 w 419079"/>
                <a:gd name="connsiteY0" fmla="*/ 1625 h 347529"/>
                <a:gd name="connsiteX1" fmla="*/ 52280 w 419079"/>
                <a:gd name="connsiteY1" fmla="*/ 80126 h 347529"/>
                <a:gd name="connsiteX2" fmla="*/ 968 w 419079"/>
                <a:gd name="connsiteY2" fmla="*/ 166395 h 347529"/>
                <a:gd name="connsiteX3" fmla="*/ 99298 w 419079"/>
                <a:gd name="connsiteY3" fmla="*/ 305713 h 347529"/>
                <a:gd name="connsiteX4" fmla="*/ 254256 w 419079"/>
                <a:gd name="connsiteY4" fmla="*/ 336991 h 347529"/>
                <a:gd name="connsiteX5" fmla="*/ 344920 w 419079"/>
                <a:gd name="connsiteY5" fmla="*/ 240295 h 347529"/>
                <a:gd name="connsiteX6" fmla="*/ 424851 w 419079"/>
                <a:gd name="connsiteY6" fmla="*/ 145441 h 347529"/>
                <a:gd name="connsiteX7" fmla="*/ 411359 w 419079"/>
                <a:gd name="connsiteY7" fmla="*/ 135219 h 347529"/>
                <a:gd name="connsiteX8" fmla="*/ 297697 w 419079"/>
                <a:gd name="connsiteY8" fmla="*/ 268404 h 347529"/>
                <a:gd name="connsiteX9" fmla="*/ 210406 w 419079"/>
                <a:gd name="connsiteY9" fmla="*/ 332186 h 347529"/>
                <a:gd name="connsiteX10" fmla="*/ 119946 w 419079"/>
                <a:gd name="connsiteY10" fmla="*/ 298149 h 347529"/>
                <a:gd name="connsiteX11" fmla="*/ 32757 w 419079"/>
                <a:gd name="connsiteY11" fmla="*/ 139206 h 347529"/>
                <a:gd name="connsiteX12" fmla="*/ 132314 w 419079"/>
                <a:gd name="connsiteY12" fmla="*/ 9189 h 347529"/>
                <a:gd name="connsiteX13" fmla="*/ 121990 w 419079"/>
                <a:gd name="connsiteY13" fmla="*/ 1625 h 347529"/>
                <a:gd name="connsiteX14" fmla="*/ 121990 w 419079"/>
                <a:gd name="connsiteY14" fmla="*/ 1625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19079" h="347529">
                  <a:moveTo>
                    <a:pt x="121990" y="1625"/>
                  </a:moveTo>
                  <a:cubicBezTo>
                    <a:pt x="95823" y="25339"/>
                    <a:pt x="73234" y="52323"/>
                    <a:pt x="52280" y="80126"/>
                  </a:cubicBezTo>
                  <a:cubicBezTo>
                    <a:pt x="33779" y="104759"/>
                    <a:pt x="6488" y="135730"/>
                    <a:pt x="968" y="166395"/>
                  </a:cubicBezTo>
                  <a:cubicBezTo>
                    <a:pt x="-8844" y="220364"/>
                    <a:pt x="58208" y="278115"/>
                    <a:pt x="99298" y="305713"/>
                  </a:cubicBezTo>
                  <a:cubicBezTo>
                    <a:pt x="141206" y="333924"/>
                    <a:pt x="204886" y="366939"/>
                    <a:pt x="254256" y="336991"/>
                  </a:cubicBezTo>
                  <a:cubicBezTo>
                    <a:pt x="290951" y="314810"/>
                    <a:pt x="318037" y="271982"/>
                    <a:pt x="344920" y="240295"/>
                  </a:cubicBezTo>
                  <a:cubicBezTo>
                    <a:pt x="371700" y="208814"/>
                    <a:pt x="399298" y="177843"/>
                    <a:pt x="424851" y="145441"/>
                  </a:cubicBezTo>
                  <a:cubicBezTo>
                    <a:pt x="430678" y="137979"/>
                    <a:pt x="417799" y="128166"/>
                    <a:pt x="411359" y="135219"/>
                  </a:cubicBezTo>
                  <a:cubicBezTo>
                    <a:pt x="371904" y="178354"/>
                    <a:pt x="335312" y="223941"/>
                    <a:pt x="297697" y="268404"/>
                  </a:cubicBezTo>
                  <a:cubicBezTo>
                    <a:pt x="274801" y="295389"/>
                    <a:pt x="250882" y="328813"/>
                    <a:pt x="210406" y="332186"/>
                  </a:cubicBezTo>
                  <a:cubicBezTo>
                    <a:pt x="180559" y="334640"/>
                    <a:pt x="143762" y="312561"/>
                    <a:pt x="119946" y="298149"/>
                  </a:cubicBezTo>
                  <a:cubicBezTo>
                    <a:pt x="66385" y="265645"/>
                    <a:pt x="-2303" y="204112"/>
                    <a:pt x="32757" y="139206"/>
                  </a:cubicBezTo>
                  <a:cubicBezTo>
                    <a:pt x="58413" y="91880"/>
                    <a:pt x="98072" y="50790"/>
                    <a:pt x="132314" y="9189"/>
                  </a:cubicBezTo>
                  <a:cubicBezTo>
                    <a:pt x="137016" y="3669"/>
                    <a:pt x="127305" y="-3179"/>
                    <a:pt x="121990" y="1625"/>
                  </a:cubicBezTo>
                  <a:lnTo>
                    <a:pt x="121990" y="162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9B9F712-36D0-4224-8AB6-C8547C790361}"/>
                </a:ext>
              </a:extLst>
            </p:cNvPr>
            <p:cNvSpPr/>
            <p:nvPr/>
          </p:nvSpPr>
          <p:spPr>
            <a:xfrm>
              <a:off x="10216395" y="1371861"/>
              <a:ext cx="166375" cy="110917"/>
            </a:xfrm>
            <a:custGeom>
              <a:avLst/>
              <a:gdLst>
                <a:gd name="connsiteX0" fmla="*/ 539 w 214650"/>
                <a:gd name="connsiteY0" fmla="*/ 2565 h 143100"/>
                <a:gd name="connsiteX1" fmla="*/ 222345 w 214650"/>
                <a:gd name="connsiteY1" fmla="*/ 148220 h 143100"/>
                <a:gd name="connsiteX2" fmla="*/ 224082 w 214650"/>
                <a:gd name="connsiteY2" fmla="*/ 145563 h 143100"/>
                <a:gd name="connsiteX3" fmla="*/ 2992 w 214650"/>
                <a:gd name="connsiteY3" fmla="*/ 418 h 143100"/>
                <a:gd name="connsiteX4" fmla="*/ 539 w 214650"/>
                <a:gd name="connsiteY4" fmla="*/ 2565 h 143100"/>
                <a:gd name="connsiteX5" fmla="*/ 539 w 214650"/>
                <a:gd name="connsiteY5" fmla="*/ 2565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4650" h="143100">
                  <a:moveTo>
                    <a:pt x="539" y="2565"/>
                  </a:moveTo>
                  <a:cubicBezTo>
                    <a:pt x="67796" y="59600"/>
                    <a:pt x="142311" y="108561"/>
                    <a:pt x="222345" y="148220"/>
                  </a:cubicBezTo>
                  <a:cubicBezTo>
                    <a:pt x="224184" y="149140"/>
                    <a:pt x="225922" y="146483"/>
                    <a:pt x="224082" y="145563"/>
                  </a:cubicBezTo>
                  <a:cubicBezTo>
                    <a:pt x="144355" y="106108"/>
                    <a:pt x="70045" y="57352"/>
                    <a:pt x="2992" y="418"/>
                  </a:cubicBezTo>
                  <a:cubicBezTo>
                    <a:pt x="1357" y="-911"/>
                    <a:pt x="-1096" y="1236"/>
                    <a:pt x="539" y="2565"/>
                  </a:cubicBezTo>
                  <a:lnTo>
                    <a:pt x="53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04AA30DD-FAA0-4432-A829-D75A2B399AFE}"/>
                </a:ext>
              </a:extLst>
            </p:cNvPr>
            <p:cNvSpPr/>
            <p:nvPr/>
          </p:nvSpPr>
          <p:spPr>
            <a:xfrm>
              <a:off x="10237523" y="1378392"/>
              <a:ext cx="134685" cy="87149"/>
            </a:xfrm>
            <a:custGeom>
              <a:avLst/>
              <a:gdLst>
                <a:gd name="connsiteX0" fmla="*/ 675 w 173764"/>
                <a:gd name="connsiteY0" fmla="*/ 2929 h 112435"/>
                <a:gd name="connsiteX1" fmla="*/ 175870 w 173764"/>
                <a:gd name="connsiteY1" fmla="*/ 115365 h 112435"/>
                <a:gd name="connsiteX2" fmla="*/ 177608 w 173764"/>
                <a:gd name="connsiteY2" fmla="*/ 112708 h 112435"/>
                <a:gd name="connsiteX3" fmla="*/ 2412 w 173764"/>
                <a:gd name="connsiteY3" fmla="*/ 272 h 112435"/>
                <a:gd name="connsiteX4" fmla="*/ 675 w 173764"/>
                <a:gd name="connsiteY4" fmla="*/ 2929 h 112435"/>
                <a:gd name="connsiteX5" fmla="*/ 675 w 173764"/>
                <a:gd name="connsiteY5" fmla="*/ 29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3764" h="112435">
                  <a:moveTo>
                    <a:pt x="675" y="2929"/>
                  </a:moveTo>
                  <a:cubicBezTo>
                    <a:pt x="56791" y="43508"/>
                    <a:pt x="115257" y="81021"/>
                    <a:pt x="175870" y="115365"/>
                  </a:cubicBezTo>
                  <a:cubicBezTo>
                    <a:pt x="177710" y="116387"/>
                    <a:pt x="179346" y="113730"/>
                    <a:pt x="177608" y="112708"/>
                  </a:cubicBezTo>
                  <a:cubicBezTo>
                    <a:pt x="116995" y="78363"/>
                    <a:pt x="58528" y="40851"/>
                    <a:pt x="2412" y="272"/>
                  </a:cubicBezTo>
                  <a:cubicBezTo>
                    <a:pt x="675" y="-853"/>
                    <a:pt x="-961" y="1805"/>
                    <a:pt x="675" y="2929"/>
                  </a:cubicBezTo>
                  <a:lnTo>
                    <a:pt x="675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54E225AB-851F-4C53-8514-DA699B4F5C06}"/>
                </a:ext>
              </a:extLst>
            </p:cNvPr>
            <p:cNvSpPr/>
            <p:nvPr/>
          </p:nvSpPr>
          <p:spPr>
            <a:xfrm>
              <a:off x="10278953" y="1399657"/>
              <a:ext cx="95071" cy="47536"/>
            </a:xfrm>
            <a:custGeom>
              <a:avLst/>
              <a:gdLst>
                <a:gd name="connsiteX0" fmla="*/ 784 w 122657"/>
                <a:gd name="connsiteY0" fmla="*/ 2887 h 61328"/>
                <a:gd name="connsiteX1" fmla="*/ 129063 w 122657"/>
                <a:gd name="connsiteY1" fmla="*/ 71269 h 61328"/>
                <a:gd name="connsiteX2" fmla="*/ 130801 w 122657"/>
                <a:gd name="connsiteY2" fmla="*/ 68611 h 61328"/>
                <a:gd name="connsiteX3" fmla="*/ 2522 w 122657"/>
                <a:gd name="connsiteY3" fmla="*/ 230 h 61328"/>
                <a:gd name="connsiteX4" fmla="*/ 784 w 122657"/>
                <a:gd name="connsiteY4" fmla="*/ 2887 h 61328"/>
                <a:gd name="connsiteX5" fmla="*/ 784 w 122657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61328">
                  <a:moveTo>
                    <a:pt x="784" y="2887"/>
                  </a:moveTo>
                  <a:cubicBezTo>
                    <a:pt x="43509" y="25681"/>
                    <a:pt x="86337" y="48475"/>
                    <a:pt x="129063" y="71269"/>
                  </a:cubicBezTo>
                  <a:cubicBezTo>
                    <a:pt x="130903" y="72291"/>
                    <a:pt x="132640" y="69634"/>
                    <a:pt x="130801" y="68611"/>
                  </a:cubicBezTo>
                  <a:cubicBezTo>
                    <a:pt x="88075" y="45818"/>
                    <a:pt x="45247" y="23024"/>
                    <a:pt x="2522" y="230"/>
                  </a:cubicBezTo>
                  <a:cubicBezTo>
                    <a:pt x="681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5CC52CEE-93EB-40F2-9E80-5F34F779285C}"/>
                </a:ext>
              </a:extLst>
            </p:cNvPr>
            <p:cNvSpPr/>
            <p:nvPr/>
          </p:nvSpPr>
          <p:spPr>
            <a:xfrm>
              <a:off x="10322685" y="1409640"/>
              <a:ext cx="102994" cy="47536"/>
            </a:xfrm>
            <a:custGeom>
              <a:avLst/>
              <a:gdLst>
                <a:gd name="connsiteX0" fmla="*/ 784 w 132878"/>
                <a:gd name="connsiteY0" fmla="*/ 2887 h 61328"/>
                <a:gd name="connsiteX1" fmla="*/ 132027 w 132878"/>
                <a:gd name="connsiteY1" fmla="*/ 67998 h 61328"/>
                <a:gd name="connsiteX2" fmla="*/ 132947 w 132878"/>
                <a:gd name="connsiteY2" fmla="*/ 65034 h 61328"/>
                <a:gd name="connsiteX3" fmla="*/ 2521 w 132878"/>
                <a:gd name="connsiteY3" fmla="*/ 230 h 61328"/>
                <a:gd name="connsiteX4" fmla="*/ 784 w 132878"/>
                <a:gd name="connsiteY4" fmla="*/ 2887 h 61328"/>
                <a:gd name="connsiteX5" fmla="*/ 784 w 132878"/>
                <a:gd name="connsiteY5" fmla="*/ 28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84" y="2887"/>
                  </a:moveTo>
                  <a:cubicBezTo>
                    <a:pt x="42692" y="27726"/>
                    <a:pt x="86542" y="49497"/>
                    <a:pt x="132027" y="67998"/>
                  </a:cubicBezTo>
                  <a:cubicBezTo>
                    <a:pt x="133969" y="68816"/>
                    <a:pt x="134889" y="65852"/>
                    <a:pt x="132947" y="65034"/>
                  </a:cubicBezTo>
                  <a:cubicBezTo>
                    <a:pt x="87768" y="46635"/>
                    <a:pt x="44225" y="24966"/>
                    <a:pt x="2521" y="230"/>
                  </a:cubicBezTo>
                  <a:cubicBezTo>
                    <a:pt x="682" y="-792"/>
                    <a:pt x="-1056" y="1865"/>
                    <a:pt x="784" y="2887"/>
                  </a:cubicBezTo>
                  <a:lnTo>
                    <a:pt x="784" y="28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836C941-3C6F-42EC-964B-4E17A1B3DF2F}"/>
                </a:ext>
              </a:extLst>
            </p:cNvPr>
            <p:cNvSpPr/>
            <p:nvPr/>
          </p:nvSpPr>
          <p:spPr>
            <a:xfrm>
              <a:off x="10252595" y="1487057"/>
              <a:ext cx="87149" cy="87149"/>
            </a:xfrm>
            <a:custGeom>
              <a:avLst/>
              <a:gdLst>
                <a:gd name="connsiteX0" fmla="*/ 445 w 112435"/>
                <a:gd name="connsiteY0" fmla="*/ 2565 h 112435"/>
                <a:gd name="connsiteX1" fmla="*/ 111450 w 112435"/>
                <a:gd name="connsiteY1" fmla="*/ 119294 h 112435"/>
                <a:gd name="connsiteX2" fmla="*/ 113801 w 112435"/>
                <a:gd name="connsiteY2" fmla="*/ 117147 h 112435"/>
                <a:gd name="connsiteX3" fmla="*/ 2796 w 112435"/>
                <a:gd name="connsiteY3" fmla="*/ 418 h 112435"/>
                <a:gd name="connsiteX4" fmla="*/ 445 w 112435"/>
                <a:gd name="connsiteY4" fmla="*/ 2565 h 112435"/>
                <a:gd name="connsiteX5" fmla="*/ 445 w 112435"/>
                <a:gd name="connsiteY5" fmla="*/ 2565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12435">
                  <a:moveTo>
                    <a:pt x="445" y="2565"/>
                  </a:moveTo>
                  <a:cubicBezTo>
                    <a:pt x="40105" y="39157"/>
                    <a:pt x="77106" y="78203"/>
                    <a:pt x="111450" y="119294"/>
                  </a:cubicBezTo>
                  <a:cubicBezTo>
                    <a:pt x="112779" y="120827"/>
                    <a:pt x="115130" y="118680"/>
                    <a:pt x="113801" y="117147"/>
                  </a:cubicBezTo>
                  <a:cubicBezTo>
                    <a:pt x="79457" y="76057"/>
                    <a:pt x="42455" y="37011"/>
                    <a:pt x="2796" y="418"/>
                  </a:cubicBezTo>
                  <a:cubicBezTo>
                    <a:pt x="1365" y="-911"/>
                    <a:pt x="-986" y="1236"/>
                    <a:pt x="445" y="2565"/>
                  </a:cubicBezTo>
                  <a:lnTo>
                    <a:pt x="445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8EF84CB-9DB2-4E6D-8577-40E7F44810A8}"/>
                </a:ext>
              </a:extLst>
            </p:cNvPr>
            <p:cNvSpPr/>
            <p:nvPr/>
          </p:nvSpPr>
          <p:spPr>
            <a:xfrm>
              <a:off x="10244006" y="1489550"/>
              <a:ext cx="79226" cy="79226"/>
            </a:xfrm>
            <a:custGeom>
              <a:avLst/>
              <a:gdLst>
                <a:gd name="connsiteX0" fmla="*/ 487 w 102214"/>
                <a:gd name="connsiteY0" fmla="*/ 2618 h 102214"/>
                <a:gd name="connsiteX1" fmla="*/ 105461 w 102214"/>
                <a:gd name="connsiteY1" fmla="*/ 107286 h 102214"/>
                <a:gd name="connsiteX2" fmla="*/ 107812 w 102214"/>
                <a:gd name="connsiteY2" fmla="*/ 105140 h 102214"/>
                <a:gd name="connsiteX3" fmla="*/ 2838 w 102214"/>
                <a:gd name="connsiteY3" fmla="*/ 472 h 102214"/>
                <a:gd name="connsiteX4" fmla="*/ 487 w 102214"/>
                <a:gd name="connsiteY4" fmla="*/ 2618 h 102214"/>
                <a:gd name="connsiteX5" fmla="*/ 487 w 102214"/>
                <a:gd name="connsiteY5" fmla="*/ 261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87" y="2618"/>
                  </a:moveTo>
                  <a:cubicBezTo>
                    <a:pt x="36466" y="36554"/>
                    <a:pt x="71526" y="71511"/>
                    <a:pt x="105461" y="107286"/>
                  </a:cubicBezTo>
                  <a:cubicBezTo>
                    <a:pt x="106892" y="108819"/>
                    <a:pt x="109243" y="106571"/>
                    <a:pt x="107812" y="105140"/>
                  </a:cubicBezTo>
                  <a:cubicBezTo>
                    <a:pt x="73876" y="69364"/>
                    <a:pt x="38817" y="34407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356BEBA-087D-44CD-900D-1992FA451287}"/>
                </a:ext>
              </a:extLst>
            </p:cNvPr>
            <p:cNvSpPr/>
            <p:nvPr/>
          </p:nvSpPr>
          <p:spPr>
            <a:xfrm>
              <a:off x="10240670" y="1503377"/>
              <a:ext cx="79226" cy="79226"/>
            </a:xfrm>
            <a:custGeom>
              <a:avLst/>
              <a:gdLst>
                <a:gd name="connsiteX0" fmla="*/ 499 w 102214"/>
                <a:gd name="connsiteY0" fmla="*/ 2565 h 102214"/>
                <a:gd name="connsiteX1" fmla="*/ 103837 w 102214"/>
                <a:gd name="connsiteY1" fmla="*/ 103552 h 102214"/>
                <a:gd name="connsiteX2" fmla="*/ 106189 w 102214"/>
                <a:gd name="connsiteY2" fmla="*/ 101406 h 102214"/>
                <a:gd name="connsiteX3" fmla="*/ 2850 w 102214"/>
                <a:gd name="connsiteY3" fmla="*/ 418 h 102214"/>
                <a:gd name="connsiteX4" fmla="*/ 499 w 102214"/>
                <a:gd name="connsiteY4" fmla="*/ 2565 h 102214"/>
                <a:gd name="connsiteX5" fmla="*/ 499 w 102214"/>
                <a:gd name="connsiteY5" fmla="*/ 25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99" y="2565"/>
                  </a:moveTo>
                  <a:cubicBezTo>
                    <a:pt x="36785" y="34558"/>
                    <a:pt x="71231" y="68289"/>
                    <a:pt x="103837" y="103552"/>
                  </a:cubicBezTo>
                  <a:cubicBezTo>
                    <a:pt x="105269" y="105086"/>
                    <a:pt x="107619" y="102939"/>
                    <a:pt x="106189" y="101406"/>
                  </a:cubicBezTo>
                  <a:cubicBezTo>
                    <a:pt x="73582" y="66142"/>
                    <a:pt x="39034" y="32411"/>
                    <a:pt x="2850" y="418"/>
                  </a:cubicBezTo>
                  <a:cubicBezTo>
                    <a:pt x="1316" y="-911"/>
                    <a:pt x="-1035" y="1236"/>
                    <a:pt x="499" y="2565"/>
                  </a:cubicBezTo>
                  <a:lnTo>
                    <a:pt x="499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3A3F9E45-BB56-4168-8ED5-D230993C6908}"/>
                </a:ext>
              </a:extLst>
            </p:cNvPr>
            <p:cNvSpPr/>
            <p:nvPr/>
          </p:nvSpPr>
          <p:spPr>
            <a:xfrm>
              <a:off x="10242263" y="1524726"/>
              <a:ext cx="63381" cy="55458"/>
            </a:xfrm>
            <a:custGeom>
              <a:avLst/>
              <a:gdLst>
                <a:gd name="connsiteX0" fmla="*/ 487 w 81771"/>
                <a:gd name="connsiteY0" fmla="*/ 2618 h 71550"/>
                <a:gd name="connsiteX1" fmla="*/ 79294 w 81771"/>
                <a:gd name="connsiteY1" fmla="*/ 74475 h 71550"/>
                <a:gd name="connsiteX2" fmla="*/ 81645 w 81771"/>
                <a:gd name="connsiteY2" fmla="*/ 72329 h 71550"/>
                <a:gd name="connsiteX3" fmla="*/ 2838 w 81771"/>
                <a:gd name="connsiteY3" fmla="*/ 472 h 71550"/>
                <a:gd name="connsiteX4" fmla="*/ 487 w 81771"/>
                <a:gd name="connsiteY4" fmla="*/ 2618 h 71550"/>
                <a:gd name="connsiteX5" fmla="*/ 487 w 81771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71550">
                  <a:moveTo>
                    <a:pt x="487" y="2618"/>
                  </a:moveTo>
                  <a:cubicBezTo>
                    <a:pt x="26756" y="26537"/>
                    <a:pt x="53025" y="50557"/>
                    <a:pt x="79294" y="74475"/>
                  </a:cubicBezTo>
                  <a:cubicBezTo>
                    <a:pt x="80827" y="75906"/>
                    <a:pt x="83178" y="73760"/>
                    <a:pt x="81645" y="72329"/>
                  </a:cubicBezTo>
                  <a:cubicBezTo>
                    <a:pt x="55376" y="48411"/>
                    <a:pt x="29107" y="24390"/>
                    <a:pt x="2838" y="472"/>
                  </a:cubicBezTo>
                  <a:cubicBezTo>
                    <a:pt x="1406" y="-959"/>
                    <a:pt x="-1047" y="1187"/>
                    <a:pt x="487" y="2618"/>
                  </a:cubicBezTo>
                  <a:lnTo>
                    <a:pt x="48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430182C-4145-4ECE-898A-05B02B78368D}"/>
                </a:ext>
              </a:extLst>
            </p:cNvPr>
            <p:cNvSpPr/>
            <p:nvPr/>
          </p:nvSpPr>
          <p:spPr>
            <a:xfrm>
              <a:off x="10191471" y="1586820"/>
              <a:ext cx="79226" cy="31691"/>
            </a:xfrm>
            <a:custGeom>
              <a:avLst/>
              <a:gdLst>
                <a:gd name="connsiteX0" fmla="*/ 804 w 102214"/>
                <a:gd name="connsiteY0" fmla="*/ 2848 h 40885"/>
                <a:gd name="connsiteX1" fmla="*/ 108333 w 102214"/>
                <a:gd name="connsiteY1" fmla="*/ 47005 h 40885"/>
                <a:gd name="connsiteX2" fmla="*/ 109253 w 102214"/>
                <a:gd name="connsiteY2" fmla="*/ 44041 h 40885"/>
                <a:gd name="connsiteX3" fmla="*/ 2541 w 102214"/>
                <a:gd name="connsiteY3" fmla="*/ 191 h 40885"/>
                <a:gd name="connsiteX4" fmla="*/ 804 w 102214"/>
                <a:gd name="connsiteY4" fmla="*/ 2848 h 40885"/>
                <a:gd name="connsiteX5" fmla="*/ 804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04" y="2848"/>
                  </a:moveTo>
                  <a:cubicBezTo>
                    <a:pt x="35148" y="20634"/>
                    <a:pt x="71127" y="35455"/>
                    <a:pt x="108333" y="47005"/>
                  </a:cubicBezTo>
                  <a:cubicBezTo>
                    <a:pt x="110377" y="47618"/>
                    <a:pt x="111298" y="44654"/>
                    <a:pt x="109253" y="44041"/>
                  </a:cubicBezTo>
                  <a:cubicBezTo>
                    <a:pt x="72354" y="32491"/>
                    <a:pt x="36579" y="17772"/>
                    <a:pt x="2541" y="191"/>
                  </a:cubicBezTo>
                  <a:cubicBezTo>
                    <a:pt x="599" y="-729"/>
                    <a:pt x="-1036" y="1928"/>
                    <a:pt x="804" y="2848"/>
                  </a:cubicBezTo>
                  <a:lnTo>
                    <a:pt x="804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AC981EE1-7268-4E40-9443-60F5DA163CBA}"/>
                </a:ext>
              </a:extLst>
            </p:cNvPr>
            <p:cNvSpPr/>
            <p:nvPr/>
          </p:nvSpPr>
          <p:spPr>
            <a:xfrm>
              <a:off x="10175200" y="1601719"/>
              <a:ext cx="102994" cy="31691"/>
            </a:xfrm>
            <a:custGeom>
              <a:avLst/>
              <a:gdLst>
                <a:gd name="connsiteX0" fmla="*/ 1148 w 132878"/>
                <a:gd name="connsiteY0" fmla="*/ 3047 h 40885"/>
                <a:gd name="connsiteX1" fmla="*/ 132187 w 132878"/>
                <a:gd name="connsiteY1" fmla="*/ 43115 h 40885"/>
                <a:gd name="connsiteX2" fmla="*/ 133107 w 132878"/>
                <a:gd name="connsiteY2" fmla="*/ 40151 h 40885"/>
                <a:gd name="connsiteX3" fmla="*/ 2068 w 132878"/>
                <a:gd name="connsiteY3" fmla="*/ 83 h 40885"/>
                <a:gd name="connsiteX4" fmla="*/ 1148 w 132878"/>
                <a:gd name="connsiteY4" fmla="*/ 3047 h 40885"/>
                <a:gd name="connsiteX5" fmla="*/ 1148 w 132878"/>
                <a:gd name="connsiteY5" fmla="*/ 304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40885">
                  <a:moveTo>
                    <a:pt x="1148" y="3047"/>
                  </a:moveTo>
                  <a:cubicBezTo>
                    <a:pt x="44794" y="16437"/>
                    <a:pt x="88542" y="29725"/>
                    <a:pt x="132187" y="43115"/>
                  </a:cubicBezTo>
                  <a:cubicBezTo>
                    <a:pt x="134232" y="43729"/>
                    <a:pt x="135152" y="40764"/>
                    <a:pt x="133107" y="40151"/>
                  </a:cubicBezTo>
                  <a:cubicBezTo>
                    <a:pt x="89462" y="26761"/>
                    <a:pt x="45714" y="1347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DB43418F-7F65-4010-B846-7E02AE1C6D27}"/>
                </a:ext>
              </a:extLst>
            </p:cNvPr>
            <p:cNvSpPr/>
            <p:nvPr/>
          </p:nvSpPr>
          <p:spPr>
            <a:xfrm>
              <a:off x="10187718" y="1621507"/>
              <a:ext cx="39613" cy="15845"/>
            </a:xfrm>
            <a:custGeom>
              <a:avLst/>
              <a:gdLst>
                <a:gd name="connsiteX0" fmla="*/ 1149 w 51107"/>
                <a:gd name="connsiteY0" fmla="*/ 3072 h 20442"/>
                <a:gd name="connsiteX1" fmla="*/ 55935 w 51107"/>
                <a:gd name="connsiteY1" fmla="*/ 21164 h 20442"/>
                <a:gd name="connsiteX2" fmla="*/ 56855 w 51107"/>
                <a:gd name="connsiteY2" fmla="*/ 18200 h 20442"/>
                <a:gd name="connsiteX3" fmla="*/ 2068 w 51107"/>
                <a:gd name="connsiteY3" fmla="*/ 108 h 20442"/>
                <a:gd name="connsiteX4" fmla="*/ 1149 w 51107"/>
                <a:gd name="connsiteY4" fmla="*/ 3072 h 20442"/>
                <a:gd name="connsiteX5" fmla="*/ 1149 w 51107"/>
                <a:gd name="connsiteY5" fmla="*/ 307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9" y="3072"/>
                  </a:moveTo>
                  <a:cubicBezTo>
                    <a:pt x="19445" y="9102"/>
                    <a:pt x="37639" y="15133"/>
                    <a:pt x="55935" y="21164"/>
                  </a:cubicBezTo>
                  <a:cubicBezTo>
                    <a:pt x="57980" y="21777"/>
                    <a:pt x="58900" y="18813"/>
                    <a:pt x="56855" y="18200"/>
                  </a:cubicBezTo>
                  <a:cubicBezTo>
                    <a:pt x="38559" y="12169"/>
                    <a:pt x="20365" y="6138"/>
                    <a:pt x="2068" y="108"/>
                  </a:cubicBezTo>
                  <a:cubicBezTo>
                    <a:pt x="24" y="-608"/>
                    <a:pt x="-896" y="2459"/>
                    <a:pt x="1149" y="3072"/>
                  </a:cubicBezTo>
                  <a:lnTo>
                    <a:pt x="1149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8856BD99-AB0A-4E84-9075-1147E8837E7B}"/>
                </a:ext>
              </a:extLst>
            </p:cNvPr>
            <p:cNvSpPr/>
            <p:nvPr/>
          </p:nvSpPr>
          <p:spPr>
            <a:xfrm>
              <a:off x="10162603" y="1630874"/>
              <a:ext cx="55458" cy="15845"/>
            </a:xfrm>
            <a:custGeom>
              <a:avLst/>
              <a:gdLst>
                <a:gd name="connsiteX0" fmla="*/ 1149 w 71550"/>
                <a:gd name="connsiteY0" fmla="*/ 3047 h 20442"/>
                <a:gd name="connsiteX1" fmla="*/ 72290 w 71550"/>
                <a:gd name="connsiteY1" fmla="*/ 21855 h 20442"/>
                <a:gd name="connsiteX2" fmla="*/ 73210 w 71550"/>
                <a:gd name="connsiteY2" fmla="*/ 18891 h 20442"/>
                <a:gd name="connsiteX3" fmla="*/ 2068 w 71550"/>
                <a:gd name="connsiteY3" fmla="*/ 83 h 20442"/>
                <a:gd name="connsiteX4" fmla="*/ 1149 w 71550"/>
                <a:gd name="connsiteY4" fmla="*/ 3047 h 20442"/>
                <a:gd name="connsiteX5" fmla="*/ 1149 w 71550"/>
                <a:gd name="connsiteY5" fmla="*/ 304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47"/>
                  </a:moveTo>
                  <a:cubicBezTo>
                    <a:pt x="24862" y="9282"/>
                    <a:pt x="48576" y="15620"/>
                    <a:pt x="72290" y="21855"/>
                  </a:cubicBezTo>
                  <a:cubicBezTo>
                    <a:pt x="74334" y="22366"/>
                    <a:pt x="75254" y="19402"/>
                    <a:pt x="73210" y="18891"/>
                  </a:cubicBezTo>
                  <a:cubicBezTo>
                    <a:pt x="49496" y="12655"/>
                    <a:pt x="25782" y="6318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44BA4023-4E22-49CE-B17E-76DFE6ABC44F}"/>
                </a:ext>
              </a:extLst>
            </p:cNvPr>
            <p:cNvSpPr/>
            <p:nvPr/>
          </p:nvSpPr>
          <p:spPr>
            <a:xfrm>
              <a:off x="10178139" y="1645039"/>
              <a:ext cx="15845" cy="7922"/>
            </a:xfrm>
            <a:custGeom>
              <a:avLst/>
              <a:gdLst>
                <a:gd name="connsiteX0" fmla="*/ 1548 w 20442"/>
                <a:gd name="connsiteY0" fmla="*/ 3171 h 0"/>
                <a:gd name="connsiteX1" fmla="*/ 25977 w 20442"/>
                <a:gd name="connsiteY1" fmla="*/ 9508 h 0"/>
                <a:gd name="connsiteX2" fmla="*/ 27715 w 20442"/>
                <a:gd name="connsiteY2" fmla="*/ 6851 h 0"/>
                <a:gd name="connsiteX3" fmla="*/ 1752 w 20442"/>
                <a:gd name="connsiteY3" fmla="*/ 2 h 0"/>
                <a:gd name="connsiteX4" fmla="*/ 1548 w 20442"/>
                <a:gd name="connsiteY4" fmla="*/ 3171 h 0"/>
                <a:gd name="connsiteX5" fmla="*/ 1548 w 20442"/>
                <a:gd name="connsiteY5" fmla="*/ 3171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>
                  <a:moveTo>
                    <a:pt x="1548" y="3171"/>
                  </a:moveTo>
                  <a:cubicBezTo>
                    <a:pt x="10236" y="3682"/>
                    <a:pt x="18209" y="5726"/>
                    <a:pt x="25977" y="9508"/>
                  </a:cubicBezTo>
                  <a:cubicBezTo>
                    <a:pt x="27817" y="10428"/>
                    <a:pt x="29555" y="7771"/>
                    <a:pt x="27715" y="6851"/>
                  </a:cubicBezTo>
                  <a:cubicBezTo>
                    <a:pt x="19538" y="2762"/>
                    <a:pt x="10952" y="514"/>
                    <a:pt x="1752" y="2"/>
                  </a:cubicBezTo>
                  <a:cubicBezTo>
                    <a:pt x="-496" y="-100"/>
                    <a:pt x="-598" y="3069"/>
                    <a:pt x="1548" y="3171"/>
                  </a:cubicBezTo>
                  <a:lnTo>
                    <a:pt x="1548" y="317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B248DF3C-C109-4491-92D5-7806C6518D86}"/>
                </a:ext>
              </a:extLst>
            </p:cNvPr>
            <p:cNvSpPr/>
            <p:nvPr/>
          </p:nvSpPr>
          <p:spPr>
            <a:xfrm>
              <a:off x="10145468" y="1644638"/>
              <a:ext cx="39613" cy="7922"/>
            </a:xfrm>
            <a:custGeom>
              <a:avLst/>
              <a:gdLst>
                <a:gd name="connsiteX0" fmla="*/ 1075 w 51107"/>
                <a:gd name="connsiteY0" fmla="*/ 3075 h 10221"/>
                <a:gd name="connsiteX1" fmla="*/ 51263 w 51107"/>
                <a:gd name="connsiteY1" fmla="*/ 13398 h 10221"/>
                <a:gd name="connsiteX2" fmla="*/ 51365 w 51107"/>
                <a:gd name="connsiteY2" fmla="*/ 10332 h 10221"/>
                <a:gd name="connsiteX3" fmla="*/ 1996 w 51107"/>
                <a:gd name="connsiteY3" fmla="*/ 111 h 10221"/>
                <a:gd name="connsiteX4" fmla="*/ 1075 w 51107"/>
                <a:gd name="connsiteY4" fmla="*/ 3075 h 10221"/>
                <a:gd name="connsiteX5" fmla="*/ 1075 w 51107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075"/>
                  </a:moveTo>
                  <a:cubicBezTo>
                    <a:pt x="17225" y="8799"/>
                    <a:pt x="33988" y="12274"/>
                    <a:pt x="51263" y="13398"/>
                  </a:cubicBezTo>
                  <a:cubicBezTo>
                    <a:pt x="53409" y="13501"/>
                    <a:pt x="53409" y="10434"/>
                    <a:pt x="51365" y="10332"/>
                  </a:cubicBezTo>
                  <a:cubicBezTo>
                    <a:pt x="34397" y="9208"/>
                    <a:pt x="17941" y="5835"/>
                    <a:pt x="1996" y="111"/>
                  </a:cubicBezTo>
                  <a:cubicBezTo>
                    <a:pt x="54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172684FE-9BE9-4198-85D3-CA3E1980B759}"/>
                </a:ext>
              </a:extLst>
            </p:cNvPr>
            <p:cNvSpPr/>
            <p:nvPr/>
          </p:nvSpPr>
          <p:spPr>
            <a:xfrm>
              <a:off x="10311710" y="1516201"/>
              <a:ext cx="7922" cy="87149"/>
            </a:xfrm>
            <a:custGeom>
              <a:avLst/>
              <a:gdLst>
                <a:gd name="connsiteX0" fmla="*/ 19953 w 10221"/>
                <a:gd name="connsiteY0" fmla="*/ 120329 h 112435"/>
                <a:gd name="connsiteX1" fmla="*/ 3189 w 10221"/>
                <a:gd name="connsiteY1" fmla="*/ 1147 h 112435"/>
                <a:gd name="connsiteX2" fmla="*/ 21 w 10221"/>
                <a:gd name="connsiteY2" fmla="*/ 1863 h 112435"/>
                <a:gd name="connsiteX3" fmla="*/ 16784 w 10221"/>
                <a:gd name="connsiteY3" fmla="*/ 121045 h 112435"/>
                <a:gd name="connsiteX4" fmla="*/ 19953 w 10221"/>
                <a:gd name="connsiteY4" fmla="*/ 120329 h 112435"/>
                <a:gd name="connsiteX5" fmla="*/ 19953 w 10221"/>
                <a:gd name="connsiteY5" fmla="*/ 120329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12435">
                  <a:moveTo>
                    <a:pt x="19953" y="120329"/>
                  </a:moveTo>
                  <a:cubicBezTo>
                    <a:pt x="14331" y="80568"/>
                    <a:pt x="8811" y="40909"/>
                    <a:pt x="3189" y="1147"/>
                  </a:cubicBezTo>
                  <a:cubicBezTo>
                    <a:pt x="2883" y="-795"/>
                    <a:pt x="-286" y="-79"/>
                    <a:pt x="21" y="1863"/>
                  </a:cubicBezTo>
                  <a:cubicBezTo>
                    <a:pt x="5643" y="41624"/>
                    <a:pt x="11162" y="81283"/>
                    <a:pt x="16784" y="121045"/>
                  </a:cubicBezTo>
                  <a:cubicBezTo>
                    <a:pt x="17091" y="122987"/>
                    <a:pt x="20259" y="122271"/>
                    <a:pt x="19953" y="120329"/>
                  </a:cubicBezTo>
                  <a:lnTo>
                    <a:pt x="19953" y="1203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2C34F3B2-4AA7-40A8-BFC9-52A034404BDF}"/>
                </a:ext>
              </a:extLst>
            </p:cNvPr>
            <p:cNvSpPr/>
            <p:nvPr/>
          </p:nvSpPr>
          <p:spPr>
            <a:xfrm>
              <a:off x="10323978" y="1527135"/>
              <a:ext cx="15845" cy="79226"/>
            </a:xfrm>
            <a:custGeom>
              <a:avLst/>
              <a:gdLst>
                <a:gd name="connsiteX0" fmla="*/ 24056 w 20442"/>
                <a:gd name="connsiteY0" fmla="*/ 104690 h 102214"/>
                <a:gd name="connsiteX1" fmla="*/ 3205 w 20442"/>
                <a:gd name="connsiteY1" fmla="*/ 1147 h 102214"/>
                <a:gd name="connsiteX2" fmla="*/ 36 w 20442"/>
                <a:gd name="connsiteY2" fmla="*/ 1863 h 102214"/>
                <a:gd name="connsiteX3" fmla="*/ 20888 w 20442"/>
                <a:gd name="connsiteY3" fmla="*/ 105406 h 102214"/>
                <a:gd name="connsiteX4" fmla="*/ 24056 w 20442"/>
                <a:gd name="connsiteY4" fmla="*/ 104690 h 102214"/>
                <a:gd name="connsiteX5" fmla="*/ 24056 w 20442"/>
                <a:gd name="connsiteY5" fmla="*/ 104690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4">
                  <a:moveTo>
                    <a:pt x="24056" y="104690"/>
                  </a:moveTo>
                  <a:cubicBezTo>
                    <a:pt x="17106" y="70142"/>
                    <a:pt x="10155" y="35696"/>
                    <a:pt x="3205" y="1147"/>
                  </a:cubicBezTo>
                  <a:cubicBezTo>
                    <a:pt x="2796" y="-795"/>
                    <a:pt x="-373" y="-79"/>
                    <a:pt x="36" y="1863"/>
                  </a:cubicBezTo>
                  <a:cubicBezTo>
                    <a:pt x="6987" y="36411"/>
                    <a:pt x="13937" y="70857"/>
                    <a:pt x="20888" y="105406"/>
                  </a:cubicBezTo>
                  <a:cubicBezTo>
                    <a:pt x="21297" y="107450"/>
                    <a:pt x="24465" y="106735"/>
                    <a:pt x="24056" y="104690"/>
                  </a:cubicBezTo>
                  <a:lnTo>
                    <a:pt x="24056" y="10469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FBD521D9-C5B6-4A89-8CAA-13F01BB00590}"/>
                </a:ext>
              </a:extLst>
            </p:cNvPr>
            <p:cNvSpPr/>
            <p:nvPr/>
          </p:nvSpPr>
          <p:spPr>
            <a:xfrm>
              <a:off x="10339447" y="1534740"/>
              <a:ext cx="15845" cy="63381"/>
            </a:xfrm>
            <a:custGeom>
              <a:avLst/>
              <a:gdLst>
                <a:gd name="connsiteX0" fmla="*/ 26585 w 20442"/>
                <a:gd name="connsiteY0" fmla="*/ 85270 h 81771"/>
                <a:gd name="connsiteX1" fmla="*/ 3178 w 20442"/>
                <a:gd name="connsiteY1" fmla="*/ 1147 h 81771"/>
                <a:gd name="connsiteX2" fmla="*/ 9 w 20442"/>
                <a:gd name="connsiteY2" fmla="*/ 1863 h 81771"/>
                <a:gd name="connsiteX3" fmla="*/ 23723 w 20442"/>
                <a:gd name="connsiteY3" fmla="*/ 86803 h 81771"/>
                <a:gd name="connsiteX4" fmla="*/ 26585 w 20442"/>
                <a:gd name="connsiteY4" fmla="*/ 85270 h 81771"/>
                <a:gd name="connsiteX5" fmla="*/ 26585 w 20442"/>
                <a:gd name="connsiteY5" fmla="*/ 85270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81771">
                  <a:moveTo>
                    <a:pt x="26585" y="85270"/>
                  </a:moveTo>
                  <a:cubicBezTo>
                    <a:pt x="14524" y="58387"/>
                    <a:pt x="6653" y="30176"/>
                    <a:pt x="3178" y="1147"/>
                  </a:cubicBezTo>
                  <a:cubicBezTo>
                    <a:pt x="2974" y="-795"/>
                    <a:pt x="-195" y="-79"/>
                    <a:pt x="9" y="1863"/>
                  </a:cubicBezTo>
                  <a:cubicBezTo>
                    <a:pt x="3587" y="31198"/>
                    <a:pt x="11560" y="59614"/>
                    <a:pt x="23723" y="86803"/>
                  </a:cubicBezTo>
                  <a:cubicBezTo>
                    <a:pt x="24541" y="88541"/>
                    <a:pt x="27403" y="87109"/>
                    <a:pt x="26585" y="85270"/>
                  </a:cubicBezTo>
                  <a:lnTo>
                    <a:pt x="26585" y="8527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A3EEB6EC-7E33-4FE9-94E1-2AB093DF877A}"/>
                </a:ext>
              </a:extLst>
            </p:cNvPr>
            <p:cNvSpPr/>
            <p:nvPr/>
          </p:nvSpPr>
          <p:spPr>
            <a:xfrm>
              <a:off x="10356049" y="1551615"/>
              <a:ext cx="15845" cy="47536"/>
            </a:xfrm>
            <a:custGeom>
              <a:avLst/>
              <a:gdLst>
                <a:gd name="connsiteX0" fmla="*/ 23054 w 20442"/>
                <a:gd name="connsiteY0" fmla="*/ 61351 h 61328"/>
                <a:gd name="connsiteX1" fmla="*/ 3224 w 20442"/>
                <a:gd name="connsiteY1" fmla="*/ 1147 h 61328"/>
                <a:gd name="connsiteX2" fmla="*/ 56 w 20442"/>
                <a:gd name="connsiteY2" fmla="*/ 1863 h 61328"/>
                <a:gd name="connsiteX3" fmla="*/ 19885 w 20442"/>
                <a:gd name="connsiteY3" fmla="*/ 62067 h 61328"/>
                <a:gd name="connsiteX4" fmla="*/ 23054 w 20442"/>
                <a:gd name="connsiteY4" fmla="*/ 61351 h 61328"/>
                <a:gd name="connsiteX5" fmla="*/ 23054 w 20442"/>
                <a:gd name="connsiteY5" fmla="*/ 61351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3054" y="61351"/>
                  </a:moveTo>
                  <a:cubicBezTo>
                    <a:pt x="15285" y="41624"/>
                    <a:pt x="8744" y="21488"/>
                    <a:pt x="3224" y="1147"/>
                  </a:cubicBezTo>
                  <a:cubicBezTo>
                    <a:pt x="2713" y="-795"/>
                    <a:pt x="-455" y="-79"/>
                    <a:pt x="56" y="1863"/>
                  </a:cubicBezTo>
                  <a:cubicBezTo>
                    <a:pt x="5575" y="22306"/>
                    <a:pt x="12117" y="42340"/>
                    <a:pt x="19885" y="62067"/>
                  </a:cubicBezTo>
                  <a:cubicBezTo>
                    <a:pt x="20601" y="64009"/>
                    <a:pt x="23769" y="63294"/>
                    <a:pt x="23054" y="61351"/>
                  </a:cubicBezTo>
                  <a:lnTo>
                    <a:pt x="23054" y="613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5648AF34-156A-4339-A957-278E1EFF6070}"/>
                </a:ext>
              </a:extLst>
            </p:cNvPr>
            <p:cNvSpPr/>
            <p:nvPr/>
          </p:nvSpPr>
          <p:spPr>
            <a:xfrm>
              <a:off x="10363241" y="1542663"/>
              <a:ext cx="15845" cy="47536"/>
            </a:xfrm>
            <a:custGeom>
              <a:avLst/>
              <a:gdLst>
                <a:gd name="connsiteX0" fmla="*/ 22668 w 20442"/>
                <a:gd name="connsiteY0" fmla="*/ 59512 h 61328"/>
                <a:gd name="connsiteX1" fmla="*/ 3247 w 20442"/>
                <a:gd name="connsiteY1" fmla="*/ 1147 h 61328"/>
                <a:gd name="connsiteX2" fmla="*/ 78 w 20442"/>
                <a:gd name="connsiteY2" fmla="*/ 1863 h 61328"/>
                <a:gd name="connsiteX3" fmla="*/ 19499 w 20442"/>
                <a:gd name="connsiteY3" fmla="*/ 60227 h 61328"/>
                <a:gd name="connsiteX4" fmla="*/ 22668 w 20442"/>
                <a:gd name="connsiteY4" fmla="*/ 59512 h 61328"/>
                <a:gd name="connsiteX5" fmla="*/ 22668 w 20442"/>
                <a:gd name="connsiteY5" fmla="*/ 5951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61328">
                  <a:moveTo>
                    <a:pt x="22668" y="59512"/>
                  </a:moveTo>
                  <a:cubicBezTo>
                    <a:pt x="16228" y="40091"/>
                    <a:pt x="9687" y="20568"/>
                    <a:pt x="3247" y="1147"/>
                  </a:cubicBezTo>
                  <a:cubicBezTo>
                    <a:pt x="2634" y="-795"/>
                    <a:pt x="-535" y="-79"/>
                    <a:pt x="78" y="1863"/>
                  </a:cubicBezTo>
                  <a:cubicBezTo>
                    <a:pt x="6518" y="21283"/>
                    <a:pt x="13059" y="40806"/>
                    <a:pt x="19499" y="60227"/>
                  </a:cubicBezTo>
                  <a:cubicBezTo>
                    <a:pt x="20112" y="62169"/>
                    <a:pt x="23383" y="61454"/>
                    <a:pt x="22668" y="59512"/>
                  </a:cubicBezTo>
                  <a:lnTo>
                    <a:pt x="22668" y="595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3C6B39A3-A822-4D42-8F5E-D1103C7753F7}"/>
                </a:ext>
              </a:extLst>
            </p:cNvPr>
            <p:cNvSpPr/>
            <p:nvPr/>
          </p:nvSpPr>
          <p:spPr>
            <a:xfrm>
              <a:off x="10373025" y="1544464"/>
              <a:ext cx="15845" cy="39613"/>
            </a:xfrm>
            <a:custGeom>
              <a:avLst/>
              <a:gdLst>
                <a:gd name="connsiteX0" fmla="*/ 26093 w 20442"/>
                <a:gd name="connsiteY0" fmla="*/ 57700 h 51107"/>
                <a:gd name="connsiteX1" fmla="*/ 3299 w 20442"/>
                <a:gd name="connsiteY1" fmla="*/ 1073 h 51107"/>
                <a:gd name="connsiteX2" fmla="*/ 130 w 20442"/>
                <a:gd name="connsiteY2" fmla="*/ 1789 h 51107"/>
                <a:gd name="connsiteX3" fmla="*/ 22924 w 20442"/>
                <a:gd name="connsiteY3" fmla="*/ 58415 h 51107"/>
                <a:gd name="connsiteX4" fmla="*/ 26093 w 20442"/>
                <a:gd name="connsiteY4" fmla="*/ 57700 h 51107"/>
                <a:gd name="connsiteX5" fmla="*/ 26093 w 20442"/>
                <a:gd name="connsiteY5" fmla="*/ 57700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6093" y="57700"/>
                  </a:moveTo>
                  <a:cubicBezTo>
                    <a:pt x="18529" y="38790"/>
                    <a:pt x="10965" y="19983"/>
                    <a:pt x="3299" y="1073"/>
                  </a:cubicBezTo>
                  <a:cubicBezTo>
                    <a:pt x="2584" y="-767"/>
                    <a:pt x="-687" y="-51"/>
                    <a:pt x="130" y="1789"/>
                  </a:cubicBezTo>
                  <a:cubicBezTo>
                    <a:pt x="7694" y="20698"/>
                    <a:pt x="15258" y="39506"/>
                    <a:pt x="22924" y="58415"/>
                  </a:cubicBezTo>
                  <a:cubicBezTo>
                    <a:pt x="23640" y="60255"/>
                    <a:pt x="26910" y="59540"/>
                    <a:pt x="26093" y="57700"/>
                  </a:cubicBezTo>
                  <a:lnTo>
                    <a:pt x="26093" y="577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70FF3B4B-90CD-4DCA-8D67-E5995347E233}"/>
                </a:ext>
              </a:extLst>
            </p:cNvPr>
            <p:cNvSpPr/>
            <p:nvPr/>
          </p:nvSpPr>
          <p:spPr>
            <a:xfrm>
              <a:off x="10388938" y="1553366"/>
              <a:ext cx="7922" cy="23768"/>
            </a:xfrm>
            <a:custGeom>
              <a:avLst/>
              <a:gdLst>
                <a:gd name="connsiteX0" fmla="*/ 18953 w 10221"/>
                <a:gd name="connsiteY0" fmla="*/ 36708 h 30664"/>
                <a:gd name="connsiteX1" fmla="*/ 3007 w 10221"/>
                <a:gd name="connsiteY1" fmla="*/ 831 h 30664"/>
                <a:gd name="connsiteX2" fmla="*/ 145 w 10221"/>
                <a:gd name="connsiteY2" fmla="*/ 2364 h 30664"/>
                <a:gd name="connsiteX3" fmla="*/ 16091 w 10221"/>
                <a:gd name="connsiteY3" fmla="*/ 38241 h 30664"/>
                <a:gd name="connsiteX4" fmla="*/ 18953 w 10221"/>
                <a:gd name="connsiteY4" fmla="*/ 36708 h 30664"/>
                <a:gd name="connsiteX5" fmla="*/ 18953 w 10221"/>
                <a:gd name="connsiteY5" fmla="*/ 3670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30664">
                  <a:moveTo>
                    <a:pt x="18953" y="36708"/>
                  </a:moveTo>
                  <a:cubicBezTo>
                    <a:pt x="13638" y="24749"/>
                    <a:pt x="8322" y="12790"/>
                    <a:pt x="3007" y="831"/>
                  </a:cubicBezTo>
                  <a:cubicBezTo>
                    <a:pt x="2190" y="-1009"/>
                    <a:pt x="-672" y="524"/>
                    <a:pt x="145" y="2364"/>
                  </a:cubicBezTo>
                  <a:cubicBezTo>
                    <a:pt x="5460" y="14323"/>
                    <a:pt x="10776" y="26282"/>
                    <a:pt x="16091" y="38241"/>
                  </a:cubicBezTo>
                  <a:cubicBezTo>
                    <a:pt x="16908" y="39979"/>
                    <a:pt x="19770" y="38548"/>
                    <a:pt x="18953" y="36708"/>
                  </a:cubicBezTo>
                  <a:lnTo>
                    <a:pt x="18953" y="3670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D9C06F7F-3BBF-467B-81B9-373AA4070D61}"/>
                </a:ext>
              </a:extLst>
            </p:cNvPr>
            <p:cNvSpPr/>
            <p:nvPr/>
          </p:nvSpPr>
          <p:spPr>
            <a:xfrm>
              <a:off x="10410131" y="1564703"/>
              <a:ext cx="7922" cy="15845"/>
            </a:xfrm>
            <a:custGeom>
              <a:avLst/>
              <a:gdLst>
                <a:gd name="connsiteX0" fmla="*/ 12565 w 10221"/>
                <a:gd name="connsiteY0" fmla="*/ 20651 h 20442"/>
                <a:gd name="connsiteX1" fmla="*/ 3161 w 10221"/>
                <a:gd name="connsiteY1" fmla="*/ 719 h 20442"/>
                <a:gd name="connsiteX2" fmla="*/ 299 w 10221"/>
                <a:gd name="connsiteY2" fmla="*/ 2252 h 20442"/>
                <a:gd name="connsiteX3" fmla="*/ 9396 w 10221"/>
                <a:gd name="connsiteY3" fmla="*/ 21366 h 20442"/>
                <a:gd name="connsiteX4" fmla="*/ 12565 w 10221"/>
                <a:gd name="connsiteY4" fmla="*/ 20651 h 20442"/>
                <a:gd name="connsiteX5" fmla="*/ 12565 w 10221"/>
                <a:gd name="connsiteY5" fmla="*/ 2065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2565" y="20651"/>
                  </a:moveTo>
                  <a:cubicBezTo>
                    <a:pt x="10725" y="13394"/>
                    <a:pt x="7659" y="6852"/>
                    <a:pt x="3161" y="719"/>
                  </a:cubicBezTo>
                  <a:cubicBezTo>
                    <a:pt x="1935" y="-916"/>
                    <a:pt x="-927" y="515"/>
                    <a:pt x="299" y="2252"/>
                  </a:cubicBezTo>
                  <a:cubicBezTo>
                    <a:pt x="4694" y="8181"/>
                    <a:pt x="7556" y="14314"/>
                    <a:pt x="9396" y="21366"/>
                  </a:cubicBezTo>
                  <a:cubicBezTo>
                    <a:pt x="9907" y="23308"/>
                    <a:pt x="13076" y="22593"/>
                    <a:pt x="12565" y="20651"/>
                  </a:cubicBezTo>
                  <a:lnTo>
                    <a:pt x="12565" y="2065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F16C76AE-C6CF-412A-B04F-E84B89541417}"/>
                </a:ext>
              </a:extLst>
            </p:cNvPr>
            <p:cNvSpPr/>
            <p:nvPr/>
          </p:nvSpPr>
          <p:spPr>
            <a:xfrm>
              <a:off x="10322621" y="1023551"/>
              <a:ext cx="39613" cy="39613"/>
            </a:xfrm>
            <a:custGeom>
              <a:avLst/>
              <a:gdLst>
                <a:gd name="connsiteX0" fmla="*/ 2707 w 51107"/>
                <a:gd name="connsiteY0" fmla="*/ 56063 h 51107"/>
                <a:gd name="connsiteX1" fmla="*/ 56267 w 51107"/>
                <a:gd name="connsiteY1" fmla="*/ 2707 h 51107"/>
                <a:gd name="connsiteX2" fmla="*/ 54019 w 51107"/>
                <a:gd name="connsiteY2" fmla="*/ 458 h 51107"/>
                <a:gd name="connsiteX3" fmla="*/ 458 w 51107"/>
                <a:gd name="connsiteY3" fmla="*/ 53814 h 51107"/>
                <a:gd name="connsiteX4" fmla="*/ 2707 w 51107"/>
                <a:gd name="connsiteY4" fmla="*/ 56063 h 51107"/>
                <a:gd name="connsiteX5" fmla="*/ 2707 w 51107"/>
                <a:gd name="connsiteY5" fmla="*/ 5606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07" y="56063"/>
                  </a:moveTo>
                  <a:cubicBezTo>
                    <a:pt x="20083" y="37869"/>
                    <a:pt x="37971" y="20083"/>
                    <a:pt x="56267" y="2707"/>
                  </a:cubicBezTo>
                  <a:cubicBezTo>
                    <a:pt x="57801" y="1276"/>
                    <a:pt x="55450" y="-973"/>
                    <a:pt x="54019" y="458"/>
                  </a:cubicBezTo>
                  <a:cubicBezTo>
                    <a:pt x="35722" y="17835"/>
                    <a:pt x="17835" y="35620"/>
                    <a:pt x="458" y="53814"/>
                  </a:cubicBezTo>
                  <a:cubicBezTo>
                    <a:pt x="-973" y="55347"/>
                    <a:pt x="1276" y="57596"/>
                    <a:pt x="2707" y="56063"/>
                  </a:cubicBezTo>
                  <a:lnTo>
                    <a:pt x="2707" y="5606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6045E90E-71C5-41C4-8614-3CD1FC3F9B36}"/>
                </a:ext>
              </a:extLst>
            </p:cNvPr>
            <p:cNvSpPr/>
            <p:nvPr/>
          </p:nvSpPr>
          <p:spPr>
            <a:xfrm>
              <a:off x="10123696" y="987060"/>
              <a:ext cx="15845" cy="166375"/>
            </a:xfrm>
            <a:custGeom>
              <a:avLst/>
              <a:gdLst>
                <a:gd name="connsiteX0" fmla="*/ 5042 w 20442"/>
                <a:gd name="connsiteY0" fmla="*/ 218952 h 214650"/>
                <a:gd name="connsiteX1" fmla="*/ 30186 w 20442"/>
                <a:gd name="connsiteY1" fmla="*/ 1951 h 214650"/>
                <a:gd name="connsiteX2" fmla="*/ 27018 w 20442"/>
                <a:gd name="connsiteY2" fmla="*/ 1031 h 214650"/>
                <a:gd name="connsiteX3" fmla="*/ 1771 w 20442"/>
                <a:gd name="connsiteY3" fmla="*/ 218850 h 214650"/>
                <a:gd name="connsiteX4" fmla="*/ 5042 w 20442"/>
                <a:gd name="connsiteY4" fmla="*/ 218952 h 214650"/>
                <a:gd name="connsiteX5" fmla="*/ 5042 w 20442"/>
                <a:gd name="connsiteY5" fmla="*/ 218952 h 214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14650">
                  <a:moveTo>
                    <a:pt x="5042" y="218952"/>
                  </a:moveTo>
                  <a:cubicBezTo>
                    <a:pt x="-682" y="145767"/>
                    <a:pt x="7801" y="72172"/>
                    <a:pt x="30186" y="1951"/>
                  </a:cubicBezTo>
                  <a:cubicBezTo>
                    <a:pt x="30800" y="9"/>
                    <a:pt x="27631" y="-809"/>
                    <a:pt x="27018" y="1031"/>
                  </a:cubicBezTo>
                  <a:cubicBezTo>
                    <a:pt x="4531" y="71457"/>
                    <a:pt x="-4056" y="145460"/>
                    <a:pt x="1771" y="218850"/>
                  </a:cubicBezTo>
                  <a:cubicBezTo>
                    <a:pt x="1873" y="220792"/>
                    <a:pt x="5144" y="220894"/>
                    <a:pt x="5042" y="218952"/>
                  </a:cubicBezTo>
                  <a:lnTo>
                    <a:pt x="5042" y="21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64C00457-3E60-420A-9B0A-4C451FF8B4A5}"/>
                </a:ext>
              </a:extLst>
            </p:cNvPr>
            <p:cNvSpPr/>
            <p:nvPr/>
          </p:nvSpPr>
          <p:spPr>
            <a:xfrm>
              <a:off x="10136584" y="943789"/>
              <a:ext cx="39613" cy="182220"/>
            </a:xfrm>
            <a:custGeom>
              <a:avLst/>
              <a:gdLst>
                <a:gd name="connsiteX0" fmla="*/ 4156 w 51107"/>
                <a:gd name="connsiteY0" fmla="*/ 236039 h 235093"/>
                <a:gd name="connsiteX1" fmla="*/ 53832 w 51107"/>
                <a:gd name="connsiteY1" fmla="*/ 2377 h 235093"/>
                <a:gd name="connsiteX2" fmla="*/ 50970 w 51107"/>
                <a:gd name="connsiteY2" fmla="*/ 741 h 235093"/>
                <a:gd name="connsiteX3" fmla="*/ 783 w 51107"/>
                <a:gd name="connsiteY3" fmla="*/ 235835 h 235093"/>
                <a:gd name="connsiteX4" fmla="*/ 4156 w 51107"/>
                <a:gd name="connsiteY4" fmla="*/ 236039 h 235093"/>
                <a:gd name="connsiteX5" fmla="*/ 4156 w 51107"/>
                <a:gd name="connsiteY5" fmla="*/ 236039 h 235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35093">
                  <a:moveTo>
                    <a:pt x="4156" y="236039"/>
                  </a:moveTo>
                  <a:cubicBezTo>
                    <a:pt x="-648" y="155596"/>
                    <a:pt x="16524" y="74847"/>
                    <a:pt x="53832" y="2377"/>
                  </a:cubicBezTo>
                  <a:cubicBezTo>
                    <a:pt x="54752" y="639"/>
                    <a:pt x="51992" y="-996"/>
                    <a:pt x="50970" y="741"/>
                  </a:cubicBezTo>
                  <a:cubicBezTo>
                    <a:pt x="13355" y="73620"/>
                    <a:pt x="-4021" y="154881"/>
                    <a:pt x="783" y="235835"/>
                  </a:cubicBezTo>
                  <a:cubicBezTo>
                    <a:pt x="885" y="237981"/>
                    <a:pt x="4258" y="238083"/>
                    <a:pt x="4156" y="236039"/>
                  </a:cubicBezTo>
                  <a:lnTo>
                    <a:pt x="4156" y="2360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F3E78A74-AF0C-4213-8E9E-E96D44826F1C}"/>
                </a:ext>
              </a:extLst>
            </p:cNvPr>
            <p:cNvSpPr/>
            <p:nvPr/>
          </p:nvSpPr>
          <p:spPr>
            <a:xfrm>
              <a:off x="10144234" y="955312"/>
              <a:ext cx="31691" cy="142607"/>
            </a:xfrm>
            <a:custGeom>
              <a:avLst/>
              <a:gdLst>
                <a:gd name="connsiteX0" fmla="*/ 3280 w 40885"/>
                <a:gd name="connsiteY0" fmla="*/ 183660 h 183985"/>
                <a:gd name="connsiteX1" fmla="*/ 46414 w 40885"/>
                <a:gd name="connsiteY1" fmla="*/ 1923 h 183985"/>
                <a:gd name="connsiteX2" fmla="*/ 43246 w 40885"/>
                <a:gd name="connsiteY2" fmla="*/ 1003 h 183985"/>
                <a:gd name="connsiteX3" fmla="*/ 9 w 40885"/>
                <a:gd name="connsiteY3" fmla="*/ 183558 h 183985"/>
                <a:gd name="connsiteX4" fmla="*/ 3280 w 40885"/>
                <a:gd name="connsiteY4" fmla="*/ 183660 h 183985"/>
                <a:gd name="connsiteX5" fmla="*/ 3280 w 40885"/>
                <a:gd name="connsiteY5" fmla="*/ 183660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3660"/>
                  </a:moveTo>
                  <a:cubicBezTo>
                    <a:pt x="10231" y="121718"/>
                    <a:pt x="24745" y="60696"/>
                    <a:pt x="46414" y="1923"/>
                  </a:cubicBezTo>
                  <a:cubicBezTo>
                    <a:pt x="47130" y="83"/>
                    <a:pt x="43961" y="-837"/>
                    <a:pt x="43246" y="1003"/>
                  </a:cubicBezTo>
                  <a:cubicBezTo>
                    <a:pt x="21474" y="60083"/>
                    <a:pt x="6960" y="121309"/>
                    <a:pt x="9" y="183558"/>
                  </a:cubicBezTo>
                  <a:cubicBezTo>
                    <a:pt x="-195" y="185602"/>
                    <a:pt x="3076" y="185602"/>
                    <a:pt x="3280" y="183660"/>
                  </a:cubicBezTo>
                  <a:lnTo>
                    <a:pt x="3280" y="183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B4B243C5-3B93-4A71-B9B5-73B9A04CCC12}"/>
                </a:ext>
              </a:extLst>
            </p:cNvPr>
            <p:cNvSpPr/>
            <p:nvPr/>
          </p:nvSpPr>
          <p:spPr>
            <a:xfrm>
              <a:off x="10156752" y="952222"/>
              <a:ext cx="31691" cy="142607"/>
            </a:xfrm>
            <a:custGeom>
              <a:avLst/>
              <a:gdLst>
                <a:gd name="connsiteX0" fmla="*/ 3280 w 40885"/>
                <a:gd name="connsiteY0" fmla="*/ 187953 h 183985"/>
                <a:gd name="connsiteX1" fmla="*/ 46721 w 40885"/>
                <a:gd name="connsiteY1" fmla="*/ 1923 h 183985"/>
                <a:gd name="connsiteX2" fmla="*/ 43553 w 40885"/>
                <a:gd name="connsiteY2" fmla="*/ 1003 h 183985"/>
                <a:gd name="connsiteX3" fmla="*/ 9 w 40885"/>
                <a:gd name="connsiteY3" fmla="*/ 187851 h 183985"/>
                <a:gd name="connsiteX4" fmla="*/ 3280 w 40885"/>
                <a:gd name="connsiteY4" fmla="*/ 187953 h 183985"/>
                <a:gd name="connsiteX5" fmla="*/ 3280 w 40885"/>
                <a:gd name="connsiteY5" fmla="*/ 187953 h 1839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83985">
                  <a:moveTo>
                    <a:pt x="3280" y="187953"/>
                  </a:moveTo>
                  <a:cubicBezTo>
                    <a:pt x="9924" y="124580"/>
                    <a:pt x="24541" y="62127"/>
                    <a:pt x="46721" y="1923"/>
                  </a:cubicBezTo>
                  <a:cubicBezTo>
                    <a:pt x="47437" y="83"/>
                    <a:pt x="44268" y="-837"/>
                    <a:pt x="43553" y="1003"/>
                  </a:cubicBezTo>
                  <a:cubicBezTo>
                    <a:pt x="21270" y="61412"/>
                    <a:pt x="6755" y="124171"/>
                    <a:pt x="9" y="187851"/>
                  </a:cubicBezTo>
                  <a:cubicBezTo>
                    <a:pt x="-195" y="189793"/>
                    <a:pt x="3076" y="189895"/>
                    <a:pt x="3280" y="187953"/>
                  </a:cubicBezTo>
                  <a:lnTo>
                    <a:pt x="3280" y="1879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F4AB2DE8-C4F6-489E-846B-75930CA94F70}"/>
                </a:ext>
              </a:extLst>
            </p:cNvPr>
            <p:cNvSpPr/>
            <p:nvPr/>
          </p:nvSpPr>
          <p:spPr>
            <a:xfrm>
              <a:off x="10169091" y="969889"/>
              <a:ext cx="31691" cy="110917"/>
            </a:xfrm>
            <a:custGeom>
              <a:avLst/>
              <a:gdLst>
                <a:gd name="connsiteX0" fmla="*/ 3205 w 40885"/>
                <a:gd name="connsiteY0" fmla="*/ 145739 h 143100"/>
                <a:gd name="connsiteX1" fmla="*/ 45726 w 40885"/>
                <a:gd name="connsiteY1" fmla="*/ 1923 h 143100"/>
                <a:gd name="connsiteX2" fmla="*/ 42558 w 40885"/>
                <a:gd name="connsiteY2" fmla="*/ 1003 h 143100"/>
                <a:gd name="connsiteX3" fmla="*/ 36 w 40885"/>
                <a:gd name="connsiteY3" fmla="*/ 144819 h 143100"/>
                <a:gd name="connsiteX4" fmla="*/ 3205 w 40885"/>
                <a:gd name="connsiteY4" fmla="*/ 145739 h 143100"/>
                <a:gd name="connsiteX5" fmla="*/ 3205 w 40885"/>
                <a:gd name="connsiteY5" fmla="*/ 145739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05" y="145739"/>
                  </a:moveTo>
                  <a:cubicBezTo>
                    <a:pt x="13733" y="96880"/>
                    <a:pt x="27941" y="48839"/>
                    <a:pt x="45726" y="1923"/>
                  </a:cubicBezTo>
                  <a:cubicBezTo>
                    <a:pt x="46442" y="83"/>
                    <a:pt x="43273" y="-837"/>
                    <a:pt x="42558" y="1003"/>
                  </a:cubicBezTo>
                  <a:cubicBezTo>
                    <a:pt x="24772" y="47919"/>
                    <a:pt x="10564" y="95960"/>
                    <a:pt x="36" y="144819"/>
                  </a:cubicBezTo>
                  <a:cubicBezTo>
                    <a:pt x="-372" y="146863"/>
                    <a:pt x="2796" y="147681"/>
                    <a:pt x="3205" y="145739"/>
                  </a:cubicBezTo>
                  <a:lnTo>
                    <a:pt x="3205" y="14573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0EA3C12A-55CE-4151-87D6-6550B9E930AA}"/>
                </a:ext>
              </a:extLst>
            </p:cNvPr>
            <p:cNvSpPr/>
            <p:nvPr/>
          </p:nvSpPr>
          <p:spPr>
            <a:xfrm>
              <a:off x="10179215" y="974384"/>
              <a:ext cx="31691" cy="110917"/>
            </a:xfrm>
            <a:custGeom>
              <a:avLst/>
              <a:gdLst>
                <a:gd name="connsiteX0" fmla="*/ 3226 w 40885"/>
                <a:gd name="connsiteY0" fmla="*/ 142087 h 143100"/>
                <a:gd name="connsiteX1" fmla="*/ 43498 w 40885"/>
                <a:gd name="connsiteY1" fmla="*/ 1951 h 143100"/>
                <a:gd name="connsiteX2" fmla="*/ 40330 w 40885"/>
                <a:gd name="connsiteY2" fmla="*/ 1031 h 143100"/>
                <a:gd name="connsiteX3" fmla="*/ 57 w 40885"/>
                <a:gd name="connsiteY3" fmla="*/ 141167 h 143100"/>
                <a:gd name="connsiteX4" fmla="*/ 3226 w 40885"/>
                <a:gd name="connsiteY4" fmla="*/ 142087 h 143100"/>
                <a:gd name="connsiteX5" fmla="*/ 3226 w 40885"/>
                <a:gd name="connsiteY5" fmla="*/ 142087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43100">
                  <a:moveTo>
                    <a:pt x="3226" y="142087"/>
                  </a:moveTo>
                  <a:cubicBezTo>
                    <a:pt x="16616" y="95375"/>
                    <a:pt x="30108" y="48663"/>
                    <a:pt x="43498" y="1951"/>
                  </a:cubicBezTo>
                  <a:cubicBezTo>
                    <a:pt x="44010" y="9"/>
                    <a:pt x="40943" y="-809"/>
                    <a:pt x="40330" y="1031"/>
                  </a:cubicBezTo>
                  <a:cubicBezTo>
                    <a:pt x="26940" y="47743"/>
                    <a:pt x="13447" y="94455"/>
                    <a:pt x="57" y="141167"/>
                  </a:cubicBezTo>
                  <a:cubicBezTo>
                    <a:pt x="-454" y="143211"/>
                    <a:pt x="2613" y="144029"/>
                    <a:pt x="3226" y="142087"/>
                  </a:cubicBezTo>
                  <a:lnTo>
                    <a:pt x="3226" y="1420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B5EF4FA7-8775-4C4B-9473-A3A7B39684F2}"/>
                </a:ext>
              </a:extLst>
            </p:cNvPr>
            <p:cNvSpPr/>
            <p:nvPr/>
          </p:nvSpPr>
          <p:spPr>
            <a:xfrm>
              <a:off x="10196766" y="973578"/>
              <a:ext cx="31691" cy="79226"/>
            </a:xfrm>
            <a:custGeom>
              <a:avLst/>
              <a:gdLst>
                <a:gd name="connsiteX0" fmla="*/ 3273 w 40885"/>
                <a:gd name="connsiteY0" fmla="*/ 108067 h 102214"/>
                <a:gd name="connsiteX1" fmla="*/ 48452 w 40885"/>
                <a:gd name="connsiteY1" fmla="*/ 2377 h 102214"/>
                <a:gd name="connsiteX2" fmla="*/ 45590 w 40885"/>
                <a:gd name="connsiteY2" fmla="*/ 741 h 102214"/>
                <a:gd name="connsiteX3" fmla="*/ 104 w 40885"/>
                <a:gd name="connsiteY3" fmla="*/ 107147 h 102214"/>
                <a:gd name="connsiteX4" fmla="*/ 3273 w 40885"/>
                <a:gd name="connsiteY4" fmla="*/ 108067 h 102214"/>
                <a:gd name="connsiteX5" fmla="*/ 3273 w 40885"/>
                <a:gd name="connsiteY5" fmla="*/ 108067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4">
                  <a:moveTo>
                    <a:pt x="3273" y="108067"/>
                  </a:moveTo>
                  <a:cubicBezTo>
                    <a:pt x="16050" y="71985"/>
                    <a:pt x="31075" y="36721"/>
                    <a:pt x="48452" y="2377"/>
                  </a:cubicBezTo>
                  <a:cubicBezTo>
                    <a:pt x="49372" y="639"/>
                    <a:pt x="46510" y="-996"/>
                    <a:pt x="45590" y="741"/>
                  </a:cubicBezTo>
                  <a:cubicBezTo>
                    <a:pt x="28111" y="35290"/>
                    <a:pt x="12984" y="70861"/>
                    <a:pt x="104" y="107147"/>
                  </a:cubicBezTo>
                  <a:cubicBezTo>
                    <a:pt x="-611" y="109089"/>
                    <a:pt x="2558" y="109906"/>
                    <a:pt x="3273" y="108067"/>
                  </a:cubicBezTo>
                  <a:lnTo>
                    <a:pt x="3273" y="10806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E214D255-F479-4575-9B83-4DBE506D6DEF}"/>
                </a:ext>
              </a:extLst>
            </p:cNvPr>
            <p:cNvSpPr/>
            <p:nvPr/>
          </p:nvSpPr>
          <p:spPr>
            <a:xfrm>
              <a:off x="10190025" y="969941"/>
              <a:ext cx="39613" cy="71304"/>
            </a:xfrm>
            <a:custGeom>
              <a:avLst/>
              <a:gdLst>
                <a:gd name="connsiteX0" fmla="*/ 217 w 51107"/>
                <a:gd name="connsiteY0" fmla="*/ 2265 h 91992"/>
                <a:gd name="connsiteX1" fmla="*/ 55924 w 51107"/>
                <a:gd name="connsiteY1" fmla="*/ 92725 h 91992"/>
                <a:gd name="connsiteX2" fmla="*/ 58786 w 51107"/>
                <a:gd name="connsiteY2" fmla="*/ 91294 h 91992"/>
                <a:gd name="connsiteX3" fmla="*/ 3079 w 51107"/>
                <a:gd name="connsiteY3" fmla="*/ 834 h 91992"/>
                <a:gd name="connsiteX4" fmla="*/ 217 w 51107"/>
                <a:gd name="connsiteY4" fmla="*/ 2265 h 91992"/>
                <a:gd name="connsiteX5" fmla="*/ 217 w 51107"/>
                <a:gd name="connsiteY5" fmla="*/ 2265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91992">
                  <a:moveTo>
                    <a:pt x="217" y="2265"/>
                  </a:moveTo>
                  <a:cubicBezTo>
                    <a:pt x="18820" y="32418"/>
                    <a:pt x="37321" y="62571"/>
                    <a:pt x="55924" y="92725"/>
                  </a:cubicBezTo>
                  <a:cubicBezTo>
                    <a:pt x="56946" y="94462"/>
                    <a:pt x="59910" y="92929"/>
                    <a:pt x="58786" y="91294"/>
                  </a:cubicBezTo>
                  <a:cubicBezTo>
                    <a:pt x="40183" y="61140"/>
                    <a:pt x="21682" y="30987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67F0242F-C41B-4CF7-9302-805DAFEE3D65}"/>
                </a:ext>
              </a:extLst>
            </p:cNvPr>
            <p:cNvSpPr/>
            <p:nvPr/>
          </p:nvSpPr>
          <p:spPr>
            <a:xfrm>
              <a:off x="10182898" y="934210"/>
              <a:ext cx="47536" cy="79226"/>
            </a:xfrm>
            <a:custGeom>
              <a:avLst/>
              <a:gdLst>
                <a:gd name="connsiteX0" fmla="*/ 212 w 61328"/>
                <a:gd name="connsiteY0" fmla="*/ 2265 h 102214"/>
                <a:gd name="connsiteX1" fmla="*/ 62869 w 61328"/>
                <a:gd name="connsiteY1" fmla="*/ 102333 h 102214"/>
                <a:gd name="connsiteX2" fmla="*/ 65731 w 61328"/>
                <a:gd name="connsiteY2" fmla="*/ 100902 h 102214"/>
                <a:gd name="connsiteX3" fmla="*/ 3074 w 61328"/>
                <a:gd name="connsiteY3" fmla="*/ 834 h 102214"/>
                <a:gd name="connsiteX4" fmla="*/ 212 w 61328"/>
                <a:gd name="connsiteY4" fmla="*/ 2265 h 102214"/>
                <a:gd name="connsiteX5" fmla="*/ 212 w 61328"/>
                <a:gd name="connsiteY5" fmla="*/ 2265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4">
                  <a:moveTo>
                    <a:pt x="212" y="2265"/>
                  </a:moveTo>
                  <a:cubicBezTo>
                    <a:pt x="19019" y="36711"/>
                    <a:pt x="39973" y="70135"/>
                    <a:pt x="62869" y="102333"/>
                  </a:cubicBezTo>
                  <a:cubicBezTo>
                    <a:pt x="63993" y="103968"/>
                    <a:pt x="66958" y="102537"/>
                    <a:pt x="65731" y="100902"/>
                  </a:cubicBezTo>
                  <a:cubicBezTo>
                    <a:pt x="42835" y="68704"/>
                    <a:pt x="21881" y="35382"/>
                    <a:pt x="3074" y="834"/>
                  </a:cubicBezTo>
                  <a:cubicBezTo>
                    <a:pt x="2154" y="-1006"/>
                    <a:pt x="-811" y="527"/>
                    <a:pt x="212" y="2265"/>
                  </a:cubicBezTo>
                  <a:lnTo>
                    <a:pt x="212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37805BE8-9373-4F68-867C-D59CDAF29D0E}"/>
                </a:ext>
              </a:extLst>
            </p:cNvPr>
            <p:cNvSpPr/>
            <p:nvPr/>
          </p:nvSpPr>
          <p:spPr>
            <a:xfrm>
              <a:off x="10202622" y="941141"/>
              <a:ext cx="39613" cy="55458"/>
            </a:xfrm>
            <a:custGeom>
              <a:avLst/>
              <a:gdLst>
                <a:gd name="connsiteX0" fmla="*/ 114 w 51107"/>
                <a:gd name="connsiteY0" fmla="*/ 2318 h 71550"/>
                <a:gd name="connsiteX1" fmla="*/ 49892 w 51107"/>
                <a:gd name="connsiteY1" fmla="*/ 76424 h 71550"/>
                <a:gd name="connsiteX2" fmla="*/ 52243 w 51107"/>
                <a:gd name="connsiteY2" fmla="*/ 74277 h 71550"/>
                <a:gd name="connsiteX3" fmla="*/ 2976 w 51107"/>
                <a:gd name="connsiteY3" fmla="*/ 785 h 71550"/>
                <a:gd name="connsiteX4" fmla="*/ 114 w 51107"/>
                <a:gd name="connsiteY4" fmla="*/ 2318 h 71550"/>
                <a:gd name="connsiteX5" fmla="*/ 114 w 51107"/>
                <a:gd name="connsiteY5" fmla="*/ 23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71550">
                  <a:moveTo>
                    <a:pt x="114" y="2318"/>
                  </a:moveTo>
                  <a:cubicBezTo>
                    <a:pt x="11868" y="29814"/>
                    <a:pt x="28631" y="54754"/>
                    <a:pt x="49892" y="76424"/>
                  </a:cubicBezTo>
                  <a:cubicBezTo>
                    <a:pt x="51323" y="77855"/>
                    <a:pt x="53674" y="75708"/>
                    <a:pt x="52243" y="74277"/>
                  </a:cubicBezTo>
                  <a:cubicBezTo>
                    <a:pt x="31187" y="52710"/>
                    <a:pt x="14628" y="27974"/>
                    <a:pt x="2976" y="785"/>
                  </a:cubicBezTo>
                  <a:cubicBezTo>
                    <a:pt x="2260" y="-952"/>
                    <a:pt x="-602" y="479"/>
                    <a:pt x="114" y="2318"/>
                  </a:cubicBezTo>
                  <a:lnTo>
                    <a:pt x="114" y="23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E0FFEA89-618D-4B78-ADDD-B814EB0B3B78}"/>
                </a:ext>
              </a:extLst>
            </p:cNvPr>
            <p:cNvSpPr/>
            <p:nvPr/>
          </p:nvSpPr>
          <p:spPr>
            <a:xfrm>
              <a:off x="10213980" y="942195"/>
              <a:ext cx="31691" cy="47536"/>
            </a:xfrm>
            <a:custGeom>
              <a:avLst/>
              <a:gdLst>
                <a:gd name="connsiteX0" fmla="*/ 180 w 40885"/>
                <a:gd name="connsiteY0" fmla="*/ 2287 h 61328"/>
                <a:gd name="connsiteX1" fmla="*/ 42190 w 40885"/>
                <a:gd name="connsiteY1" fmla="*/ 60856 h 61328"/>
                <a:gd name="connsiteX2" fmla="*/ 44541 w 40885"/>
                <a:gd name="connsiteY2" fmla="*/ 58709 h 61328"/>
                <a:gd name="connsiteX3" fmla="*/ 3042 w 40885"/>
                <a:gd name="connsiteY3" fmla="*/ 856 h 61328"/>
                <a:gd name="connsiteX4" fmla="*/ 180 w 40885"/>
                <a:gd name="connsiteY4" fmla="*/ 2287 h 61328"/>
                <a:gd name="connsiteX5" fmla="*/ 180 w 40885"/>
                <a:gd name="connsiteY5" fmla="*/ 228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180" y="2287"/>
                  </a:moveTo>
                  <a:cubicBezTo>
                    <a:pt x="12037" y="23138"/>
                    <a:pt x="26142" y="42661"/>
                    <a:pt x="42190" y="60856"/>
                  </a:cubicBezTo>
                  <a:cubicBezTo>
                    <a:pt x="43519" y="62389"/>
                    <a:pt x="45870" y="60242"/>
                    <a:pt x="44541" y="58709"/>
                  </a:cubicBezTo>
                  <a:cubicBezTo>
                    <a:pt x="28698" y="40719"/>
                    <a:pt x="14899" y="21401"/>
                    <a:pt x="3042" y="856"/>
                  </a:cubicBezTo>
                  <a:cubicBezTo>
                    <a:pt x="2122" y="-984"/>
                    <a:pt x="-740" y="447"/>
                    <a:pt x="180" y="2287"/>
                  </a:cubicBezTo>
                  <a:lnTo>
                    <a:pt x="180" y="22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6FBBA7E8-0DC1-42B9-9E8E-D666068D721B}"/>
                </a:ext>
              </a:extLst>
            </p:cNvPr>
            <p:cNvSpPr/>
            <p:nvPr/>
          </p:nvSpPr>
          <p:spPr>
            <a:xfrm>
              <a:off x="10221002" y="935161"/>
              <a:ext cx="23768" cy="31691"/>
            </a:xfrm>
            <a:custGeom>
              <a:avLst/>
              <a:gdLst>
                <a:gd name="connsiteX0" fmla="*/ 217 w 30664"/>
                <a:gd name="connsiteY0" fmla="*/ 2265 h 40885"/>
                <a:gd name="connsiteX1" fmla="*/ 35481 w 30664"/>
                <a:gd name="connsiteY1" fmla="*/ 44377 h 40885"/>
                <a:gd name="connsiteX2" fmla="*/ 37832 w 30664"/>
                <a:gd name="connsiteY2" fmla="*/ 42231 h 40885"/>
                <a:gd name="connsiteX3" fmla="*/ 3079 w 30664"/>
                <a:gd name="connsiteY3" fmla="*/ 834 h 40885"/>
                <a:gd name="connsiteX4" fmla="*/ 217 w 30664"/>
                <a:gd name="connsiteY4" fmla="*/ 2265 h 40885"/>
                <a:gd name="connsiteX5" fmla="*/ 217 w 30664"/>
                <a:gd name="connsiteY5" fmla="*/ 226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65"/>
                  </a:moveTo>
                  <a:cubicBezTo>
                    <a:pt x="9314" y="18210"/>
                    <a:pt x="21171" y="32316"/>
                    <a:pt x="35481" y="44377"/>
                  </a:cubicBezTo>
                  <a:cubicBezTo>
                    <a:pt x="37014" y="45706"/>
                    <a:pt x="39467" y="43560"/>
                    <a:pt x="37832" y="42231"/>
                  </a:cubicBezTo>
                  <a:cubicBezTo>
                    <a:pt x="23726" y="30374"/>
                    <a:pt x="12074" y="16575"/>
                    <a:pt x="3079" y="834"/>
                  </a:cubicBezTo>
                  <a:cubicBezTo>
                    <a:pt x="2057" y="-1006"/>
                    <a:pt x="-805" y="527"/>
                    <a:pt x="217" y="2265"/>
                  </a:cubicBezTo>
                  <a:lnTo>
                    <a:pt x="217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1D644AC-2ED6-45CA-898A-BD828C1CB4A3}"/>
                </a:ext>
              </a:extLst>
            </p:cNvPr>
            <p:cNvSpPr/>
            <p:nvPr/>
          </p:nvSpPr>
          <p:spPr>
            <a:xfrm>
              <a:off x="10222349" y="919053"/>
              <a:ext cx="31691" cy="39613"/>
            </a:xfrm>
            <a:custGeom>
              <a:avLst/>
              <a:gdLst>
                <a:gd name="connsiteX0" fmla="*/ 217 w 40885"/>
                <a:gd name="connsiteY0" fmla="*/ 2298 h 51107"/>
                <a:gd name="connsiteX1" fmla="*/ 41921 w 40885"/>
                <a:gd name="connsiteY1" fmla="*/ 54018 h 51107"/>
                <a:gd name="connsiteX2" fmla="*/ 44272 w 40885"/>
                <a:gd name="connsiteY2" fmla="*/ 51872 h 51107"/>
                <a:gd name="connsiteX3" fmla="*/ 3079 w 40885"/>
                <a:gd name="connsiteY3" fmla="*/ 764 h 51107"/>
                <a:gd name="connsiteX4" fmla="*/ 217 w 40885"/>
                <a:gd name="connsiteY4" fmla="*/ 2298 h 51107"/>
                <a:gd name="connsiteX5" fmla="*/ 217 w 40885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298"/>
                  </a:moveTo>
                  <a:cubicBezTo>
                    <a:pt x="11869" y="21207"/>
                    <a:pt x="25771" y="38481"/>
                    <a:pt x="41921" y="54018"/>
                  </a:cubicBezTo>
                  <a:cubicBezTo>
                    <a:pt x="43454" y="55449"/>
                    <a:pt x="45805" y="53303"/>
                    <a:pt x="44272" y="51872"/>
                  </a:cubicBezTo>
                  <a:cubicBezTo>
                    <a:pt x="28326" y="36437"/>
                    <a:pt x="14527" y="19367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C4A09775-59A7-48DA-8EAA-1CE4F3FCF2B0}"/>
                </a:ext>
              </a:extLst>
            </p:cNvPr>
            <p:cNvSpPr/>
            <p:nvPr/>
          </p:nvSpPr>
          <p:spPr>
            <a:xfrm>
              <a:off x="10234888" y="919481"/>
              <a:ext cx="7922" cy="15845"/>
            </a:xfrm>
            <a:custGeom>
              <a:avLst/>
              <a:gdLst>
                <a:gd name="connsiteX0" fmla="*/ 292 w 10221"/>
                <a:gd name="connsiteY0" fmla="*/ 2153 h 20442"/>
                <a:gd name="connsiteX1" fmla="*/ 17260 w 10221"/>
                <a:gd name="connsiteY1" fmla="*/ 26480 h 20442"/>
                <a:gd name="connsiteX2" fmla="*/ 20122 w 10221"/>
                <a:gd name="connsiteY2" fmla="*/ 25049 h 20442"/>
                <a:gd name="connsiteX3" fmla="*/ 3154 w 10221"/>
                <a:gd name="connsiteY3" fmla="*/ 722 h 20442"/>
                <a:gd name="connsiteX4" fmla="*/ 292 w 10221"/>
                <a:gd name="connsiteY4" fmla="*/ 2153 h 20442"/>
                <a:gd name="connsiteX5" fmla="*/ 292 w 10221"/>
                <a:gd name="connsiteY5" fmla="*/ 21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92" y="2153"/>
                  </a:moveTo>
                  <a:cubicBezTo>
                    <a:pt x="5914" y="10228"/>
                    <a:pt x="11638" y="18405"/>
                    <a:pt x="17260" y="26480"/>
                  </a:cubicBezTo>
                  <a:cubicBezTo>
                    <a:pt x="18384" y="28116"/>
                    <a:pt x="21348" y="26685"/>
                    <a:pt x="20122" y="25049"/>
                  </a:cubicBezTo>
                  <a:cubicBezTo>
                    <a:pt x="14500" y="16974"/>
                    <a:pt x="8776" y="8797"/>
                    <a:pt x="3154" y="722"/>
                  </a:cubicBezTo>
                  <a:cubicBezTo>
                    <a:pt x="2029" y="-913"/>
                    <a:pt x="-935" y="518"/>
                    <a:pt x="292" y="2153"/>
                  </a:cubicBezTo>
                  <a:lnTo>
                    <a:pt x="292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5D785890-A4B7-414B-AAEB-FE6C290BE9EC}"/>
                </a:ext>
              </a:extLst>
            </p:cNvPr>
            <p:cNvSpPr/>
            <p:nvPr/>
          </p:nvSpPr>
          <p:spPr>
            <a:xfrm>
              <a:off x="10243793" y="921693"/>
              <a:ext cx="7922" cy="15845"/>
            </a:xfrm>
            <a:custGeom>
              <a:avLst/>
              <a:gdLst>
                <a:gd name="connsiteX0" fmla="*/ 251 w 10221"/>
                <a:gd name="connsiteY0" fmla="*/ 2265 h 20442"/>
                <a:gd name="connsiteX1" fmla="*/ 15889 w 10221"/>
                <a:gd name="connsiteY1" fmla="*/ 21175 h 20442"/>
                <a:gd name="connsiteX2" fmla="*/ 18241 w 10221"/>
                <a:gd name="connsiteY2" fmla="*/ 19028 h 20442"/>
                <a:gd name="connsiteX3" fmla="*/ 3113 w 10221"/>
                <a:gd name="connsiteY3" fmla="*/ 834 h 20442"/>
                <a:gd name="connsiteX4" fmla="*/ 251 w 10221"/>
                <a:gd name="connsiteY4" fmla="*/ 2265 h 20442"/>
                <a:gd name="connsiteX5" fmla="*/ 251 w 10221"/>
                <a:gd name="connsiteY5" fmla="*/ 22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51" y="2265"/>
                  </a:moveTo>
                  <a:cubicBezTo>
                    <a:pt x="4441" y="9420"/>
                    <a:pt x="9552" y="15655"/>
                    <a:pt x="15889" y="21175"/>
                  </a:cubicBezTo>
                  <a:cubicBezTo>
                    <a:pt x="17423" y="22503"/>
                    <a:pt x="19774" y="20357"/>
                    <a:pt x="18241" y="19028"/>
                  </a:cubicBezTo>
                  <a:cubicBezTo>
                    <a:pt x="12108" y="13713"/>
                    <a:pt x="7099" y="7682"/>
                    <a:pt x="3113" y="834"/>
                  </a:cubicBezTo>
                  <a:cubicBezTo>
                    <a:pt x="2090" y="-1006"/>
                    <a:pt x="-874" y="527"/>
                    <a:pt x="251" y="2265"/>
                  </a:cubicBezTo>
                  <a:lnTo>
                    <a:pt x="251" y="22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A9551FE7-E654-4ED1-9D7E-D57EB43E6634}"/>
                </a:ext>
              </a:extLst>
            </p:cNvPr>
            <p:cNvSpPr/>
            <p:nvPr/>
          </p:nvSpPr>
          <p:spPr>
            <a:xfrm>
              <a:off x="10242137" y="905256"/>
              <a:ext cx="15845" cy="15845"/>
            </a:xfrm>
            <a:custGeom>
              <a:avLst/>
              <a:gdLst>
                <a:gd name="connsiteX0" fmla="*/ 445 w 20442"/>
                <a:gd name="connsiteY0" fmla="*/ 2618 h 20442"/>
                <a:gd name="connsiteX1" fmla="*/ 18435 w 20442"/>
                <a:gd name="connsiteY1" fmla="*/ 23981 h 20442"/>
                <a:gd name="connsiteX2" fmla="*/ 21297 w 20442"/>
                <a:gd name="connsiteY2" fmla="*/ 22448 h 20442"/>
                <a:gd name="connsiteX3" fmla="*/ 2797 w 20442"/>
                <a:gd name="connsiteY3" fmla="*/ 472 h 20442"/>
                <a:gd name="connsiteX4" fmla="*/ 445 w 20442"/>
                <a:gd name="connsiteY4" fmla="*/ 2618 h 20442"/>
                <a:gd name="connsiteX5" fmla="*/ 445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8"/>
                  </a:moveTo>
                  <a:cubicBezTo>
                    <a:pt x="7089" y="9262"/>
                    <a:pt x="13120" y="16315"/>
                    <a:pt x="18435" y="23981"/>
                  </a:cubicBezTo>
                  <a:cubicBezTo>
                    <a:pt x="19560" y="25617"/>
                    <a:pt x="22422" y="24186"/>
                    <a:pt x="21297" y="22448"/>
                  </a:cubicBezTo>
                  <a:cubicBezTo>
                    <a:pt x="15778" y="14578"/>
                    <a:pt x="9645" y="7218"/>
                    <a:pt x="2797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78F819C9-86C4-43B2-886A-6C4D3254061B}"/>
                </a:ext>
              </a:extLst>
            </p:cNvPr>
            <p:cNvSpPr/>
            <p:nvPr/>
          </p:nvSpPr>
          <p:spPr>
            <a:xfrm>
              <a:off x="10256103" y="908436"/>
              <a:ext cx="7922" cy="7922"/>
            </a:xfrm>
            <a:custGeom>
              <a:avLst/>
              <a:gdLst>
                <a:gd name="connsiteX0" fmla="*/ 212 w 0"/>
                <a:gd name="connsiteY0" fmla="*/ 2298 h 10221"/>
                <a:gd name="connsiteX1" fmla="*/ 7060 w 0"/>
                <a:gd name="connsiteY1" fmla="*/ 14257 h 10221"/>
                <a:gd name="connsiteX2" fmla="*/ 9922 w 0"/>
                <a:gd name="connsiteY2" fmla="*/ 12723 h 10221"/>
                <a:gd name="connsiteX3" fmla="*/ 3074 w 0"/>
                <a:gd name="connsiteY3" fmla="*/ 764 h 10221"/>
                <a:gd name="connsiteX4" fmla="*/ 212 w 0"/>
                <a:gd name="connsiteY4" fmla="*/ 2298 h 10221"/>
                <a:gd name="connsiteX5" fmla="*/ 212 w 0"/>
                <a:gd name="connsiteY5" fmla="*/ 229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212" y="2298"/>
                  </a:moveTo>
                  <a:cubicBezTo>
                    <a:pt x="2460" y="6284"/>
                    <a:pt x="4811" y="10270"/>
                    <a:pt x="7060" y="14257"/>
                  </a:cubicBezTo>
                  <a:cubicBezTo>
                    <a:pt x="8082" y="15994"/>
                    <a:pt x="10944" y="14563"/>
                    <a:pt x="9922" y="12723"/>
                  </a:cubicBezTo>
                  <a:cubicBezTo>
                    <a:pt x="7673" y="8737"/>
                    <a:pt x="5322" y="4751"/>
                    <a:pt x="3074" y="764"/>
                  </a:cubicBezTo>
                  <a:cubicBezTo>
                    <a:pt x="2154" y="-973"/>
                    <a:pt x="-811" y="560"/>
                    <a:pt x="212" y="2298"/>
                  </a:cubicBezTo>
                  <a:lnTo>
                    <a:pt x="212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3DE39305-45E2-4C80-AC55-099ACB5FC10E}"/>
                </a:ext>
              </a:extLst>
            </p:cNvPr>
            <p:cNvSpPr/>
            <p:nvPr/>
          </p:nvSpPr>
          <p:spPr>
            <a:xfrm>
              <a:off x="10297823" y="1037850"/>
              <a:ext cx="71304" cy="79226"/>
            </a:xfrm>
            <a:custGeom>
              <a:avLst/>
              <a:gdLst>
                <a:gd name="connsiteX0" fmla="*/ 2707 w 91992"/>
                <a:gd name="connsiteY0" fmla="*/ 106509 h 102214"/>
                <a:gd name="connsiteX1" fmla="*/ 96949 w 91992"/>
                <a:gd name="connsiteY1" fmla="*/ 2761 h 102214"/>
                <a:gd name="connsiteX2" fmla="*/ 94700 w 91992"/>
                <a:gd name="connsiteY2" fmla="*/ 513 h 102214"/>
                <a:gd name="connsiteX3" fmla="*/ 458 w 91992"/>
                <a:gd name="connsiteY3" fmla="*/ 104260 h 102214"/>
                <a:gd name="connsiteX4" fmla="*/ 2707 w 91992"/>
                <a:gd name="connsiteY4" fmla="*/ 106509 h 102214"/>
                <a:gd name="connsiteX5" fmla="*/ 2707 w 91992"/>
                <a:gd name="connsiteY5" fmla="*/ 106509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02214">
                  <a:moveTo>
                    <a:pt x="2707" y="106509"/>
                  </a:moveTo>
                  <a:cubicBezTo>
                    <a:pt x="34087" y="71961"/>
                    <a:pt x="65569" y="37310"/>
                    <a:pt x="96949" y="2761"/>
                  </a:cubicBezTo>
                  <a:cubicBezTo>
                    <a:pt x="98278" y="1228"/>
                    <a:pt x="96029" y="-1021"/>
                    <a:pt x="94700" y="513"/>
                  </a:cubicBezTo>
                  <a:cubicBezTo>
                    <a:pt x="63320" y="35061"/>
                    <a:pt x="31838" y="69712"/>
                    <a:pt x="458" y="104260"/>
                  </a:cubicBezTo>
                  <a:cubicBezTo>
                    <a:pt x="-973" y="105691"/>
                    <a:pt x="1276" y="107940"/>
                    <a:pt x="2707" y="106509"/>
                  </a:cubicBezTo>
                  <a:lnTo>
                    <a:pt x="2707" y="1065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3807846E-3FF3-4DEB-8AA7-72DADFE96BF7}"/>
                </a:ext>
              </a:extLst>
            </p:cNvPr>
            <p:cNvSpPr/>
            <p:nvPr/>
          </p:nvSpPr>
          <p:spPr>
            <a:xfrm>
              <a:off x="10306300" y="1056216"/>
              <a:ext cx="63381" cy="71304"/>
            </a:xfrm>
            <a:custGeom>
              <a:avLst/>
              <a:gdLst>
                <a:gd name="connsiteX0" fmla="*/ 2707 w 81771"/>
                <a:gd name="connsiteY0" fmla="*/ 94976 h 91992"/>
                <a:gd name="connsiteX1" fmla="*/ 83559 w 81771"/>
                <a:gd name="connsiteY1" fmla="*/ 2268 h 91992"/>
                <a:gd name="connsiteX2" fmla="*/ 80799 w 81771"/>
                <a:gd name="connsiteY2" fmla="*/ 633 h 91992"/>
                <a:gd name="connsiteX3" fmla="*/ 458 w 81771"/>
                <a:gd name="connsiteY3" fmla="*/ 92728 h 91992"/>
                <a:gd name="connsiteX4" fmla="*/ 2707 w 81771"/>
                <a:gd name="connsiteY4" fmla="*/ 94976 h 91992"/>
                <a:gd name="connsiteX5" fmla="*/ 2707 w 81771"/>
                <a:gd name="connsiteY5" fmla="*/ 94976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91992">
                  <a:moveTo>
                    <a:pt x="2707" y="94976"/>
                  </a:moveTo>
                  <a:cubicBezTo>
                    <a:pt x="31634" y="65641"/>
                    <a:pt x="58618" y="34670"/>
                    <a:pt x="83559" y="2268"/>
                  </a:cubicBezTo>
                  <a:cubicBezTo>
                    <a:pt x="84785" y="633"/>
                    <a:pt x="82025" y="-901"/>
                    <a:pt x="80799" y="633"/>
                  </a:cubicBezTo>
                  <a:cubicBezTo>
                    <a:pt x="55961" y="32830"/>
                    <a:pt x="29181" y="63597"/>
                    <a:pt x="458" y="92728"/>
                  </a:cubicBezTo>
                  <a:cubicBezTo>
                    <a:pt x="-973" y="94261"/>
                    <a:pt x="1276" y="96510"/>
                    <a:pt x="2707" y="94976"/>
                  </a:cubicBezTo>
                  <a:lnTo>
                    <a:pt x="2707" y="949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1CCAD7DC-4E29-4F90-BB4D-4BAB7D5CF14B}"/>
                </a:ext>
              </a:extLst>
            </p:cNvPr>
            <p:cNvSpPr/>
            <p:nvPr/>
          </p:nvSpPr>
          <p:spPr>
            <a:xfrm>
              <a:off x="10321723" y="1078714"/>
              <a:ext cx="39613" cy="47536"/>
            </a:xfrm>
            <a:custGeom>
              <a:avLst/>
              <a:gdLst>
                <a:gd name="connsiteX0" fmla="*/ 3047 w 51107"/>
                <a:gd name="connsiteY0" fmla="*/ 66359 h 61328"/>
                <a:gd name="connsiteX1" fmla="*/ 25636 w 51107"/>
                <a:gd name="connsiteY1" fmla="*/ 33957 h 61328"/>
                <a:gd name="connsiteX2" fmla="*/ 39946 w 51107"/>
                <a:gd name="connsiteY2" fmla="*/ 16785 h 61328"/>
                <a:gd name="connsiteX3" fmla="*/ 52723 w 51107"/>
                <a:gd name="connsiteY3" fmla="*/ 3088 h 61328"/>
                <a:gd name="connsiteX4" fmla="*/ 55585 w 51107"/>
                <a:gd name="connsiteY4" fmla="*/ 4723 h 61328"/>
                <a:gd name="connsiteX5" fmla="*/ 53439 w 51107"/>
                <a:gd name="connsiteY5" fmla="*/ 21 h 61328"/>
                <a:gd name="connsiteX6" fmla="*/ 47306 w 51107"/>
                <a:gd name="connsiteY6" fmla="*/ 4110 h 61328"/>
                <a:gd name="connsiteX7" fmla="*/ 36675 w 51107"/>
                <a:gd name="connsiteY7" fmla="*/ 15660 h 61328"/>
                <a:gd name="connsiteX8" fmla="*/ 185 w 51107"/>
                <a:gd name="connsiteY8" fmla="*/ 64723 h 61328"/>
                <a:gd name="connsiteX9" fmla="*/ 3047 w 51107"/>
                <a:gd name="connsiteY9" fmla="*/ 66359 h 61328"/>
                <a:gd name="connsiteX10" fmla="*/ 3047 w 51107"/>
                <a:gd name="connsiteY10" fmla="*/ 6635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1107" h="61328">
                  <a:moveTo>
                    <a:pt x="3047" y="66359"/>
                  </a:moveTo>
                  <a:cubicBezTo>
                    <a:pt x="9998" y="55217"/>
                    <a:pt x="17561" y="44382"/>
                    <a:pt x="25636" y="33957"/>
                  </a:cubicBezTo>
                  <a:cubicBezTo>
                    <a:pt x="30236" y="28130"/>
                    <a:pt x="34938" y="22406"/>
                    <a:pt x="39946" y="16785"/>
                  </a:cubicBezTo>
                  <a:cubicBezTo>
                    <a:pt x="44035" y="12185"/>
                    <a:pt x="49146" y="7892"/>
                    <a:pt x="52723" y="3088"/>
                  </a:cubicBezTo>
                  <a:cubicBezTo>
                    <a:pt x="51497" y="4723"/>
                    <a:pt x="54359" y="6359"/>
                    <a:pt x="55585" y="4723"/>
                  </a:cubicBezTo>
                  <a:cubicBezTo>
                    <a:pt x="56914" y="2883"/>
                    <a:pt x="55994" y="430"/>
                    <a:pt x="53439" y="21"/>
                  </a:cubicBezTo>
                  <a:cubicBezTo>
                    <a:pt x="50883" y="-285"/>
                    <a:pt x="48532" y="2781"/>
                    <a:pt x="47306" y="4110"/>
                  </a:cubicBezTo>
                  <a:cubicBezTo>
                    <a:pt x="43626" y="7790"/>
                    <a:pt x="40151" y="11674"/>
                    <a:pt x="36675" y="15660"/>
                  </a:cubicBezTo>
                  <a:cubicBezTo>
                    <a:pt x="23183" y="31095"/>
                    <a:pt x="11020" y="47449"/>
                    <a:pt x="185" y="64723"/>
                  </a:cubicBezTo>
                  <a:cubicBezTo>
                    <a:pt x="-735" y="66461"/>
                    <a:pt x="2025" y="68096"/>
                    <a:pt x="3047" y="66359"/>
                  </a:cubicBezTo>
                  <a:lnTo>
                    <a:pt x="3047" y="6635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F67EA894-1C98-499C-ABAC-924B70ED41C0}"/>
                </a:ext>
              </a:extLst>
            </p:cNvPr>
            <p:cNvSpPr/>
            <p:nvPr/>
          </p:nvSpPr>
          <p:spPr>
            <a:xfrm>
              <a:off x="10336672" y="1082179"/>
              <a:ext cx="31691" cy="39613"/>
            </a:xfrm>
            <a:custGeom>
              <a:avLst/>
              <a:gdLst>
                <a:gd name="connsiteX0" fmla="*/ 2977 w 40885"/>
                <a:gd name="connsiteY0" fmla="*/ 55552 h 51107"/>
                <a:gd name="connsiteX1" fmla="*/ 42227 w 40885"/>
                <a:gd name="connsiteY1" fmla="*/ 2707 h 51107"/>
                <a:gd name="connsiteX2" fmla="*/ 39979 w 40885"/>
                <a:gd name="connsiteY2" fmla="*/ 458 h 51107"/>
                <a:gd name="connsiteX3" fmla="*/ 218 w 40885"/>
                <a:gd name="connsiteY3" fmla="*/ 53916 h 51107"/>
                <a:gd name="connsiteX4" fmla="*/ 2977 w 40885"/>
                <a:gd name="connsiteY4" fmla="*/ 55552 h 51107"/>
                <a:gd name="connsiteX5" fmla="*/ 2977 w 40885"/>
                <a:gd name="connsiteY5" fmla="*/ 555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977" y="55552"/>
                  </a:moveTo>
                  <a:cubicBezTo>
                    <a:pt x="13812" y="36438"/>
                    <a:pt x="26895" y="18755"/>
                    <a:pt x="42227" y="2707"/>
                  </a:cubicBezTo>
                  <a:cubicBezTo>
                    <a:pt x="43659" y="1276"/>
                    <a:pt x="41410" y="-973"/>
                    <a:pt x="39979" y="458"/>
                  </a:cubicBezTo>
                  <a:cubicBezTo>
                    <a:pt x="24442" y="16710"/>
                    <a:pt x="11155" y="34598"/>
                    <a:pt x="218" y="53916"/>
                  </a:cubicBezTo>
                  <a:cubicBezTo>
                    <a:pt x="-805" y="55756"/>
                    <a:pt x="2057" y="57290"/>
                    <a:pt x="2977" y="55552"/>
                  </a:cubicBezTo>
                  <a:lnTo>
                    <a:pt x="2977" y="555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266267E7-C38D-4607-AE3A-A8874EA5948C}"/>
                </a:ext>
              </a:extLst>
            </p:cNvPr>
            <p:cNvSpPr/>
            <p:nvPr/>
          </p:nvSpPr>
          <p:spPr>
            <a:xfrm>
              <a:off x="10434033" y="822053"/>
              <a:ext cx="87149" cy="23768"/>
            </a:xfrm>
            <a:custGeom>
              <a:avLst/>
              <a:gdLst>
                <a:gd name="connsiteX0" fmla="*/ 1149 w 112435"/>
                <a:gd name="connsiteY0" fmla="*/ 3047 h 30664"/>
                <a:gd name="connsiteX1" fmla="*/ 110824 w 112435"/>
                <a:gd name="connsiteY1" fmla="*/ 34120 h 30664"/>
                <a:gd name="connsiteX2" fmla="*/ 111744 w 112435"/>
                <a:gd name="connsiteY2" fmla="*/ 31156 h 30664"/>
                <a:gd name="connsiteX3" fmla="*/ 2068 w 112435"/>
                <a:gd name="connsiteY3" fmla="*/ 83 h 30664"/>
                <a:gd name="connsiteX4" fmla="*/ 1149 w 112435"/>
                <a:gd name="connsiteY4" fmla="*/ 3047 h 30664"/>
                <a:gd name="connsiteX5" fmla="*/ 1149 w 112435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30664">
                  <a:moveTo>
                    <a:pt x="1149" y="3047"/>
                  </a:moveTo>
                  <a:cubicBezTo>
                    <a:pt x="37435" y="14393"/>
                    <a:pt x="73925" y="24717"/>
                    <a:pt x="110824" y="34120"/>
                  </a:cubicBezTo>
                  <a:cubicBezTo>
                    <a:pt x="112869" y="34632"/>
                    <a:pt x="113789" y="31667"/>
                    <a:pt x="111744" y="31156"/>
                  </a:cubicBezTo>
                  <a:cubicBezTo>
                    <a:pt x="74845" y="21753"/>
                    <a:pt x="38354" y="11429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E2DBE78C-4567-44DF-9680-50D5145ED753}"/>
                </a:ext>
              </a:extLst>
            </p:cNvPr>
            <p:cNvSpPr/>
            <p:nvPr/>
          </p:nvSpPr>
          <p:spPr>
            <a:xfrm>
              <a:off x="10445996" y="817436"/>
              <a:ext cx="63381" cy="15845"/>
            </a:xfrm>
            <a:custGeom>
              <a:avLst/>
              <a:gdLst>
                <a:gd name="connsiteX0" fmla="*/ 1148 w 81771"/>
                <a:gd name="connsiteY0" fmla="*/ 3075 h 20442"/>
                <a:gd name="connsiteX1" fmla="*/ 83635 w 81771"/>
                <a:gd name="connsiteY1" fmla="*/ 29139 h 20442"/>
                <a:gd name="connsiteX2" fmla="*/ 84555 w 81771"/>
                <a:gd name="connsiteY2" fmla="*/ 26175 h 20442"/>
                <a:gd name="connsiteX3" fmla="*/ 2068 w 81771"/>
                <a:gd name="connsiteY3" fmla="*/ 111 h 20442"/>
                <a:gd name="connsiteX4" fmla="*/ 1148 w 81771"/>
                <a:gd name="connsiteY4" fmla="*/ 3075 h 20442"/>
                <a:gd name="connsiteX5" fmla="*/ 1148 w 81771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20442">
                  <a:moveTo>
                    <a:pt x="1148" y="3075"/>
                  </a:moveTo>
                  <a:cubicBezTo>
                    <a:pt x="28644" y="11763"/>
                    <a:pt x="56140" y="20451"/>
                    <a:pt x="83635" y="29139"/>
                  </a:cubicBezTo>
                  <a:cubicBezTo>
                    <a:pt x="85680" y="29753"/>
                    <a:pt x="86600" y="26789"/>
                    <a:pt x="84555" y="26175"/>
                  </a:cubicBezTo>
                  <a:cubicBezTo>
                    <a:pt x="57060" y="17487"/>
                    <a:pt x="29564" y="8799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3AF62123-C85E-45D4-8F67-BAB33A84F5BF}"/>
                </a:ext>
              </a:extLst>
            </p:cNvPr>
            <p:cNvSpPr/>
            <p:nvPr/>
          </p:nvSpPr>
          <p:spPr>
            <a:xfrm>
              <a:off x="10465163" y="816027"/>
              <a:ext cx="55458" cy="15845"/>
            </a:xfrm>
            <a:custGeom>
              <a:avLst/>
              <a:gdLst>
                <a:gd name="connsiteX0" fmla="*/ 849 w 71550"/>
                <a:gd name="connsiteY0" fmla="*/ 2746 h 20442"/>
                <a:gd name="connsiteX1" fmla="*/ 73932 w 71550"/>
                <a:gd name="connsiteY1" fmla="*/ 23087 h 20442"/>
                <a:gd name="connsiteX2" fmla="*/ 74034 w 71550"/>
                <a:gd name="connsiteY2" fmla="*/ 20021 h 20442"/>
                <a:gd name="connsiteX3" fmla="*/ 2586 w 71550"/>
                <a:gd name="connsiteY3" fmla="*/ 191 h 20442"/>
                <a:gd name="connsiteX4" fmla="*/ 849 w 71550"/>
                <a:gd name="connsiteY4" fmla="*/ 2746 h 20442"/>
                <a:gd name="connsiteX5" fmla="*/ 849 w 71550"/>
                <a:gd name="connsiteY5" fmla="*/ 274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49" y="2746"/>
                  </a:moveTo>
                  <a:cubicBezTo>
                    <a:pt x="23949" y="13274"/>
                    <a:pt x="48481" y="20123"/>
                    <a:pt x="73932" y="23087"/>
                  </a:cubicBezTo>
                  <a:cubicBezTo>
                    <a:pt x="75977" y="23292"/>
                    <a:pt x="76079" y="20225"/>
                    <a:pt x="74034" y="20021"/>
                  </a:cubicBezTo>
                  <a:cubicBezTo>
                    <a:pt x="49196" y="17159"/>
                    <a:pt x="25176" y="10412"/>
                    <a:pt x="2586" y="191"/>
                  </a:cubicBezTo>
                  <a:cubicBezTo>
                    <a:pt x="644" y="-729"/>
                    <a:pt x="-1093" y="1929"/>
                    <a:pt x="849" y="2746"/>
                  </a:cubicBezTo>
                  <a:lnTo>
                    <a:pt x="849" y="27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BFC48E3B-E81B-4126-92CB-C04613960797}"/>
                </a:ext>
              </a:extLst>
            </p:cNvPr>
            <p:cNvSpPr/>
            <p:nvPr/>
          </p:nvSpPr>
          <p:spPr>
            <a:xfrm>
              <a:off x="10490102" y="815115"/>
              <a:ext cx="39613" cy="7922"/>
            </a:xfrm>
            <a:custGeom>
              <a:avLst/>
              <a:gdLst>
                <a:gd name="connsiteX0" fmla="*/ 1075 w 51107"/>
                <a:gd name="connsiteY0" fmla="*/ 3105 h 10221"/>
                <a:gd name="connsiteX1" fmla="*/ 53818 w 51107"/>
                <a:gd name="connsiteY1" fmla="*/ 18029 h 10221"/>
                <a:gd name="connsiteX2" fmla="*/ 54738 w 51107"/>
                <a:gd name="connsiteY2" fmla="*/ 15065 h 10221"/>
                <a:gd name="connsiteX3" fmla="*/ 1996 w 51107"/>
                <a:gd name="connsiteY3" fmla="*/ 141 h 10221"/>
                <a:gd name="connsiteX4" fmla="*/ 1075 w 51107"/>
                <a:gd name="connsiteY4" fmla="*/ 3105 h 10221"/>
                <a:gd name="connsiteX5" fmla="*/ 1075 w 51107"/>
                <a:gd name="connsiteY5" fmla="*/ 310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10221">
                  <a:moveTo>
                    <a:pt x="1075" y="3105"/>
                  </a:moveTo>
                  <a:cubicBezTo>
                    <a:pt x="18043" y="10158"/>
                    <a:pt x="35624" y="15065"/>
                    <a:pt x="53818" y="18029"/>
                  </a:cubicBezTo>
                  <a:cubicBezTo>
                    <a:pt x="55862" y="18335"/>
                    <a:pt x="56782" y="15371"/>
                    <a:pt x="54738" y="15065"/>
                  </a:cubicBezTo>
                  <a:cubicBezTo>
                    <a:pt x="36544" y="12203"/>
                    <a:pt x="18963" y="7194"/>
                    <a:pt x="1996" y="141"/>
                  </a:cubicBezTo>
                  <a:cubicBezTo>
                    <a:pt x="54" y="-676"/>
                    <a:pt x="-867" y="2288"/>
                    <a:pt x="1075" y="3105"/>
                  </a:cubicBezTo>
                  <a:lnTo>
                    <a:pt x="1075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35C29B4E-564D-4BEA-867A-A0EC168631AC}"/>
                </a:ext>
              </a:extLst>
            </p:cNvPr>
            <p:cNvSpPr/>
            <p:nvPr/>
          </p:nvSpPr>
          <p:spPr>
            <a:xfrm>
              <a:off x="10499632" y="806900"/>
              <a:ext cx="55458" cy="15845"/>
            </a:xfrm>
            <a:custGeom>
              <a:avLst/>
              <a:gdLst>
                <a:gd name="connsiteX0" fmla="*/ 1149 w 71550"/>
                <a:gd name="connsiteY0" fmla="*/ 3075 h 20442"/>
                <a:gd name="connsiteX1" fmla="*/ 75356 w 71550"/>
                <a:gd name="connsiteY1" fmla="*/ 21984 h 20442"/>
                <a:gd name="connsiteX2" fmla="*/ 76276 w 71550"/>
                <a:gd name="connsiteY2" fmla="*/ 19020 h 20442"/>
                <a:gd name="connsiteX3" fmla="*/ 2068 w 71550"/>
                <a:gd name="connsiteY3" fmla="*/ 111 h 20442"/>
                <a:gd name="connsiteX4" fmla="*/ 1149 w 71550"/>
                <a:gd name="connsiteY4" fmla="*/ 3075 h 20442"/>
                <a:gd name="connsiteX5" fmla="*/ 1149 w 71550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9" y="3075"/>
                  </a:moveTo>
                  <a:cubicBezTo>
                    <a:pt x="25373" y="10945"/>
                    <a:pt x="50109" y="17283"/>
                    <a:pt x="75356" y="21984"/>
                  </a:cubicBezTo>
                  <a:cubicBezTo>
                    <a:pt x="77400" y="22393"/>
                    <a:pt x="78320" y="19429"/>
                    <a:pt x="76276" y="19020"/>
                  </a:cubicBezTo>
                  <a:cubicBezTo>
                    <a:pt x="51131" y="14318"/>
                    <a:pt x="26396" y="8083"/>
                    <a:pt x="2068" y="111"/>
                  </a:cubicBezTo>
                  <a:cubicBezTo>
                    <a:pt x="24" y="-605"/>
                    <a:pt x="-896" y="2359"/>
                    <a:pt x="1149" y="3075"/>
                  </a:cubicBezTo>
                  <a:lnTo>
                    <a:pt x="1149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56935E21-B3CB-4CE0-8AC7-DECE9BAD70CD}"/>
                </a:ext>
              </a:extLst>
            </p:cNvPr>
            <p:cNvSpPr/>
            <p:nvPr/>
          </p:nvSpPr>
          <p:spPr>
            <a:xfrm>
              <a:off x="10423654" y="829104"/>
              <a:ext cx="71304" cy="23768"/>
            </a:xfrm>
            <a:custGeom>
              <a:avLst/>
              <a:gdLst>
                <a:gd name="connsiteX0" fmla="*/ 1149 w 91992"/>
                <a:gd name="connsiteY0" fmla="*/ 3047 h 30664"/>
                <a:gd name="connsiteX1" fmla="*/ 99785 w 91992"/>
                <a:gd name="connsiteY1" fmla="*/ 30645 h 30664"/>
                <a:gd name="connsiteX2" fmla="*/ 100705 w 91992"/>
                <a:gd name="connsiteY2" fmla="*/ 27681 h 30664"/>
                <a:gd name="connsiteX3" fmla="*/ 2068 w 91992"/>
                <a:gd name="connsiteY3" fmla="*/ 83 h 30664"/>
                <a:gd name="connsiteX4" fmla="*/ 1149 w 91992"/>
                <a:gd name="connsiteY4" fmla="*/ 3047 h 30664"/>
                <a:gd name="connsiteX5" fmla="*/ 1149 w 91992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9" y="3047"/>
                  </a:moveTo>
                  <a:cubicBezTo>
                    <a:pt x="34062" y="12247"/>
                    <a:pt x="66872" y="21446"/>
                    <a:pt x="99785" y="30645"/>
                  </a:cubicBezTo>
                  <a:cubicBezTo>
                    <a:pt x="101830" y="31258"/>
                    <a:pt x="102749" y="28192"/>
                    <a:pt x="100705" y="27681"/>
                  </a:cubicBezTo>
                  <a:cubicBezTo>
                    <a:pt x="67792" y="18482"/>
                    <a:pt x="34981" y="9282"/>
                    <a:pt x="2068" y="83"/>
                  </a:cubicBezTo>
                  <a:cubicBezTo>
                    <a:pt x="24" y="-530"/>
                    <a:pt x="-896" y="2434"/>
                    <a:pt x="1149" y="3047"/>
                  </a:cubicBezTo>
                  <a:lnTo>
                    <a:pt x="1149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D91A0B82-4DA6-46C6-A594-6355D54302B0}"/>
                </a:ext>
              </a:extLst>
            </p:cNvPr>
            <p:cNvSpPr/>
            <p:nvPr/>
          </p:nvSpPr>
          <p:spPr>
            <a:xfrm>
              <a:off x="10420806" y="838453"/>
              <a:ext cx="55458" cy="7922"/>
            </a:xfrm>
            <a:custGeom>
              <a:avLst/>
              <a:gdLst>
                <a:gd name="connsiteX0" fmla="*/ 1142 w 71550"/>
                <a:gd name="connsiteY0" fmla="*/ 3047 h 10221"/>
                <a:gd name="connsiteX1" fmla="*/ 76270 w 71550"/>
                <a:gd name="connsiteY1" fmla="*/ 19913 h 10221"/>
                <a:gd name="connsiteX2" fmla="*/ 76372 w 71550"/>
                <a:gd name="connsiteY2" fmla="*/ 16846 h 10221"/>
                <a:gd name="connsiteX3" fmla="*/ 2165 w 71550"/>
                <a:gd name="connsiteY3" fmla="*/ 83 h 10221"/>
                <a:gd name="connsiteX4" fmla="*/ 1142 w 71550"/>
                <a:gd name="connsiteY4" fmla="*/ 3047 h 10221"/>
                <a:gd name="connsiteX5" fmla="*/ 1142 w 71550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">
                  <a:moveTo>
                    <a:pt x="1142" y="3047"/>
                  </a:moveTo>
                  <a:cubicBezTo>
                    <a:pt x="25469" y="11224"/>
                    <a:pt x="50614" y="16846"/>
                    <a:pt x="76270" y="19913"/>
                  </a:cubicBezTo>
                  <a:cubicBezTo>
                    <a:pt x="78416" y="20117"/>
                    <a:pt x="78416" y="17051"/>
                    <a:pt x="76372" y="16846"/>
                  </a:cubicBezTo>
                  <a:cubicBezTo>
                    <a:pt x="51023" y="13780"/>
                    <a:pt x="26185" y="8158"/>
                    <a:pt x="2165" y="83"/>
                  </a:cubicBezTo>
                  <a:cubicBezTo>
                    <a:pt x="18" y="-530"/>
                    <a:pt x="-902" y="2434"/>
                    <a:pt x="1142" y="3047"/>
                  </a:cubicBezTo>
                  <a:lnTo>
                    <a:pt x="1142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FAFB11FE-E61A-4CFB-88D3-C558C79BFDC1}"/>
                </a:ext>
              </a:extLst>
            </p:cNvPr>
            <p:cNvSpPr/>
            <p:nvPr/>
          </p:nvSpPr>
          <p:spPr>
            <a:xfrm>
              <a:off x="9829558" y="1734343"/>
              <a:ext cx="110917" cy="47536"/>
            </a:xfrm>
            <a:custGeom>
              <a:avLst/>
              <a:gdLst>
                <a:gd name="connsiteX0" fmla="*/ 1120 w 143100"/>
                <a:gd name="connsiteY0" fmla="*/ 3047 h 61328"/>
                <a:gd name="connsiteX1" fmla="*/ 146878 w 143100"/>
                <a:gd name="connsiteY1" fmla="*/ 62025 h 61328"/>
                <a:gd name="connsiteX2" fmla="*/ 148615 w 143100"/>
                <a:gd name="connsiteY2" fmla="*/ 59367 h 61328"/>
                <a:gd name="connsiteX3" fmla="*/ 2040 w 143100"/>
                <a:gd name="connsiteY3" fmla="*/ 83 h 61328"/>
                <a:gd name="connsiteX4" fmla="*/ 1120 w 143100"/>
                <a:gd name="connsiteY4" fmla="*/ 3047 h 61328"/>
                <a:gd name="connsiteX5" fmla="*/ 1120 w 143100"/>
                <a:gd name="connsiteY5" fmla="*/ 304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61328">
                  <a:moveTo>
                    <a:pt x="1120" y="3047"/>
                  </a:moveTo>
                  <a:cubicBezTo>
                    <a:pt x="51921" y="17459"/>
                    <a:pt x="100779" y="37187"/>
                    <a:pt x="146878" y="62025"/>
                  </a:cubicBezTo>
                  <a:cubicBezTo>
                    <a:pt x="148718" y="63047"/>
                    <a:pt x="150455" y="60390"/>
                    <a:pt x="148615" y="59367"/>
                  </a:cubicBezTo>
                  <a:cubicBezTo>
                    <a:pt x="102312" y="34427"/>
                    <a:pt x="53147" y="14598"/>
                    <a:pt x="2040" y="83"/>
                  </a:cubicBezTo>
                  <a:cubicBezTo>
                    <a:pt x="98" y="-530"/>
                    <a:pt x="-924" y="2434"/>
                    <a:pt x="1120" y="3047"/>
                  </a:cubicBezTo>
                  <a:lnTo>
                    <a:pt x="1120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F62CF510-D439-4E2B-96E0-DC123C26552E}"/>
                </a:ext>
              </a:extLst>
            </p:cNvPr>
            <p:cNvSpPr/>
            <p:nvPr/>
          </p:nvSpPr>
          <p:spPr>
            <a:xfrm>
              <a:off x="9850751" y="1726519"/>
              <a:ext cx="71304" cy="23768"/>
            </a:xfrm>
            <a:custGeom>
              <a:avLst/>
              <a:gdLst>
                <a:gd name="connsiteX0" fmla="*/ 1070 w 91992"/>
                <a:gd name="connsiteY0" fmla="*/ 3023 h 30664"/>
                <a:gd name="connsiteX1" fmla="*/ 98275 w 91992"/>
                <a:gd name="connsiteY1" fmla="*/ 38798 h 30664"/>
                <a:gd name="connsiteX2" fmla="*/ 100013 w 91992"/>
                <a:gd name="connsiteY2" fmla="*/ 36141 h 30664"/>
                <a:gd name="connsiteX3" fmla="*/ 2092 w 91992"/>
                <a:gd name="connsiteY3" fmla="*/ 59 h 30664"/>
                <a:gd name="connsiteX4" fmla="*/ 1070 w 91992"/>
                <a:gd name="connsiteY4" fmla="*/ 3023 h 30664"/>
                <a:gd name="connsiteX5" fmla="*/ 1070 w 91992"/>
                <a:gd name="connsiteY5" fmla="*/ 302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070" y="3023"/>
                  </a:moveTo>
                  <a:cubicBezTo>
                    <a:pt x="34289" y="12734"/>
                    <a:pt x="66793" y="24693"/>
                    <a:pt x="98275" y="38798"/>
                  </a:cubicBezTo>
                  <a:cubicBezTo>
                    <a:pt x="100115" y="39616"/>
                    <a:pt x="101853" y="36958"/>
                    <a:pt x="100013" y="36141"/>
                  </a:cubicBezTo>
                  <a:cubicBezTo>
                    <a:pt x="68327" y="21933"/>
                    <a:pt x="35618" y="9872"/>
                    <a:pt x="2092" y="59"/>
                  </a:cubicBezTo>
                  <a:cubicBezTo>
                    <a:pt x="47" y="-452"/>
                    <a:pt x="-872" y="2512"/>
                    <a:pt x="1070" y="3023"/>
                  </a:cubicBezTo>
                  <a:lnTo>
                    <a:pt x="107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37D36ADB-198D-43B0-8532-AA9F4CEC0845}"/>
                </a:ext>
              </a:extLst>
            </p:cNvPr>
            <p:cNvSpPr/>
            <p:nvPr/>
          </p:nvSpPr>
          <p:spPr>
            <a:xfrm>
              <a:off x="9846099" y="1715152"/>
              <a:ext cx="71304" cy="23768"/>
            </a:xfrm>
            <a:custGeom>
              <a:avLst/>
              <a:gdLst>
                <a:gd name="connsiteX0" fmla="*/ 1142 w 91992"/>
                <a:gd name="connsiteY0" fmla="*/ 3072 h 30664"/>
                <a:gd name="connsiteX1" fmla="*/ 98144 w 91992"/>
                <a:gd name="connsiteY1" fmla="*/ 39256 h 30664"/>
                <a:gd name="connsiteX2" fmla="*/ 99881 w 91992"/>
                <a:gd name="connsiteY2" fmla="*/ 36598 h 30664"/>
                <a:gd name="connsiteX3" fmla="*/ 2164 w 91992"/>
                <a:gd name="connsiteY3" fmla="*/ 108 h 30664"/>
                <a:gd name="connsiteX4" fmla="*/ 1142 w 91992"/>
                <a:gd name="connsiteY4" fmla="*/ 3072 h 30664"/>
                <a:gd name="connsiteX5" fmla="*/ 1142 w 91992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30664">
                  <a:moveTo>
                    <a:pt x="1142" y="3072"/>
                  </a:moveTo>
                  <a:cubicBezTo>
                    <a:pt x="34158" y="13600"/>
                    <a:pt x="66457" y="25661"/>
                    <a:pt x="98144" y="39256"/>
                  </a:cubicBezTo>
                  <a:cubicBezTo>
                    <a:pt x="100086" y="40073"/>
                    <a:pt x="101721" y="37416"/>
                    <a:pt x="99881" y="36598"/>
                  </a:cubicBezTo>
                  <a:cubicBezTo>
                    <a:pt x="67991" y="22799"/>
                    <a:pt x="35384" y="10636"/>
                    <a:pt x="2164" y="108"/>
                  </a:cubicBezTo>
                  <a:cubicBezTo>
                    <a:pt x="18" y="-608"/>
                    <a:pt x="-902" y="2459"/>
                    <a:pt x="1142" y="3072"/>
                  </a:cubicBezTo>
                  <a:lnTo>
                    <a:pt x="1142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3FA494F8-E4E2-4CEF-8DDE-43DF3DFB3F68}"/>
                </a:ext>
              </a:extLst>
            </p:cNvPr>
            <p:cNvSpPr/>
            <p:nvPr/>
          </p:nvSpPr>
          <p:spPr>
            <a:xfrm>
              <a:off x="9863682" y="1711268"/>
              <a:ext cx="55458" cy="23768"/>
            </a:xfrm>
            <a:custGeom>
              <a:avLst/>
              <a:gdLst>
                <a:gd name="connsiteX0" fmla="*/ 1148 w 71550"/>
                <a:gd name="connsiteY0" fmla="*/ 3075 h 30664"/>
                <a:gd name="connsiteX1" fmla="*/ 78525 w 71550"/>
                <a:gd name="connsiteY1" fmla="*/ 31184 h 30664"/>
                <a:gd name="connsiteX2" fmla="*/ 79445 w 71550"/>
                <a:gd name="connsiteY2" fmla="*/ 28220 h 30664"/>
                <a:gd name="connsiteX3" fmla="*/ 2068 w 71550"/>
                <a:gd name="connsiteY3" fmla="*/ 111 h 30664"/>
                <a:gd name="connsiteX4" fmla="*/ 1148 w 71550"/>
                <a:gd name="connsiteY4" fmla="*/ 3075 h 30664"/>
                <a:gd name="connsiteX5" fmla="*/ 1148 w 71550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1148" y="3075"/>
                  </a:moveTo>
                  <a:cubicBezTo>
                    <a:pt x="26907" y="12478"/>
                    <a:pt x="52767" y="21780"/>
                    <a:pt x="78525" y="31184"/>
                  </a:cubicBezTo>
                  <a:cubicBezTo>
                    <a:pt x="80467" y="31899"/>
                    <a:pt x="81387" y="28935"/>
                    <a:pt x="79445" y="28220"/>
                  </a:cubicBezTo>
                  <a:cubicBezTo>
                    <a:pt x="53687" y="18816"/>
                    <a:pt x="27826" y="9514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1F07113F-9C6A-4515-81BA-B88E7BEB41CE}"/>
                </a:ext>
              </a:extLst>
            </p:cNvPr>
            <p:cNvSpPr/>
            <p:nvPr/>
          </p:nvSpPr>
          <p:spPr>
            <a:xfrm>
              <a:off x="9888537" y="1710452"/>
              <a:ext cx="39613" cy="15845"/>
            </a:xfrm>
            <a:custGeom>
              <a:avLst/>
              <a:gdLst>
                <a:gd name="connsiteX0" fmla="*/ 1076 w 51107"/>
                <a:gd name="connsiteY0" fmla="*/ 3105 h 20442"/>
                <a:gd name="connsiteX1" fmla="*/ 58725 w 51107"/>
                <a:gd name="connsiteY1" fmla="*/ 21504 h 20442"/>
                <a:gd name="connsiteX2" fmla="*/ 59644 w 51107"/>
                <a:gd name="connsiteY2" fmla="*/ 18540 h 20442"/>
                <a:gd name="connsiteX3" fmla="*/ 1995 w 51107"/>
                <a:gd name="connsiteY3" fmla="*/ 141 h 20442"/>
                <a:gd name="connsiteX4" fmla="*/ 1076 w 51107"/>
                <a:gd name="connsiteY4" fmla="*/ 3105 h 20442"/>
                <a:gd name="connsiteX5" fmla="*/ 1076 w 51107"/>
                <a:gd name="connsiteY5" fmla="*/ 310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076" y="3105"/>
                  </a:moveTo>
                  <a:cubicBezTo>
                    <a:pt x="19781" y="10567"/>
                    <a:pt x="38997" y="16700"/>
                    <a:pt x="58725" y="21504"/>
                  </a:cubicBezTo>
                  <a:cubicBezTo>
                    <a:pt x="60769" y="22015"/>
                    <a:pt x="61689" y="19051"/>
                    <a:pt x="59644" y="18540"/>
                  </a:cubicBezTo>
                  <a:cubicBezTo>
                    <a:pt x="39917" y="13838"/>
                    <a:pt x="20701" y="7705"/>
                    <a:pt x="1995" y="141"/>
                  </a:cubicBezTo>
                  <a:cubicBezTo>
                    <a:pt x="53" y="-676"/>
                    <a:pt x="-867" y="2288"/>
                    <a:pt x="1076" y="3105"/>
                  </a:cubicBezTo>
                  <a:lnTo>
                    <a:pt x="1076" y="310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E6065DE3-3359-408A-BD2A-77640427A788}"/>
                </a:ext>
              </a:extLst>
            </p:cNvPr>
            <p:cNvSpPr/>
            <p:nvPr/>
          </p:nvSpPr>
          <p:spPr>
            <a:xfrm>
              <a:off x="9896749" y="1680527"/>
              <a:ext cx="55458" cy="39613"/>
            </a:xfrm>
            <a:custGeom>
              <a:avLst/>
              <a:gdLst>
                <a:gd name="connsiteX0" fmla="*/ 497 w 71550"/>
                <a:gd name="connsiteY0" fmla="*/ 2565 h 51107"/>
                <a:gd name="connsiteX1" fmla="*/ 72763 w 71550"/>
                <a:gd name="connsiteY1" fmla="*/ 52241 h 51107"/>
                <a:gd name="connsiteX2" fmla="*/ 74501 w 71550"/>
                <a:gd name="connsiteY2" fmla="*/ 49583 h 51107"/>
                <a:gd name="connsiteX3" fmla="*/ 2951 w 71550"/>
                <a:gd name="connsiteY3" fmla="*/ 418 h 51107"/>
                <a:gd name="connsiteX4" fmla="*/ 497 w 71550"/>
                <a:gd name="connsiteY4" fmla="*/ 2565 h 51107"/>
                <a:gd name="connsiteX5" fmla="*/ 497 w 71550"/>
                <a:gd name="connsiteY5" fmla="*/ 256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497" y="2565"/>
                  </a:moveTo>
                  <a:cubicBezTo>
                    <a:pt x="22269" y="21985"/>
                    <a:pt x="46494" y="38646"/>
                    <a:pt x="72763" y="52241"/>
                  </a:cubicBezTo>
                  <a:cubicBezTo>
                    <a:pt x="74603" y="53161"/>
                    <a:pt x="76340" y="50503"/>
                    <a:pt x="74501" y="49583"/>
                  </a:cubicBezTo>
                  <a:cubicBezTo>
                    <a:pt x="48436" y="36091"/>
                    <a:pt x="24518" y="19634"/>
                    <a:pt x="2951" y="418"/>
                  </a:cubicBezTo>
                  <a:cubicBezTo>
                    <a:pt x="1315" y="-911"/>
                    <a:pt x="-1036" y="1236"/>
                    <a:pt x="497" y="2565"/>
                  </a:cubicBezTo>
                  <a:lnTo>
                    <a:pt x="497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F8DF55B3-3E3A-4662-941E-A93E0E0D9E9E}"/>
                </a:ext>
              </a:extLst>
            </p:cNvPr>
            <p:cNvSpPr/>
            <p:nvPr/>
          </p:nvSpPr>
          <p:spPr>
            <a:xfrm>
              <a:off x="9903677" y="1669990"/>
              <a:ext cx="47536" cy="31691"/>
            </a:xfrm>
            <a:custGeom>
              <a:avLst/>
              <a:gdLst>
                <a:gd name="connsiteX0" fmla="*/ 657 w 61328"/>
                <a:gd name="connsiteY0" fmla="*/ 2973 h 40885"/>
                <a:gd name="connsiteX1" fmla="*/ 60861 w 61328"/>
                <a:gd name="connsiteY1" fmla="*/ 40997 h 40885"/>
                <a:gd name="connsiteX2" fmla="*/ 62599 w 61328"/>
                <a:gd name="connsiteY2" fmla="*/ 38340 h 40885"/>
                <a:gd name="connsiteX3" fmla="*/ 2395 w 61328"/>
                <a:gd name="connsiteY3" fmla="*/ 316 h 40885"/>
                <a:gd name="connsiteX4" fmla="*/ 657 w 61328"/>
                <a:gd name="connsiteY4" fmla="*/ 2973 h 40885"/>
                <a:gd name="connsiteX5" fmla="*/ 657 w 61328"/>
                <a:gd name="connsiteY5" fmla="*/ 297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657" y="2973"/>
                  </a:moveTo>
                  <a:cubicBezTo>
                    <a:pt x="19669" y="17181"/>
                    <a:pt x="39703" y="29856"/>
                    <a:pt x="60861" y="40997"/>
                  </a:cubicBezTo>
                  <a:cubicBezTo>
                    <a:pt x="62701" y="41917"/>
                    <a:pt x="64439" y="39362"/>
                    <a:pt x="62599" y="38340"/>
                  </a:cubicBezTo>
                  <a:cubicBezTo>
                    <a:pt x="41441" y="27198"/>
                    <a:pt x="21304" y="14524"/>
                    <a:pt x="2395" y="316"/>
                  </a:cubicBezTo>
                  <a:cubicBezTo>
                    <a:pt x="759" y="-911"/>
                    <a:pt x="-979" y="1747"/>
                    <a:pt x="657" y="2973"/>
                  </a:cubicBezTo>
                  <a:lnTo>
                    <a:pt x="65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2179DAE8-B30E-4B6B-B2DB-D499EE2F1FF6}"/>
                </a:ext>
              </a:extLst>
            </p:cNvPr>
            <p:cNvSpPr/>
            <p:nvPr/>
          </p:nvSpPr>
          <p:spPr>
            <a:xfrm>
              <a:off x="9923801" y="1668406"/>
              <a:ext cx="23768" cy="15845"/>
            </a:xfrm>
            <a:custGeom>
              <a:avLst/>
              <a:gdLst>
                <a:gd name="connsiteX0" fmla="*/ 554 w 30664"/>
                <a:gd name="connsiteY0" fmla="*/ 2565 h 20442"/>
                <a:gd name="connsiteX1" fmla="*/ 33365 w 30664"/>
                <a:gd name="connsiteY1" fmla="*/ 23927 h 20442"/>
                <a:gd name="connsiteX2" fmla="*/ 35102 w 30664"/>
                <a:gd name="connsiteY2" fmla="*/ 21270 h 20442"/>
                <a:gd name="connsiteX3" fmla="*/ 2905 w 30664"/>
                <a:gd name="connsiteY3" fmla="*/ 418 h 20442"/>
                <a:gd name="connsiteX4" fmla="*/ 554 w 30664"/>
                <a:gd name="connsiteY4" fmla="*/ 2565 h 20442"/>
                <a:gd name="connsiteX5" fmla="*/ 554 w 30664"/>
                <a:gd name="connsiteY5" fmla="*/ 25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554" y="2565"/>
                  </a:moveTo>
                  <a:cubicBezTo>
                    <a:pt x="10980" y="10435"/>
                    <a:pt x="21814" y="17590"/>
                    <a:pt x="33365" y="23927"/>
                  </a:cubicBezTo>
                  <a:cubicBezTo>
                    <a:pt x="35205" y="24950"/>
                    <a:pt x="36942" y="22292"/>
                    <a:pt x="35102" y="21270"/>
                  </a:cubicBezTo>
                  <a:cubicBezTo>
                    <a:pt x="23859" y="15035"/>
                    <a:pt x="13126" y="8084"/>
                    <a:pt x="2905" y="418"/>
                  </a:cubicBezTo>
                  <a:cubicBezTo>
                    <a:pt x="1269" y="-911"/>
                    <a:pt x="-1082" y="1236"/>
                    <a:pt x="554" y="2565"/>
                  </a:cubicBezTo>
                  <a:lnTo>
                    <a:pt x="554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E930EBD9-0682-4CC7-8BDB-3AFE1E542E13}"/>
                </a:ext>
              </a:extLst>
            </p:cNvPr>
            <p:cNvSpPr/>
            <p:nvPr/>
          </p:nvSpPr>
          <p:spPr>
            <a:xfrm>
              <a:off x="9938760" y="1665791"/>
              <a:ext cx="23768" cy="15845"/>
            </a:xfrm>
            <a:custGeom>
              <a:avLst/>
              <a:gdLst>
                <a:gd name="connsiteX0" fmla="*/ 675 w 30664"/>
                <a:gd name="connsiteY0" fmla="*/ 2973 h 20442"/>
                <a:gd name="connsiteX1" fmla="*/ 29192 w 30664"/>
                <a:gd name="connsiteY1" fmla="*/ 23416 h 20442"/>
                <a:gd name="connsiteX2" fmla="*/ 30930 w 30664"/>
                <a:gd name="connsiteY2" fmla="*/ 20759 h 20442"/>
                <a:gd name="connsiteX3" fmla="*/ 2412 w 30664"/>
                <a:gd name="connsiteY3" fmla="*/ 316 h 20442"/>
                <a:gd name="connsiteX4" fmla="*/ 675 w 30664"/>
                <a:gd name="connsiteY4" fmla="*/ 2973 h 20442"/>
                <a:gd name="connsiteX5" fmla="*/ 675 w 30664"/>
                <a:gd name="connsiteY5" fmla="*/ 297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5" y="2973"/>
                  </a:moveTo>
                  <a:cubicBezTo>
                    <a:pt x="10181" y="9822"/>
                    <a:pt x="19687" y="16568"/>
                    <a:pt x="29192" y="23416"/>
                  </a:cubicBezTo>
                  <a:cubicBezTo>
                    <a:pt x="30930" y="24643"/>
                    <a:pt x="32566" y="21985"/>
                    <a:pt x="30930" y="20759"/>
                  </a:cubicBezTo>
                  <a:cubicBezTo>
                    <a:pt x="21424" y="13910"/>
                    <a:pt x="11918" y="7164"/>
                    <a:pt x="2412" y="316"/>
                  </a:cubicBezTo>
                  <a:cubicBezTo>
                    <a:pt x="675" y="-911"/>
                    <a:pt x="-961" y="1747"/>
                    <a:pt x="675" y="2973"/>
                  </a:cubicBezTo>
                  <a:lnTo>
                    <a:pt x="675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53F80276-F698-4472-B449-3F5ED40069CF}"/>
                </a:ext>
              </a:extLst>
            </p:cNvPr>
            <p:cNvSpPr/>
            <p:nvPr/>
          </p:nvSpPr>
          <p:spPr>
            <a:xfrm>
              <a:off x="10563725" y="1494257"/>
              <a:ext cx="118840" cy="7922"/>
            </a:xfrm>
            <a:custGeom>
              <a:avLst/>
              <a:gdLst>
                <a:gd name="connsiteX0" fmla="*/ 1560 w 153321"/>
                <a:gd name="connsiteY0" fmla="*/ 17500 h 10221"/>
                <a:gd name="connsiteX1" fmla="*/ 160810 w 153321"/>
                <a:gd name="connsiteY1" fmla="*/ 3088 h 10221"/>
                <a:gd name="connsiteX2" fmla="*/ 160094 w 153321"/>
                <a:gd name="connsiteY2" fmla="*/ 22 h 10221"/>
                <a:gd name="connsiteX3" fmla="*/ 1662 w 153321"/>
                <a:gd name="connsiteY3" fmla="*/ 14332 h 10221"/>
                <a:gd name="connsiteX4" fmla="*/ 1560 w 153321"/>
                <a:gd name="connsiteY4" fmla="*/ 17500 h 10221"/>
                <a:gd name="connsiteX5" fmla="*/ 1560 w 153321"/>
                <a:gd name="connsiteY5" fmla="*/ 17500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321" h="10221">
                  <a:moveTo>
                    <a:pt x="1560" y="17500"/>
                  </a:moveTo>
                  <a:cubicBezTo>
                    <a:pt x="54915" y="16069"/>
                    <a:pt x="108067" y="11265"/>
                    <a:pt x="160810" y="3088"/>
                  </a:cubicBezTo>
                  <a:cubicBezTo>
                    <a:pt x="162854" y="2781"/>
                    <a:pt x="162139" y="-285"/>
                    <a:pt x="160094" y="22"/>
                  </a:cubicBezTo>
                  <a:cubicBezTo>
                    <a:pt x="107658" y="8199"/>
                    <a:pt x="54813" y="13003"/>
                    <a:pt x="1662" y="14332"/>
                  </a:cubicBezTo>
                  <a:cubicBezTo>
                    <a:pt x="-485" y="14536"/>
                    <a:pt x="-587" y="17602"/>
                    <a:pt x="1560" y="17500"/>
                  </a:cubicBezTo>
                  <a:lnTo>
                    <a:pt x="1560" y="1750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CFE2A210-A421-44A8-B405-D37E0ABFE59A}"/>
                </a:ext>
              </a:extLst>
            </p:cNvPr>
            <p:cNvSpPr/>
            <p:nvPr/>
          </p:nvSpPr>
          <p:spPr>
            <a:xfrm>
              <a:off x="10592959" y="1482777"/>
              <a:ext cx="87149" cy="7922"/>
            </a:xfrm>
            <a:custGeom>
              <a:avLst/>
              <a:gdLst>
                <a:gd name="connsiteX0" fmla="*/ 1560 w 112435"/>
                <a:gd name="connsiteY0" fmla="*/ 11969 h 10221"/>
                <a:gd name="connsiteX1" fmla="*/ 120844 w 112435"/>
                <a:gd name="connsiteY1" fmla="*/ 3076 h 10221"/>
                <a:gd name="connsiteX2" fmla="*/ 120128 w 112435"/>
                <a:gd name="connsiteY2" fmla="*/ 10 h 10221"/>
                <a:gd name="connsiteX3" fmla="*/ 1662 w 112435"/>
                <a:gd name="connsiteY3" fmla="*/ 8801 h 10221"/>
                <a:gd name="connsiteX4" fmla="*/ 1560 w 112435"/>
                <a:gd name="connsiteY4" fmla="*/ 11969 h 10221"/>
                <a:gd name="connsiteX5" fmla="*/ 1560 w 112435"/>
                <a:gd name="connsiteY5" fmla="*/ 11969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10221">
                  <a:moveTo>
                    <a:pt x="1560" y="11969"/>
                  </a:moveTo>
                  <a:cubicBezTo>
                    <a:pt x="41525" y="11151"/>
                    <a:pt x="81287" y="8187"/>
                    <a:pt x="120844" y="3076"/>
                  </a:cubicBezTo>
                  <a:cubicBezTo>
                    <a:pt x="122888" y="2770"/>
                    <a:pt x="122173" y="-194"/>
                    <a:pt x="120128" y="10"/>
                  </a:cubicBezTo>
                  <a:cubicBezTo>
                    <a:pt x="80878" y="5121"/>
                    <a:pt x="41321" y="7983"/>
                    <a:pt x="1662" y="8801"/>
                  </a:cubicBezTo>
                  <a:cubicBezTo>
                    <a:pt x="-485" y="8903"/>
                    <a:pt x="-587" y="11969"/>
                    <a:pt x="1560" y="11969"/>
                  </a:cubicBezTo>
                  <a:lnTo>
                    <a:pt x="1560" y="119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8B66111E-1A3D-4C8C-9C87-8331B203399F}"/>
                </a:ext>
              </a:extLst>
            </p:cNvPr>
            <p:cNvSpPr/>
            <p:nvPr/>
          </p:nvSpPr>
          <p:spPr>
            <a:xfrm>
              <a:off x="10616558" y="1466923"/>
              <a:ext cx="79226" cy="7922"/>
            </a:xfrm>
            <a:custGeom>
              <a:avLst/>
              <a:gdLst>
                <a:gd name="connsiteX0" fmla="*/ 1471 w 102214"/>
                <a:gd name="connsiteY0" fmla="*/ 11674 h 10221"/>
                <a:gd name="connsiteX1" fmla="*/ 106957 w 102214"/>
                <a:gd name="connsiteY1" fmla="*/ 3088 h 10221"/>
                <a:gd name="connsiteX2" fmla="*/ 106241 w 102214"/>
                <a:gd name="connsiteY2" fmla="*/ 22 h 10221"/>
                <a:gd name="connsiteX3" fmla="*/ 1676 w 102214"/>
                <a:gd name="connsiteY3" fmla="*/ 8505 h 10221"/>
                <a:gd name="connsiteX4" fmla="*/ 1471 w 102214"/>
                <a:gd name="connsiteY4" fmla="*/ 11674 h 10221"/>
                <a:gd name="connsiteX5" fmla="*/ 1471 w 102214"/>
                <a:gd name="connsiteY5" fmla="*/ 1167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">
                  <a:moveTo>
                    <a:pt x="1471" y="11674"/>
                  </a:moveTo>
                  <a:cubicBezTo>
                    <a:pt x="36838" y="11469"/>
                    <a:pt x="72000" y="8607"/>
                    <a:pt x="106957" y="3088"/>
                  </a:cubicBezTo>
                  <a:cubicBezTo>
                    <a:pt x="109001" y="2781"/>
                    <a:pt x="108286" y="-285"/>
                    <a:pt x="106241" y="22"/>
                  </a:cubicBezTo>
                  <a:cubicBezTo>
                    <a:pt x="71693" y="5439"/>
                    <a:pt x="36735" y="8301"/>
                    <a:pt x="1676" y="8505"/>
                  </a:cubicBezTo>
                  <a:cubicBezTo>
                    <a:pt x="-471" y="8607"/>
                    <a:pt x="-573" y="11674"/>
                    <a:pt x="1471" y="11674"/>
                  </a:cubicBezTo>
                  <a:lnTo>
                    <a:pt x="1471" y="11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0993E987-8E99-49B9-9913-2CAE64E306D3}"/>
                </a:ext>
              </a:extLst>
            </p:cNvPr>
            <p:cNvSpPr/>
            <p:nvPr/>
          </p:nvSpPr>
          <p:spPr>
            <a:xfrm>
              <a:off x="10644544" y="1457416"/>
              <a:ext cx="63381" cy="7922"/>
            </a:xfrm>
            <a:custGeom>
              <a:avLst/>
              <a:gdLst>
                <a:gd name="connsiteX0" fmla="*/ 1548 w 81771"/>
                <a:gd name="connsiteY0" fmla="*/ 9936 h 0"/>
                <a:gd name="connsiteX1" fmla="*/ 86999 w 81771"/>
                <a:gd name="connsiteY1" fmla="*/ 3088 h 0"/>
                <a:gd name="connsiteX2" fmla="*/ 86284 w 81771"/>
                <a:gd name="connsiteY2" fmla="*/ 22 h 0"/>
                <a:gd name="connsiteX3" fmla="*/ 1752 w 81771"/>
                <a:gd name="connsiteY3" fmla="*/ 6768 h 0"/>
                <a:gd name="connsiteX4" fmla="*/ 1548 w 81771"/>
                <a:gd name="connsiteY4" fmla="*/ 9936 h 0"/>
                <a:gd name="connsiteX5" fmla="*/ 1548 w 81771"/>
                <a:gd name="connsiteY5" fmla="*/ 993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>
                  <a:moveTo>
                    <a:pt x="1548" y="9936"/>
                  </a:moveTo>
                  <a:cubicBezTo>
                    <a:pt x="30168" y="9834"/>
                    <a:pt x="58686" y="7585"/>
                    <a:pt x="86999" y="3088"/>
                  </a:cubicBezTo>
                  <a:cubicBezTo>
                    <a:pt x="89043" y="2781"/>
                    <a:pt x="88328" y="-285"/>
                    <a:pt x="86284" y="22"/>
                  </a:cubicBezTo>
                  <a:cubicBezTo>
                    <a:pt x="58277" y="4417"/>
                    <a:pt x="30066" y="6665"/>
                    <a:pt x="1752" y="6768"/>
                  </a:cubicBezTo>
                  <a:cubicBezTo>
                    <a:pt x="-496" y="6768"/>
                    <a:pt x="-599" y="9936"/>
                    <a:pt x="1548" y="9936"/>
                  </a:cubicBezTo>
                  <a:lnTo>
                    <a:pt x="1548" y="993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D7C31A7E-D0BF-4EBC-B19B-CB8F8A21032E}"/>
                </a:ext>
              </a:extLst>
            </p:cNvPr>
            <p:cNvSpPr/>
            <p:nvPr/>
          </p:nvSpPr>
          <p:spPr>
            <a:xfrm>
              <a:off x="10668486" y="1445849"/>
              <a:ext cx="47536" cy="7922"/>
            </a:xfrm>
            <a:custGeom>
              <a:avLst/>
              <a:gdLst>
                <a:gd name="connsiteX0" fmla="*/ 1937 w 61328"/>
                <a:gd name="connsiteY0" fmla="*/ 13923 h 10221"/>
                <a:gd name="connsiteX1" fmla="*/ 66332 w 61328"/>
                <a:gd name="connsiteY1" fmla="*/ 3088 h 10221"/>
                <a:gd name="connsiteX2" fmla="*/ 65617 w 61328"/>
                <a:gd name="connsiteY2" fmla="*/ 22 h 10221"/>
                <a:gd name="connsiteX3" fmla="*/ 1221 w 61328"/>
                <a:gd name="connsiteY3" fmla="*/ 10856 h 10221"/>
                <a:gd name="connsiteX4" fmla="*/ 1937 w 61328"/>
                <a:gd name="connsiteY4" fmla="*/ 13923 h 10221"/>
                <a:gd name="connsiteX5" fmla="*/ 1937 w 61328"/>
                <a:gd name="connsiteY5" fmla="*/ 1392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37" y="13923"/>
                  </a:moveTo>
                  <a:cubicBezTo>
                    <a:pt x="23402" y="10345"/>
                    <a:pt x="44867" y="6768"/>
                    <a:pt x="66332" y="3088"/>
                  </a:cubicBezTo>
                  <a:cubicBezTo>
                    <a:pt x="68376" y="2781"/>
                    <a:pt x="67661" y="-285"/>
                    <a:pt x="65617" y="22"/>
                  </a:cubicBezTo>
                  <a:cubicBezTo>
                    <a:pt x="44152" y="3599"/>
                    <a:pt x="22686" y="7177"/>
                    <a:pt x="1221" y="10856"/>
                  </a:cubicBezTo>
                  <a:cubicBezTo>
                    <a:pt x="-823" y="11265"/>
                    <a:pt x="-107" y="14229"/>
                    <a:pt x="1937" y="13923"/>
                  </a:cubicBezTo>
                  <a:lnTo>
                    <a:pt x="1937" y="139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6AF61DD6-FF6A-41EB-B729-811BCBEF30A8}"/>
                </a:ext>
              </a:extLst>
            </p:cNvPr>
            <p:cNvSpPr/>
            <p:nvPr/>
          </p:nvSpPr>
          <p:spPr>
            <a:xfrm>
              <a:off x="10687150" y="1435154"/>
              <a:ext cx="47536" cy="7922"/>
            </a:xfrm>
            <a:custGeom>
              <a:avLst/>
              <a:gdLst>
                <a:gd name="connsiteX0" fmla="*/ 1981 w 61328"/>
                <a:gd name="connsiteY0" fmla="*/ 12492 h 10221"/>
                <a:gd name="connsiteX1" fmla="*/ 64025 w 61328"/>
                <a:gd name="connsiteY1" fmla="*/ 3088 h 10221"/>
                <a:gd name="connsiteX2" fmla="*/ 63309 w 61328"/>
                <a:gd name="connsiteY2" fmla="*/ 22 h 10221"/>
                <a:gd name="connsiteX3" fmla="*/ 1265 w 61328"/>
                <a:gd name="connsiteY3" fmla="*/ 9425 h 10221"/>
                <a:gd name="connsiteX4" fmla="*/ 1981 w 61328"/>
                <a:gd name="connsiteY4" fmla="*/ 12492 h 10221"/>
                <a:gd name="connsiteX5" fmla="*/ 1981 w 61328"/>
                <a:gd name="connsiteY5" fmla="*/ 12492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10221">
                  <a:moveTo>
                    <a:pt x="1981" y="12492"/>
                  </a:moveTo>
                  <a:cubicBezTo>
                    <a:pt x="22628" y="9323"/>
                    <a:pt x="43377" y="6257"/>
                    <a:pt x="64025" y="3088"/>
                  </a:cubicBezTo>
                  <a:cubicBezTo>
                    <a:pt x="66069" y="2781"/>
                    <a:pt x="65353" y="-285"/>
                    <a:pt x="63309" y="22"/>
                  </a:cubicBezTo>
                  <a:cubicBezTo>
                    <a:pt x="42662" y="3190"/>
                    <a:pt x="21912" y="6257"/>
                    <a:pt x="1265" y="9425"/>
                  </a:cubicBezTo>
                  <a:cubicBezTo>
                    <a:pt x="-881" y="9732"/>
                    <a:pt x="-64" y="12798"/>
                    <a:pt x="1981" y="12492"/>
                  </a:cubicBezTo>
                  <a:lnTo>
                    <a:pt x="1981" y="1249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1F4648C0-D05D-4C67-B658-F92A9DF89941}"/>
                </a:ext>
              </a:extLst>
            </p:cNvPr>
            <p:cNvSpPr/>
            <p:nvPr/>
          </p:nvSpPr>
          <p:spPr>
            <a:xfrm>
              <a:off x="8433955" y="3553951"/>
              <a:ext cx="102994" cy="134685"/>
            </a:xfrm>
            <a:custGeom>
              <a:avLst/>
              <a:gdLst>
                <a:gd name="connsiteX0" fmla="*/ 344 w 132878"/>
                <a:gd name="connsiteY0" fmla="*/ 2719 h 173764"/>
                <a:gd name="connsiteX1" fmla="*/ 134450 w 132878"/>
                <a:gd name="connsiteY1" fmla="*/ 180368 h 173764"/>
                <a:gd name="connsiteX2" fmla="*/ 137312 w 132878"/>
                <a:gd name="connsiteY2" fmla="*/ 178835 h 173764"/>
                <a:gd name="connsiteX3" fmla="*/ 2695 w 132878"/>
                <a:gd name="connsiteY3" fmla="*/ 471 h 173764"/>
                <a:gd name="connsiteX4" fmla="*/ 344 w 132878"/>
                <a:gd name="connsiteY4" fmla="*/ 2719 h 173764"/>
                <a:gd name="connsiteX5" fmla="*/ 344 w 132878"/>
                <a:gd name="connsiteY5" fmla="*/ 2719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173764">
                  <a:moveTo>
                    <a:pt x="344" y="2719"/>
                  </a:moveTo>
                  <a:cubicBezTo>
                    <a:pt x="47363" y="60368"/>
                    <a:pt x="92133" y="119550"/>
                    <a:pt x="134450" y="180368"/>
                  </a:cubicBezTo>
                  <a:cubicBezTo>
                    <a:pt x="135574" y="182004"/>
                    <a:pt x="138538" y="180572"/>
                    <a:pt x="137312" y="178835"/>
                  </a:cubicBezTo>
                  <a:cubicBezTo>
                    <a:pt x="94791" y="117813"/>
                    <a:pt x="49918" y="58324"/>
                    <a:pt x="2695" y="471"/>
                  </a:cubicBezTo>
                  <a:cubicBezTo>
                    <a:pt x="1469" y="-960"/>
                    <a:pt x="-882" y="1186"/>
                    <a:pt x="344" y="2719"/>
                  </a:cubicBezTo>
                  <a:lnTo>
                    <a:pt x="34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0AA1FCE3-C213-46B4-8512-D1E483A7542B}"/>
                </a:ext>
              </a:extLst>
            </p:cNvPr>
            <p:cNvSpPr/>
            <p:nvPr/>
          </p:nvSpPr>
          <p:spPr>
            <a:xfrm>
              <a:off x="8432370" y="3532629"/>
              <a:ext cx="95071" cy="118840"/>
            </a:xfrm>
            <a:custGeom>
              <a:avLst/>
              <a:gdLst>
                <a:gd name="connsiteX0" fmla="*/ 344 w 122657"/>
                <a:gd name="connsiteY0" fmla="*/ 2731 h 153321"/>
                <a:gd name="connsiteX1" fmla="*/ 123411 w 122657"/>
                <a:gd name="connsiteY1" fmla="*/ 155950 h 153321"/>
                <a:gd name="connsiteX2" fmla="*/ 125761 w 122657"/>
                <a:gd name="connsiteY2" fmla="*/ 153804 h 153321"/>
                <a:gd name="connsiteX3" fmla="*/ 2695 w 122657"/>
                <a:gd name="connsiteY3" fmla="*/ 585 h 153321"/>
                <a:gd name="connsiteX4" fmla="*/ 344 w 122657"/>
                <a:gd name="connsiteY4" fmla="*/ 2731 h 153321"/>
                <a:gd name="connsiteX5" fmla="*/ 344 w 122657"/>
                <a:gd name="connsiteY5" fmla="*/ 2731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53321">
                  <a:moveTo>
                    <a:pt x="344" y="2731"/>
                  </a:moveTo>
                  <a:cubicBezTo>
                    <a:pt x="41332" y="53838"/>
                    <a:pt x="82320" y="104843"/>
                    <a:pt x="123411" y="155950"/>
                  </a:cubicBezTo>
                  <a:cubicBezTo>
                    <a:pt x="124637" y="157484"/>
                    <a:pt x="126988" y="155337"/>
                    <a:pt x="125761" y="153804"/>
                  </a:cubicBezTo>
                  <a:cubicBezTo>
                    <a:pt x="84773" y="102697"/>
                    <a:pt x="43785" y="51692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87AA218F-54E4-48D8-B366-DD60555ED4BD}"/>
                </a:ext>
              </a:extLst>
            </p:cNvPr>
            <p:cNvSpPr/>
            <p:nvPr/>
          </p:nvSpPr>
          <p:spPr>
            <a:xfrm>
              <a:off x="8453433" y="3537346"/>
              <a:ext cx="71304" cy="95071"/>
            </a:xfrm>
            <a:custGeom>
              <a:avLst/>
              <a:gdLst>
                <a:gd name="connsiteX0" fmla="*/ 257 w 91992"/>
                <a:gd name="connsiteY0" fmla="*/ 2166 h 122657"/>
                <a:gd name="connsiteX1" fmla="*/ 49524 w 91992"/>
                <a:gd name="connsiteY1" fmla="*/ 69934 h 122657"/>
                <a:gd name="connsiteX2" fmla="*/ 72727 w 91992"/>
                <a:gd name="connsiteY2" fmla="*/ 99678 h 122657"/>
                <a:gd name="connsiteX3" fmla="*/ 86423 w 91992"/>
                <a:gd name="connsiteY3" fmla="*/ 116646 h 122657"/>
                <a:gd name="connsiteX4" fmla="*/ 94294 w 91992"/>
                <a:gd name="connsiteY4" fmla="*/ 123290 h 122657"/>
                <a:gd name="connsiteX5" fmla="*/ 95929 w 91992"/>
                <a:gd name="connsiteY5" fmla="*/ 122166 h 122657"/>
                <a:gd name="connsiteX6" fmla="*/ 95623 w 91992"/>
                <a:gd name="connsiteY6" fmla="*/ 119508 h 122657"/>
                <a:gd name="connsiteX7" fmla="*/ 93374 w 91992"/>
                <a:gd name="connsiteY7" fmla="*/ 118895 h 122657"/>
                <a:gd name="connsiteX8" fmla="*/ 92761 w 91992"/>
                <a:gd name="connsiteY8" fmla="*/ 119099 h 122657"/>
                <a:gd name="connsiteX9" fmla="*/ 94294 w 91992"/>
                <a:gd name="connsiteY9" fmla="*/ 121859 h 122657"/>
                <a:gd name="connsiteX10" fmla="*/ 71193 w 91992"/>
                <a:gd name="connsiteY10" fmla="*/ 92728 h 122657"/>
                <a:gd name="connsiteX11" fmla="*/ 46764 w 91992"/>
                <a:gd name="connsiteY11" fmla="*/ 61144 h 122657"/>
                <a:gd name="connsiteX12" fmla="*/ 3221 w 91992"/>
                <a:gd name="connsiteY12" fmla="*/ 837 h 122657"/>
                <a:gd name="connsiteX13" fmla="*/ 257 w 91992"/>
                <a:gd name="connsiteY13" fmla="*/ 2166 h 122657"/>
                <a:gd name="connsiteX14" fmla="*/ 257 w 91992"/>
                <a:gd name="connsiteY14" fmla="*/ 2166 h 122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1992" h="122657">
                  <a:moveTo>
                    <a:pt x="257" y="2166"/>
                  </a:moveTo>
                  <a:cubicBezTo>
                    <a:pt x="16100" y="25062"/>
                    <a:pt x="32556" y="47754"/>
                    <a:pt x="49524" y="69934"/>
                  </a:cubicBezTo>
                  <a:cubicBezTo>
                    <a:pt x="57190" y="79951"/>
                    <a:pt x="64856" y="89866"/>
                    <a:pt x="72727" y="99678"/>
                  </a:cubicBezTo>
                  <a:cubicBezTo>
                    <a:pt x="77224" y="105402"/>
                    <a:pt x="81824" y="111024"/>
                    <a:pt x="86423" y="116646"/>
                  </a:cubicBezTo>
                  <a:cubicBezTo>
                    <a:pt x="88774" y="119508"/>
                    <a:pt x="90410" y="122779"/>
                    <a:pt x="94294" y="123290"/>
                  </a:cubicBezTo>
                  <a:cubicBezTo>
                    <a:pt x="95009" y="123392"/>
                    <a:pt x="95623" y="122779"/>
                    <a:pt x="95929" y="122166"/>
                  </a:cubicBezTo>
                  <a:cubicBezTo>
                    <a:pt x="96440" y="120939"/>
                    <a:pt x="96338" y="120530"/>
                    <a:pt x="95623" y="119508"/>
                  </a:cubicBezTo>
                  <a:cubicBezTo>
                    <a:pt x="95112" y="118793"/>
                    <a:pt x="94294" y="118486"/>
                    <a:pt x="93374" y="118895"/>
                  </a:cubicBezTo>
                  <a:cubicBezTo>
                    <a:pt x="93169" y="118997"/>
                    <a:pt x="92965" y="119099"/>
                    <a:pt x="92761" y="119099"/>
                  </a:cubicBezTo>
                  <a:cubicBezTo>
                    <a:pt x="90819" y="119917"/>
                    <a:pt x="92454" y="122575"/>
                    <a:pt x="94294" y="121859"/>
                  </a:cubicBezTo>
                  <a:cubicBezTo>
                    <a:pt x="93476" y="122166"/>
                    <a:pt x="73238" y="95283"/>
                    <a:pt x="71193" y="92728"/>
                  </a:cubicBezTo>
                  <a:cubicBezTo>
                    <a:pt x="62914" y="82302"/>
                    <a:pt x="54737" y="71774"/>
                    <a:pt x="46764" y="61144"/>
                  </a:cubicBezTo>
                  <a:cubicBezTo>
                    <a:pt x="31739" y="41314"/>
                    <a:pt x="17326" y="21178"/>
                    <a:pt x="3221" y="837"/>
                  </a:cubicBezTo>
                  <a:cubicBezTo>
                    <a:pt x="1994" y="-1003"/>
                    <a:pt x="-868" y="531"/>
                    <a:pt x="257" y="2166"/>
                  </a:cubicBezTo>
                  <a:lnTo>
                    <a:pt x="257" y="216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60E6FB2C-98B9-4B74-9B51-918F36112321}"/>
                </a:ext>
              </a:extLst>
            </p:cNvPr>
            <p:cNvSpPr/>
            <p:nvPr/>
          </p:nvSpPr>
          <p:spPr>
            <a:xfrm>
              <a:off x="8460768" y="3526660"/>
              <a:ext cx="63381" cy="87149"/>
            </a:xfrm>
            <a:custGeom>
              <a:avLst/>
              <a:gdLst>
                <a:gd name="connsiteX0" fmla="*/ 300 w 81771"/>
                <a:gd name="connsiteY0" fmla="*/ 2153 h 112435"/>
                <a:gd name="connsiteX1" fmla="*/ 45274 w 81771"/>
                <a:gd name="connsiteY1" fmla="*/ 61642 h 112435"/>
                <a:gd name="connsiteX2" fmla="*/ 66535 w 81771"/>
                <a:gd name="connsiteY2" fmla="*/ 89036 h 112435"/>
                <a:gd name="connsiteX3" fmla="*/ 88000 w 81771"/>
                <a:gd name="connsiteY3" fmla="*/ 116225 h 112435"/>
                <a:gd name="connsiteX4" fmla="*/ 90351 w 81771"/>
                <a:gd name="connsiteY4" fmla="*/ 114078 h 112435"/>
                <a:gd name="connsiteX5" fmla="*/ 69805 w 81771"/>
                <a:gd name="connsiteY5" fmla="*/ 88116 h 112435"/>
                <a:gd name="connsiteX6" fmla="*/ 46194 w 81771"/>
                <a:gd name="connsiteY6" fmla="*/ 57758 h 112435"/>
                <a:gd name="connsiteX7" fmla="*/ 3059 w 81771"/>
                <a:gd name="connsiteY7" fmla="*/ 722 h 112435"/>
                <a:gd name="connsiteX8" fmla="*/ 300 w 81771"/>
                <a:gd name="connsiteY8" fmla="*/ 2153 h 112435"/>
                <a:gd name="connsiteX9" fmla="*/ 300 w 81771"/>
                <a:gd name="connsiteY9" fmla="*/ 2153 h 112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771" h="112435">
                  <a:moveTo>
                    <a:pt x="300" y="2153"/>
                  </a:moveTo>
                  <a:cubicBezTo>
                    <a:pt x="15121" y="22085"/>
                    <a:pt x="30146" y="41915"/>
                    <a:pt x="45274" y="61642"/>
                  </a:cubicBezTo>
                  <a:cubicBezTo>
                    <a:pt x="52327" y="70739"/>
                    <a:pt x="59380" y="79938"/>
                    <a:pt x="66535" y="89036"/>
                  </a:cubicBezTo>
                  <a:cubicBezTo>
                    <a:pt x="73485" y="97928"/>
                    <a:pt x="80129" y="108047"/>
                    <a:pt x="88000" y="116225"/>
                  </a:cubicBezTo>
                  <a:cubicBezTo>
                    <a:pt x="89431" y="117656"/>
                    <a:pt x="91782" y="115509"/>
                    <a:pt x="90351" y="114078"/>
                  </a:cubicBezTo>
                  <a:cubicBezTo>
                    <a:pt x="82787" y="106310"/>
                    <a:pt x="76449" y="96702"/>
                    <a:pt x="69805" y="88116"/>
                  </a:cubicBezTo>
                  <a:cubicBezTo>
                    <a:pt x="61935" y="77996"/>
                    <a:pt x="54064" y="67877"/>
                    <a:pt x="46194" y="57758"/>
                  </a:cubicBezTo>
                  <a:cubicBezTo>
                    <a:pt x="31680" y="38848"/>
                    <a:pt x="17267" y="19836"/>
                    <a:pt x="3059" y="722"/>
                  </a:cubicBezTo>
                  <a:cubicBezTo>
                    <a:pt x="1935" y="-913"/>
                    <a:pt x="-927" y="518"/>
                    <a:pt x="300" y="2153"/>
                  </a:cubicBezTo>
                  <a:lnTo>
                    <a:pt x="300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3CA5BBD2-85E2-4497-B754-0A5DE968CD9F}"/>
                </a:ext>
              </a:extLst>
            </p:cNvPr>
            <p:cNvSpPr/>
            <p:nvPr/>
          </p:nvSpPr>
          <p:spPr>
            <a:xfrm>
              <a:off x="8470914" y="3524751"/>
              <a:ext cx="55458" cy="71304"/>
            </a:xfrm>
            <a:custGeom>
              <a:avLst/>
              <a:gdLst>
                <a:gd name="connsiteX0" fmla="*/ 394 w 71550"/>
                <a:gd name="connsiteY0" fmla="*/ 2674 h 91992"/>
                <a:gd name="connsiteX1" fmla="*/ 77464 w 71550"/>
                <a:gd name="connsiteY1" fmla="*/ 99267 h 91992"/>
                <a:gd name="connsiteX2" fmla="*/ 80326 w 71550"/>
                <a:gd name="connsiteY2" fmla="*/ 97836 h 91992"/>
                <a:gd name="connsiteX3" fmla="*/ 2745 w 71550"/>
                <a:gd name="connsiteY3" fmla="*/ 528 h 91992"/>
                <a:gd name="connsiteX4" fmla="*/ 394 w 71550"/>
                <a:gd name="connsiteY4" fmla="*/ 2674 h 91992"/>
                <a:gd name="connsiteX5" fmla="*/ 394 w 71550"/>
                <a:gd name="connsiteY5" fmla="*/ 267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91992">
                  <a:moveTo>
                    <a:pt x="394" y="2674"/>
                  </a:moveTo>
                  <a:cubicBezTo>
                    <a:pt x="26970" y="34258"/>
                    <a:pt x="52625" y="66456"/>
                    <a:pt x="77464" y="99267"/>
                  </a:cubicBezTo>
                  <a:cubicBezTo>
                    <a:pt x="78690" y="100902"/>
                    <a:pt x="81552" y="99369"/>
                    <a:pt x="80326" y="97836"/>
                  </a:cubicBezTo>
                  <a:cubicBezTo>
                    <a:pt x="55385" y="64820"/>
                    <a:pt x="29525" y="32316"/>
                    <a:pt x="2745" y="528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0F40FA7F-8815-46E9-8B2B-29D8E85AA0D0}"/>
                </a:ext>
              </a:extLst>
            </p:cNvPr>
            <p:cNvSpPr/>
            <p:nvPr/>
          </p:nvSpPr>
          <p:spPr>
            <a:xfrm>
              <a:off x="8490642" y="3529901"/>
              <a:ext cx="47536" cy="63381"/>
            </a:xfrm>
            <a:custGeom>
              <a:avLst/>
              <a:gdLst>
                <a:gd name="connsiteX0" fmla="*/ 394 w 61328"/>
                <a:gd name="connsiteY0" fmla="*/ 2674 h 81771"/>
                <a:gd name="connsiteX1" fmla="*/ 63869 w 61328"/>
                <a:gd name="connsiteY1" fmla="*/ 82708 h 81771"/>
                <a:gd name="connsiteX2" fmla="*/ 66220 w 61328"/>
                <a:gd name="connsiteY2" fmla="*/ 80561 h 81771"/>
                <a:gd name="connsiteX3" fmla="*/ 2745 w 61328"/>
                <a:gd name="connsiteY3" fmla="*/ 527 h 81771"/>
                <a:gd name="connsiteX4" fmla="*/ 394 w 61328"/>
                <a:gd name="connsiteY4" fmla="*/ 2674 h 81771"/>
                <a:gd name="connsiteX5" fmla="*/ 394 w 61328"/>
                <a:gd name="connsiteY5" fmla="*/ 2674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81771">
                  <a:moveTo>
                    <a:pt x="394" y="2674"/>
                  </a:moveTo>
                  <a:cubicBezTo>
                    <a:pt x="21552" y="29352"/>
                    <a:pt x="42711" y="56030"/>
                    <a:pt x="63869" y="82708"/>
                  </a:cubicBezTo>
                  <a:cubicBezTo>
                    <a:pt x="65096" y="84343"/>
                    <a:pt x="67447" y="82094"/>
                    <a:pt x="66220" y="80561"/>
                  </a:cubicBezTo>
                  <a:cubicBezTo>
                    <a:pt x="45062" y="53883"/>
                    <a:pt x="23903" y="27205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F274B099-3D06-4AE8-AB55-F359D31AD140}"/>
                </a:ext>
              </a:extLst>
            </p:cNvPr>
            <p:cNvSpPr/>
            <p:nvPr/>
          </p:nvSpPr>
          <p:spPr>
            <a:xfrm>
              <a:off x="8472309" y="3505222"/>
              <a:ext cx="102994" cy="47536"/>
            </a:xfrm>
            <a:custGeom>
              <a:avLst/>
              <a:gdLst>
                <a:gd name="connsiteX0" fmla="*/ 741 w 132878"/>
                <a:gd name="connsiteY0" fmla="*/ 2929 h 61328"/>
                <a:gd name="connsiteX1" fmla="*/ 134336 w 132878"/>
                <a:gd name="connsiteY1" fmla="*/ 69778 h 61328"/>
                <a:gd name="connsiteX2" fmla="*/ 135256 w 132878"/>
                <a:gd name="connsiteY2" fmla="*/ 66813 h 61328"/>
                <a:gd name="connsiteX3" fmla="*/ 2377 w 132878"/>
                <a:gd name="connsiteY3" fmla="*/ 272 h 61328"/>
                <a:gd name="connsiteX4" fmla="*/ 741 w 132878"/>
                <a:gd name="connsiteY4" fmla="*/ 2929 h 61328"/>
                <a:gd name="connsiteX5" fmla="*/ 741 w 132878"/>
                <a:gd name="connsiteY5" fmla="*/ 292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61328">
                  <a:moveTo>
                    <a:pt x="741" y="2929"/>
                  </a:moveTo>
                  <a:cubicBezTo>
                    <a:pt x="41832" y="30936"/>
                    <a:pt x="86704" y="53423"/>
                    <a:pt x="134336" y="69778"/>
                  </a:cubicBezTo>
                  <a:cubicBezTo>
                    <a:pt x="136278" y="70493"/>
                    <a:pt x="137198" y="67529"/>
                    <a:pt x="135256" y="66813"/>
                  </a:cubicBezTo>
                  <a:cubicBezTo>
                    <a:pt x="87930" y="50561"/>
                    <a:pt x="43263" y="28176"/>
                    <a:pt x="2377" y="272"/>
                  </a:cubicBezTo>
                  <a:cubicBezTo>
                    <a:pt x="639" y="-853"/>
                    <a:pt x="-996" y="1805"/>
                    <a:pt x="741" y="2929"/>
                  </a:cubicBezTo>
                  <a:lnTo>
                    <a:pt x="741" y="292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41EF7CE4-9574-452C-B64C-6D06728C3804}"/>
                </a:ext>
              </a:extLst>
            </p:cNvPr>
            <p:cNvSpPr/>
            <p:nvPr/>
          </p:nvSpPr>
          <p:spPr>
            <a:xfrm>
              <a:off x="8499990" y="3502798"/>
              <a:ext cx="71304" cy="31691"/>
            </a:xfrm>
            <a:custGeom>
              <a:avLst/>
              <a:gdLst>
                <a:gd name="connsiteX0" fmla="*/ 804 w 91992"/>
                <a:gd name="connsiteY0" fmla="*/ 2888 h 40885"/>
                <a:gd name="connsiteX1" fmla="*/ 93308 w 91992"/>
                <a:gd name="connsiteY1" fmla="*/ 41729 h 40885"/>
                <a:gd name="connsiteX2" fmla="*/ 94228 w 91992"/>
                <a:gd name="connsiteY2" fmla="*/ 38765 h 40885"/>
                <a:gd name="connsiteX3" fmla="*/ 2541 w 91992"/>
                <a:gd name="connsiteY3" fmla="*/ 230 h 40885"/>
                <a:gd name="connsiteX4" fmla="*/ 804 w 91992"/>
                <a:gd name="connsiteY4" fmla="*/ 2888 h 40885"/>
                <a:gd name="connsiteX5" fmla="*/ 804 w 91992"/>
                <a:gd name="connsiteY5" fmla="*/ 288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40885">
                  <a:moveTo>
                    <a:pt x="804" y="2888"/>
                  </a:moveTo>
                  <a:cubicBezTo>
                    <a:pt x="30752" y="17709"/>
                    <a:pt x="61621" y="30690"/>
                    <a:pt x="93308" y="41729"/>
                  </a:cubicBezTo>
                  <a:cubicBezTo>
                    <a:pt x="95250" y="42445"/>
                    <a:pt x="96170" y="39480"/>
                    <a:pt x="94228" y="38765"/>
                  </a:cubicBezTo>
                  <a:cubicBezTo>
                    <a:pt x="62746" y="27828"/>
                    <a:pt x="32183" y="14949"/>
                    <a:pt x="2541" y="230"/>
                  </a:cubicBezTo>
                  <a:cubicBezTo>
                    <a:pt x="599" y="-792"/>
                    <a:pt x="-1036" y="1865"/>
                    <a:pt x="804" y="2888"/>
                  </a:cubicBezTo>
                  <a:lnTo>
                    <a:pt x="804" y="288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72B2D28D-FD79-4500-BBD6-CE8DF9766B76}"/>
                </a:ext>
              </a:extLst>
            </p:cNvPr>
            <p:cNvSpPr/>
            <p:nvPr/>
          </p:nvSpPr>
          <p:spPr>
            <a:xfrm>
              <a:off x="8501539" y="3490073"/>
              <a:ext cx="79226" cy="31691"/>
            </a:xfrm>
            <a:custGeom>
              <a:avLst/>
              <a:gdLst>
                <a:gd name="connsiteX0" fmla="*/ 849 w 102214"/>
                <a:gd name="connsiteY0" fmla="*/ 2848 h 40885"/>
                <a:gd name="connsiteX1" fmla="*/ 102552 w 102214"/>
                <a:gd name="connsiteY1" fmla="*/ 41485 h 40885"/>
                <a:gd name="connsiteX2" fmla="*/ 103472 w 102214"/>
                <a:gd name="connsiteY2" fmla="*/ 38521 h 40885"/>
                <a:gd name="connsiteX3" fmla="*/ 2586 w 102214"/>
                <a:gd name="connsiteY3" fmla="*/ 191 h 40885"/>
                <a:gd name="connsiteX4" fmla="*/ 849 w 102214"/>
                <a:gd name="connsiteY4" fmla="*/ 2848 h 40885"/>
                <a:gd name="connsiteX5" fmla="*/ 849 w 102214"/>
                <a:gd name="connsiteY5" fmla="*/ 284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40885">
                  <a:moveTo>
                    <a:pt x="849" y="2848"/>
                  </a:moveTo>
                  <a:cubicBezTo>
                    <a:pt x="33455" y="18487"/>
                    <a:pt x="67493" y="31468"/>
                    <a:pt x="102552" y="41485"/>
                  </a:cubicBezTo>
                  <a:cubicBezTo>
                    <a:pt x="104596" y="42099"/>
                    <a:pt x="105516" y="39134"/>
                    <a:pt x="103472" y="38521"/>
                  </a:cubicBezTo>
                  <a:cubicBezTo>
                    <a:pt x="68719" y="28504"/>
                    <a:pt x="34988" y="15727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E3884B87-690A-4E67-946A-DDD2F8EA5388}"/>
                </a:ext>
              </a:extLst>
            </p:cNvPr>
            <p:cNvSpPr/>
            <p:nvPr/>
          </p:nvSpPr>
          <p:spPr>
            <a:xfrm>
              <a:off x="8538623" y="3495127"/>
              <a:ext cx="39613" cy="15845"/>
            </a:xfrm>
            <a:custGeom>
              <a:avLst/>
              <a:gdLst>
                <a:gd name="connsiteX0" fmla="*/ 1148 w 51107"/>
                <a:gd name="connsiteY0" fmla="*/ 3075 h 20442"/>
                <a:gd name="connsiteX1" fmla="*/ 53176 w 51107"/>
                <a:gd name="connsiteY1" fmla="*/ 20451 h 20442"/>
                <a:gd name="connsiteX2" fmla="*/ 54095 w 51107"/>
                <a:gd name="connsiteY2" fmla="*/ 17487 h 20442"/>
                <a:gd name="connsiteX3" fmla="*/ 2068 w 51107"/>
                <a:gd name="connsiteY3" fmla="*/ 111 h 20442"/>
                <a:gd name="connsiteX4" fmla="*/ 1148 w 51107"/>
                <a:gd name="connsiteY4" fmla="*/ 3075 h 20442"/>
                <a:gd name="connsiteX5" fmla="*/ 1148 w 51107"/>
                <a:gd name="connsiteY5" fmla="*/ 307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20442">
                  <a:moveTo>
                    <a:pt x="1148" y="3075"/>
                  </a:moveTo>
                  <a:cubicBezTo>
                    <a:pt x="18423" y="8901"/>
                    <a:pt x="35799" y="14625"/>
                    <a:pt x="53176" y="20451"/>
                  </a:cubicBezTo>
                  <a:cubicBezTo>
                    <a:pt x="55118" y="21167"/>
                    <a:pt x="56038" y="18100"/>
                    <a:pt x="54095" y="17487"/>
                  </a:cubicBezTo>
                  <a:cubicBezTo>
                    <a:pt x="36719" y="11661"/>
                    <a:pt x="19445" y="5937"/>
                    <a:pt x="2068" y="111"/>
                  </a:cubicBezTo>
                  <a:cubicBezTo>
                    <a:pt x="24" y="-605"/>
                    <a:pt x="-896" y="2359"/>
                    <a:pt x="1148" y="3075"/>
                  </a:cubicBezTo>
                  <a:lnTo>
                    <a:pt x="114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2E8F6096-23CE-4EA1-B82A-13ECF94ADBA0}"/>
                </a:ext>
              </a:extLst>
            </p:cNvPr>
            <p:cNvSpPr/>
            <p:nvPr/>
          </p:nvSpPr>
          <p:spPr>
            <a:xfrm>
              <a:off x="8556188" y="3487680"/>
              <a:ext cx="31691" cy="7922"/>
            </a:xfrm>
            <a:custGeom>
              <a:avLst/>
              <a:gdLst>
                <a:gd name="connsiteX0" fmla="*/ 1075 w 40885"/>
                <a:gd name="connsiteY0" fmla="*/ 3075 h 10221"/>
                <a:gd name="connsiteX1" fmla="*/ 41246 w 40885"/>
                <a:gd name="connsiteY1" fmla="*/ 11252 h 10221"/>
                <a:gd name="connsiteX2" fmla="*/ 41348 w 40885"/>
                <a:gd name="connsiteY2" fmla="*/ 8185 h 10221"/>
                <a:gd name="connsiteX3" fmla="*/ 1995 w 40885"/>
                <a:gd name="connsiteY3" fmla="*/ 111 h 10221"/>
                <a:gd name="connsiteX4" fmla="*/ 1075 w 40885"/>
                <a:gd name="connsiteY4" fmla="*/ 3075 h 10221"/>
                <a:gd name="connsiteX5" fmla="*/ 1075 w 40885"/>
                <a:gd name="connsiteY5" fmla="*/ 307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075" y="3075"/>
                  </a:moveTo>
                  <a:cubicBezTo>
                    <a:pt x="14057" y="7674"/>
                    <a:pt x="27447" y="10332"/>
                    <a:pt x="41246" y="11252"/>
                  </a:cubicBezTo>
                  <a:cubicBezTo>
                    <a:pt x="43392" y="11354"/>
                    <a:pt x="43392" y="8288"/>
                    <a:pt x="41348" y="8185"/>
                  </a:cubicBezTo>
                  <a:cubicBezTo>
                    <a:pt x="27753" y="7368"/>
                    <a:pt x="14670" y="4608"/>
                    <a:pt x="1995" y="111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CCA01FE4-627C-472B-B86C-AD8C1E872F63}"/>
                </a:ext>
              </a:extLst>
            </p:cNvPr>
            <p:cNvSpPr/>
            <p:nvPr/>
          </p:nvSpPr>
          <p:spPr>
            <a:xfrm>
              <a:off x="8568492" y="3478193"/>
              <a:ext cx="31691" cy="7922"/>
            </a:xfrm>
            <a:custGeom>
              <a:avLst/>
              <a:gdLst>
                <a:gd name="connsiteX0" fmla="*/ 1148 w 40885"/>
                <a:gd name="connsiteY0" fmla="*/ 3047 h 10221"/>
                <a:gd name="connsiteX1" fmla="*/ 46736 w 40885"/>
                <a:gd name="connsiteY1" fmla="*/ 16744 h 10221"/>
                <a:gd name="connsiteX2" fmla="*/ 47656 w 40885"/>
                <a:gd name="connsiteY2" fmla="*/ 13780 h 10221"/>
                <a:gd name="connsiteX3" fmla="*/ 2068 w 40885"/>
                <a:gd name="connsiteY3" fmla="*/ 83 h 10221"/>
                <a:gd name="connsiteX4" fmla="*/ 1148 w 40885"/>
                <a:gd name="connsiteY4" fmla="*/ 3047 h 10221"/>
                <a:gd name="connsiteX5" fmla="*/ 1148 w 40885"/>
                <a:gd name="connsiteY5" fmla="*/ 304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10221">
                  <a:moveTo>
                    <a:pt x="1148" y="3047"/>
                  </a:moveTo>
                  <a:cubicBezTo>
                    <a:pt x="16378" y="7647"/>
                    <a:pt x="31506" y="12247"/>
                    <a:pt x="46736" y="16744"/>
                  </a:cubicBezTo>
                  <a:cubicBezTo>
                    <a:pt x="48780" y="17357"/>
                    <a:pt x="49700" y="14393"/>
                    <a:pt x="47656" y="13780"/>
                  </a:cubicBezTo>
                  <a:cubicBezTo>
                    <a:pt x="32426" y="9180"/>
                    <a:pt x="17298" y="4683"/>
                    <a:pt x="2068" y="83"/>
                  </a:cubicBezTo>
                  <a:cubicBezTo>
                    <a:pt x="24" y="-530"/>
                    <a:pt x="-896" y="2434"/>
                    <a:pt x="1148" y="3047"/>
                  </a:cubicBezTo>
                  <a:lnTo>
                    <a:pt x="1148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97581A90-FC7B-4505-A49D-0D237CD6D179}"/>
                </a:ext>
              </a:extLst>
            </p:cNvPr>
            <p:cNvSpPr/>
            <p:nvPr/>
          </p:nvSpPr>
          <p:spPr>
            <a:xfrm>
              <a:off x="7866186" y="3718516"/>
              <a:ext cx="39613" cy="253524"/>
            </a:xfrm>
            <a:custGeom>
              <a:avLst/>
              <a:gdLst>
                <a:gd name="connsiteX0" fmla="*/ 52720 w 51107"/>
                <a:gd name="connsiteY0" fmla="*/ 328461 h 327086"/>
                <a:gd name="connsiteX1" fmla="*/ 12346 w 51107"/>
                <a:gd name="connsiteY1" fmla="*/ 73334 h 327086"/>
                <a:gd name="connsiteX2" fmla="*/ 38104 w 51107"/>
                <a:gd name="connsiteY2" fmla="*/ 2397 h 327086"/>
                <a:gd name="connsiteX3" fmla="*/ 35344 w 51107"/>
                <a:gd name="connsiteY3" fmla="*/ 761 h 327086"/>
                <a:gd name="connsiteX4" fmla="*/ 17559 w 51107"/>
                <a:gd name="connsiteY4" fmla="*/ 260590 h 327086"/>
                <a:gd name="connsiteX5" fmla="*/ 49858 w 51107"/>
                <a:gd name="connsiteY5" fmla="*/ 329994 h 327086"/>
                <a:gd name="connsiteX6" fmla="*/ 52720 w 51107"/>
                <a:gd name="connsiteY6" fmla="*/ 328461 h 327086"/>
                <a:gd name="connsiteX7" fmla="*/ 52720 w 51107"/>
                <a:gd name="connsiteY7" fmla="*/ 328461 h 327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107" h="327086">
                  <a:moveTo>
                    <a:pt x="52720" y="328461"/>
                  </a:moveTo>
                  <a:cubicBezTo>
                    <a:pt x="6008" y="252004"/>
                    <a:pt x="-8097" y="159296"/>
                    <a:pt x="12346" y="73334"/>
                  </a:cubicBezTo>
                  <a:cubicBezTo>
                    <a:pt x="18172" y="48802"/>
                    <a:pt x="26860" y="25088"/>
                    <a:pt x="38104" y="2397"/>
                  </a:cubicBezTo>
                  <a:cubicBezTo>
                    <a:pt x="39024" y="557"/>
                    <a:pt x="36162" y="-976"/>
                    <a:pt x="35344" y="761"/>
                  </a:cubicBezTo>
                  <a:cubicBezTo>
                    <a:pt x="-4826" y="81409"/>
                    <a:pt x="-10755" y="175650"/>
                    <a:pt x="17559" y="260590"/>
                  </a:cubicBezTo>
                  <a:cubicBezTo>
                    <a:pt x="25633" y="284815"/>
                    <a:pt x="36468" y="308018"/>
                    <a:pt x="49858" y="329994"/>
                  </a:cubicBezTo>
                  <a:cubicBezTo>
                    <a:pt x="50983" y="331629"/>
                    <a:pt x="53845" y="330198"/>
                    <a:pt x="52720" y="328461"/>
                  </a:cubicBezTo>
                  <a:lnTo>
                    <a:pt x="52720" y="328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6C8A0A80-F717-47D2-AC2A-10EB88C9FE40}"/>
                </a:ext>
              </a:extLst>
            </p:cNvPr>
            <p:cNvSpPr/>
            <p:nvPr/>
          </p:nvSpPr>
          <p:spPr>
            <a:xfrm>
              <a:off x="7855642" y="3787595"/>
              <a:ext cx="7922" cy="110917"/>
            </a:xfrm>
            <a:custGeom>
              <a:avLst/>
              <a:gdLst>
                <a:gd name="connsiteX0" fmla="*/ 12662 w 10221"/>
                <a:gd name="connsiteY0" fmla="*/ 141518 h 143100"/>
                <a:gd name="connsiteX1" fmla="*/ 8471 w 10221"/>
                <a:gd name="connsiteY1" fmla="*/ 1995 h 143100"/>
                <a:gd name="connsiteX2" fmla="*/ 5302 w 10221"/>
                <a:gd name="connsiteY2" fmla="*/ 1076 h 143100"/>
                <a:gd name="connsiteX3" fmla="*/ 9493 w 10221"/>
                <a:gd name="connsiteY3" fmla="*/ 142132 h 143100"/>
                <a:gd name="connsiteX4" fmla="*/ 12662 w 10221"/>
                <a:gd name="connsiteY4" fmla="*/ 141518 h 143100"/>
                <a:gd name="connsiteX5" fmla="*/ 12662 w 10221"/>
                <a:gd name="connsiteY5" fmla="*/ 141518 h 143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43100">
                  <a:moveTo>
                    <a:pt x="12662" y="141518"/>
                  </a:moveTo>
                  <a:cubicBezTo>
                    <a:pt x="1725" y="95624"/>
                    <a:pt x="294" y="48299"/>
                    <a:pt x="8471" y="1995"/>
                  </a:cubicBezTo>
                  <a:cubicBezTo>
                    <a:pt x="8778" y="53"/>
                    <a:pt x="5711" y="-867"/>
                    <a:pt x="5302" y="1076"/>
                  </a:cubicBezTo>
                  <a:cubicBezTo>
                    <a:pt x="-2977" y="47992"/>
                    <a:pt x="-1546" y="95828"/>
                    <a:pt x="9493" y="142132"/>
                  </a:cubicBezTo>
                  <a:cubicBezTo>
                    <a:pt x="9902" y="144176"/>
                    <a:pt x="13071" y="143460"/>
                    <a:pt x="12662" y="141518"/>
                  </a:cubicBezTo>
                  <a:lnTo>
                    <a:pt x="12662" y="1415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8DC7436F-FF2E-408E-B155-022E1EDF9CD4}"/>
                </a:ext>
              </a:extLst>
            </p:cNvPr>
            <p:cNvSpPr/>
            <p:nvPr/>
          </p:nvSpPr>
          <p:spPr>
            <a:xfrm>
              <a:off x="7843190" y="3810051"/>
              <a:ext cx="7922" cy="71304"/>
            </a:xfrm>
            <a:custGeom>
              <a:avLst/>
              <a:gdLst>
                <a:gd name="connsiteX0" fmla="*/ 12986 w 10221"/>
                <a:gd name="connsiteY0" fmla="*/ 98952 h 91992"/>
                <a:gd name="connsiteX1" fmla="*/ 9919 w 10221"/>
                <a:gd name="connsiteY1" fmla="*/ 1951 h 91992"/>
                <a:gd name="connsiteX2" fmla="*/ 6751 w 10221"/>
                <a:gd name="connsiteY2" fmla="*/ 1031 h 91992"/>
                <a:gd name="connsiteX3" fmla="*/ 9715 w 10221"/>
                <a:gd name="connsiteY3" fmla="*/ 99566 h 91992"/>
                <a:gd name="connsiteX4" fmla="*/ 12986 w 10221"/>
                <a:gd name="connsiteY4" fmla="*/ 98952 h 91992"/>
                <a:gd name="connsiteX5" fmla="*/ 12986 w 10221"/>
                <a:gd name="connsiteY5" fmla="*/ 9895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12986" y="98952"/>
                  </a:moveTo>
                  <a:cubicBezTo>
                    <a:pt x="1231" y="67675"/>
                    <a:pt x="209" y="33842"/>
                    <a:pt x="9919" y="1951"/>
                  </a:cubicBezTo>
                  <a:cubicBezTo>
                    <a:pt x="10533" y="9"/>
                    <a:pt x="7364" y="-809"/>
                    <a:pt x="6751" y="1031"/>
                  </a:cubicBezTo>
                  <a:cubicBezTo>
                    <a:pt x="-3164" y="33433"/>
                    <a:pt x="-2142" y="67777"/>
                    <a:pt x="9715" y="99566"/>
                  </a:cubicBezTo>
                  <a:cubicBezTo>
                    <a:pt x="10430" y="101508"/>
                    <a:pt x="13701" y="100792"/>
                    <a:pt x="12986" y="98952"/>
                  </a:cubicBezTo>
                  <a:lnTo>
                    <a:pt x="12986" y="989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FB665471-ABEA-48A5-934F-401613C94FE8}"/>
                </a:ext>
              </a:extLst>
            </p:cNvPr>
            <p:cNvSpPr/>
            <p:nvPr/>
          </p:nvSpPr>
          <p:spPr>
            <a:xfrm>
              <a:off x="8319936" y="3583881"/>
              <a:ext cx="126762" cy="134685"/>
            </a:xfrm>
            <a:custGeom>
              <a:avLst/>
              <a:gdLst>
                <a:gd name="connsiteX0" fmla="*/ 1075 w 163543"/>
                <a:gd name="connsiteY0" fmla="*/ 3047 h 173764"/>
                <a:gd name="connsiteX1" fmla="*/ 167072 w 163543"/>
                <a:gd name="connsiteY1" fmla="*/ 182740 h 173764"/>
                <a:gd name="connsiteX2" fmla="*/ 170240 w 163543"/>
                <a:gd name="connsiteY2" fmla="*/ 182025 h 173764"/>
                <a:gd name="connsiteX3" fmla="*/ 1995 w 163543"/>
                <a:gd name="connsiteY3" fmla="*/ 83 h 173764"/>
                <a:gd name="connsiteX4" fmla="*/ 1075 w 163543"/>
                <a:gd name="connsiteY4" fmla="*/ 3047 h 173764"/>
                <a:gd name="connsiteX5" fmla="*/ 1075 w 163543"/>
                <a:gd name="connsiteY5" fmla="*/ 304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173764">
                  <a:moveTo>
                    <a:pt x="1075" y="3047"/>
                  </a:moveTo>
                  <a:cubicBezTo>
                    <a:pt x="87447" y="29112"/>
                    <a:pt x="142029" y="103626"/>
                    <a:pt x="167072" y="182740"/>
                  </a:cubicBezTo>
                  <a:cubicBezTo>
                    <a:pt x="167685" y="184682"/>
                    <a:pt x="170854" y="183967"/>
                    <a:pt x="170240" y="182025"/>
                  </a:cubicBezTo>
                  <a:cubicBezTo>
                    <a:pt x="144891" y="101787"/>
                    <a:pt x="89593" y="26455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14872953-FBFB-4AA8-961A-EACCA28FA83A}"/>
                </a:ext>
              </a:extLst>
            </p:cNvPr>
            <p:cNvSpPr/>
            <p:nvPr/>
          </p:nvSpPr>
          <p:spPr>
            <a:xfrm>
              <a:off x="8330332" y="3574370"/>
              <a:ext cx="110917" cy="79226"/>
            </a:xfrm>
            <a:custGeom>
              <a:avLst/>
              <a:gdLst>
                <a:gd name="connsiteX0" fmla="*/ 849 w 143100"/>
                <a:gd name="connsiteY0" fmla="*/ 2848 h 102214"/>
                <a:gd name="connsiteX1" fmla="*/ 147322 w 143100"/>
                <a:gd name="connsiteY1" fmla="*/ 106698 h 102214"/>
                <a:gd name="connsiteX2" fmla="*/ 149673 w 143100"/>
                <a:gd name="connsiteY2" fmla="*/ 104552 h 102214"/>
                <a:gd name="connsiteX3" fmla="*/ 2586 w 143100"/>
                <a:gd name="connsiteY3" fmla="*/ 191 h 102214"/>
                <a:gd name="connsiteX4" fmla="*/ 849 w 143100"/>
                <a:gd name="connsiteY4" fmla="*/ 2848 h 102214"/>
                <a:gd name="connsiteX5" fmla="*/ 849 w 143100"/>
                <a:gd name="connsiteY5" fmla="*/ 2848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02214">
                  <a:moveTo>
                    <a:pt x="849" y="2848"/>
                  </a:moveTo>
                  <a:cubicBezTo>
                    <a:pt x="56862" y="27380"/>
                    <a:pt x="106743" y="62746"/>
                    <a:pt x="147322" y="106698"/>
                  </a:cubicBezTo>
                  <a:cubicBezTo>
                    <a:pt x="148753" y="108231"/>
                    <a:pt x="151104" y="106085"/>
                    <a:pt x="149673" y="104552"/>
                  </a:cubicBezTo>
                  <a:cubicBezTo>
                    <a:pt x="108992" y="60395"/>
                    <a:pt x="58804" y="24824"/>
                    <a:pt x="2586" y="191"/>
                  </a:cubicBezTo>
                  <a:cubicBezTo>
                    <a:pt x="644" y="-729"/>
                    <a:pt x="-1093" y="1928"/>
                    <a:pt x="849" y="2848"/>
                  </a:cubicBezTo>
                  <a:lnTo>
                    <a:pt x="849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F7953EC9-F7FF-4C3A-8C28-33C490C3B670}"/>
                </a:ext>
              </a:extLst>
            </p:cNvPr>
            <p:cNvSpPr/>
            <p:nvPr/>
          </p:nvSpPr>
          <p:spPr>
            <a:xfrm>
              <a:off x="8249600" y="3475658"/>
              <a:ext cx="126762" cy="55458"/>
            </a:xfrm>
            <a:custGeom>
              <a:avLst/>
              <a:gdLst>
                <a:gd name="connsiteX0" fmla="*/ 1155 w 163543"/>
                <a:gd name="connsiteY0" fmla="*/ 3047 h 71550"/>
                <a:gd name="connsiteX1" fmla="*/ 169400 w 163543"/>
                <a:gd name="connsiteY1" fmla="*/ 77459 h 71550"/>
                <a:gd name="connsiteX2" fmla="*/ 171751 w 163543"/>
                <a:gd name="connsiteY2" fmla="*/ 75313 h 71550"/>
                <a:gd name="connsiteX3" fmla="*/ 1972 w 163543"/>
                <a:gd name="connsiteY3" fmla="*/ 83 h 71550"/>
                <a:gd name="connsiteX4" fmla="*/ 1155 w 163543"/>
                <a:gd name="connsiteY4" fmla="*/ 3047 h 71550"/>
                <a:gd name="connsiteX5" fmla="*/ 1155 w 163543"/>
                <a:gd name="connsiteY5" fmla="*/ 3047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71550">
                  <a:moveTo>
                    <a:pt x="1155" y="3047"/>
                  </a:moveTo>
                  <a:cubicBezTo>
                    <a:pt x="60644" y="19504"/>
                    <a:pt x="122585" y="37085"/>
                    <a:pt x="169400" y="77459"/>
                  </a:cubicBezTo>
                  <a:cubicBezTo>
                    <a:pt x="170933" y="78788"/>
                    <a:pt x="173284" y="76642"/>
                    <a:pt x="171751" y="75313"/>
                  </a:cubicBezTo>
                  <a:cubicBezTo>
                    <a:pt x="124425" y="34632"/>
                    <a:pt x="62177" y="16744"/>
                    <a:pt x="1972" y="83"/>
                  </a:cubicBezTo>
                  <a:cubicBezTo>
                    <a:pt x="30" y="-530"/>
                    <a:pt x="-890" y="2434"/>
                    <a:pt x="1155" y="3047"/>
                  </a:cubicBezTo>
                  <a:lnTo>
                    <a:pt x="115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594A9DDC-9D82-4687-B7FD-68F1D7D98B08}"/>
                </a:ext>
              </a:extLst>
            </p:cNvPr>
            <p:cNvSpPr/>
            <p:nvPr/>
          </p:nvSpPr>
          <p:spPr>
            <a:xfrm>
              <a:off x="8254522" y="3464046"/>
              <a:ext cx="126762" cy="47536"/>
            </a:xfrm>
            <a:custGeom>
              <a:avLst/>
              <a:gdLst>
                <a:gd name="connsiteX0" fmla="*/ 1142 w 163543"/>
                <a:gd name="connsiteY0" fmla="*/ 3003 h 61328"/>
                <a:gd name="connsiteX1" fmla="*/ 161210 w 163543"/>
                <a:gd name="connsiteY1" fmla="*/ 65149 h 61328"/>
                <a:gd name="connsiteX2" fmla="*/ 162948 w 163543"/>
                <a:gd name="connsiteY2" fmla="*/ 62492 h 61328"/>
                <a:gd name="connsiteX3" fmla="*/ 2164 w 163543"/>
                <a:gd name="connsiteY3" fmla="*/ 39 h 61328"/>
                <a:gd name="connsiteX4" fmla="*/ 1142 w 163543"/>
                <a:gd name="connsiteY4" fmla="*/ 3003 h 61328"/>
                <a:gd name="connsiteX5" fmla="*/ 1142 w 163543"/>
                <a:gd name="connsiteY5" fmla="*/ 300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3543" h="61328">
                  <a:moveTo>
                    <a:pt x="1142" y="3003"/>
                  </a:moveTo>
                  <a:cubicBezTo>
                    <a:pt x="57871" y="14962"/>
                    <a:pt x="111943" y="35916"/>
                    <a:pt x="161210" y="65149"/>
                  </a:cubicBezTo>
                  <a:cubicBezTo>
                    <a:pt x="162948" y="66171"/>
                    <a:pt x="164685" y="63514"/>
                    <a:pt x="162948" y="62492"/>
                  </a:cubicBezTo>
                  <a:cubicBezTo>
                    <a:pt x="113476" y="33258"/>
                    <a:pt x="59098" y="12100"/>
                    <a:pt x="2164" y="39"/>
                  </a:cubicBezTo>
                  <a:cubicBezTo>
                    <a:pt x="18" y="-370"/>
                    <a:pt x="-902" y="2594"/>
                    <a:pt x="1142" y="3003"/>
                  </a:cubicBezTo>
                  <a:lnTo>
                    <a:pt x="1142" y="300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8D2CAA5C-C0FD-462B-89D5-3CA0AE122B30}"/>
                </a:ext>
              </a:extLst>
            </p:cNvPr>
            <p:cNvSpPr/>
            <p:nvPr/>
          </p:nvSpPr>
          <p:spPr>
            <a:xfrm>
              <a:off x="8275455" y="3456821"/>
              <a:ext cx="110917" cy="39613"/>
            </a:xfrm>
            <a:custGeom>
              <a:avLst/>
              <a:gdLst>
                <a:gd name="connsiteX0" fmla="*/ 1120 w 143100"/>
                <a:gd name="connsiteY0" fmla="*/ 3023 h 51107"/>
                <a:gd name="connsiteX1" fmla="*/ 142892 w 143100"/>
                <a:gd name="connsiteY1" fmla="*/ 60877 h 51107"/>
                <a:gd name="connsiteX2" fmla="*/ 144629 w 143100"/>
                <a:gd name="connsiteY2" fmla="*/ 58219 h 51107"/>
                <a:gd name="connsiteX3" fmla="*/ 2040 w 143100"/>
                <a:gd name="connsiteY3" fmla="*/ 59 h 51107"/>
                <a:gd name="connsiteX4" fmla="*/ 1120 w 143100"/>
                <a:gd name="connsiteY4" fmla="*/ 3023 h 51107"/>
                <a:gd name="connsiteX5" fmla="*/ 1120 w 143100"/>
                <a:gd name="connsiteY5" fmla="*/ 302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51107">
                  <a:moveTo>
                    <a:pt x="1120" y="3023"/>
                  </a:moveTo>
                  <a:cubicBezTo>
                    <a:pt x="51205" y="15391"/>
                    <a:pt x="99042" y="34914"/>
                    <a:pt x="142892" y="60877"/>
                  </a:cubicBezTo>
                  <a:cubicBezTo>
                    <a:pt x="144731" y="61899"/>
                    <a:pt x="146367" y="59241"/>
                    <a:pt x="144629" y="58219"/>
                  </a:cubicBezTo>
                  <a:cubicBezTo>
                    <a:pt x="100472" y="32052"/>
                    <a:pt x="52432" y="12427"/>
                    <a:pt x="2040" y="59"/>
                  </a:cubicBezTo>
                  <a:cubicBezTo>
                    <a:pt x="98" y="-452"/>
                    <a:pt x="-924" y="2512"/>
                    <a:pt x="1120" y="3023"/>
                  </a:cubicBezTo>
                  <a:lnTo>
                    <a:pt x="1120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E18EE114-7443-40CB-949C-32ED5A35F80A}"/>
                </a:ext>
              </a:extLst>
            </p:cNvPr>
            <p:cNvSpPr/>
            <p:nvPr/>
          </p:nvSpPr>
          <p:spPr>
            <a:xfrm>
              <a:off x="8300055" y="3449152"/>
              <a:ext cx="87149" cy="39613"/>
            </a:xfrm>
            <a:custGeom>
              <a:avLst/>
              <a:gdLst>
                <a:gd name="connsiteX0" fmla="*/ 1070 w 112435"/>
                <a:gd name="connsiteY0" fmla="*/ 3106 h 51107"/>
                <a:gd name="connsiteX1" fmla="*/ 113914 w 112435"/>
                <a:gd name="connsiteY1" fmla="*/ 52066 h 51107"/>
                <a:gd name="connsiteX2" fmla="*/ 115652 w 112435"/>
                <a:gd name="connsiteY2" fmla="*/ 49409 h 51107"/>
                <a:gd name="connsiteX3" fmla="*/ 2092 w 112435"/>
                <a:gd name="connsiteY3" fmla="*/ 141 h 51107"/>
                <a:gd name="connsiteX4" fmla="*/ 1070 w 112435"/>
                <a:gd name="connsiteY4" fmla="*/ 3106 h 51107"/>
                <a:gd name="connsiteX5" fmla="*/ 1070 w 112435"/>
                <a:gd name="connsiteY5" fmla="*/ 310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2435" h="51107">
                  <a:moveTo>
                    <a:pt x="1070" y="3106"/>
                  </a:moveTo>
                  <a:cubicBezTo>
                    <a:pt x="39604" y="17415"/>
                    <a:pt x="77219" y="33770"/>
                    <a:pt x="113914" y="52066"/>
                  </a:cubicBezTo>
                  <a:cubicBezTo>
                    <a:pt x="115754" y="52986"/>
                    <a:pt x="117492" y="50329"/>
                    <a:pt x="115652" y="49409"/>
                  </a:cubicBezTo>
                  <a:cubicBezTo>
                    <a:pt x="78753" y="31010"/>
                    <a:pt x="40933" y="14553"/>
                    <a:pt x="2092" y="141"/>
                  </a:cubicBezTo>
                  <a:cubicBezTo>
                    <a:pt x="47" y="-676"/>
                    <a:pt x="-872" y="2288"/>
                    <a:pt x="1070" y="3106"/>
                  </a:cubicBezTo>
                  <a:lnTo>
                    <a:pt x="1070" y="31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D6A65072-2BF1-4584-BA1B-CAABC4F9D75E}"/>
                </a:ext>
              </a:extLst>
            </p:cNvPr>
            <p:cNvSpPr/>
            <p:nvPr/>
          </p:nvSpPr>
          <p:spPr>
            <a:xfrm>
              <a:off x="8334293" y="3448112"/>
              <a:ext cx="55458" cy="23768"/>
            </a:xfrm>
            <a:custGeom>
              <a:avLst/>
              <a:gdLst>
                <a:gd name="connsiteX0" fmla="*/ 849 w 71550"/>
                <a:gd name="connsiteY0" fmla="*/ 2812 h 30664"/>
                <a:gd name="connsiteX1" fmla="*/ 73728 w 71550"/>
                <a:gd name="connsiteY1" fmla="*/ 40325 h 30664"/>
                <a:gd name="connsiteX2" fmla="*/ 75465 w 71550"/>
                <a:gd name="connsiteY2" fmla="*/ 37667 h 30664"/>
                <a:gd name="connsiteX3" fmla="*/ 2586 w 71550"/>
                <a:gd name="connsiteY3" fmla="*/ 154 h 30664"/>
                <a:gd name="connsiteX4" fmla="*/ 849 w 71550"/>
                <a:gd name="connsiteY4" fmla="*/ 2812 h 30664"/>
                <a:gd name="connsiteX5" fmla="*/ 849 w 71550"/>
                <a:gd name="connsiteY5" fmla="*/ 281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30664">
                  <a:moveTo>
                    <a:pt x="849" y="2812"/>
                  </a:moveTo>
                  <a:cubicBezTo>
                    <a:pt x="25994" y="13851"/>
                    <a:pt x="50321" y="26321"/>
                    <a:pt x="73728" y="40325"/>
                  </a:cubicBezTo>
                  <a:cubicBezTo>
                    <a:pt x="75465" y="41449"/>
                    <a:pt x="77203" y="38689"/>
                    <a:pt x="75465" y="37667"/>
                  </a:cubicBezTo>
                  <a:cubicBezTo>
                    <a:pt x="52058" y="23664"/>
                    <a:pt x="27731" y="11091"/>
                    <a:pt x="2586" y="154"/>
                  </a:cubicBezTo>
                  <a:cubicBezTo>
                    <a:pt x="644" y="-663"/>
                    <a:pt x="-1093" y="1994"/>
                    <a:pt x="849" y="2812"/>
                  </a:cubicBezTo>
                  <a:lnTo>
                    <a:pt x="849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CC58EB5A-C9CE-48F7-9210-D1F43083E39F}"/>
                </a:ext>
              </a:extLst>
            </p:cNvPr>
            <p:cNvSpPr/>
            <p:nvPr/>
          </p:nvSpPr>
          <p:spPr>
            <a:xfrm>
              <a:off x="8573144" y="3210337"/>
              <a:ext cx="79226" cy="118840"/>
            </a:xfrm>
            <a:custGeom>
              <a:avLst/>
              <a:gdLst>
                <a:gd name="connsiteX0" fmla="*/ 257 w 102214"/>
                <a:gd name="connsiteY0" fmla="*/ 2219 h 153321"/>
                <a:gd name="connsiteX1" fmla="*/ 103187 w 102214"/>
                <a:gd name="connsiteY1" fmla="*/ 158812 h 153321"/>
                <a:gd name="connsiteX2" fmla="*/ 106049 w 102214"/>
                <a:gd name="connsiteY2" fmla="*/ 157381 h 153321"/>
                <a:gd name="connsiteX3" fmla="*/ 3221 w 102214"/>
                <a:gd name="connsiteY3" fmla="*/ 789 h 153321"/>
                <a:gd name="connsiteX4" fmla="*/ 257 w 102214"/>
                <a:gd name="connsiteY4" fmla="*/ 2219 h 153321"/>
                <a:gd name="connsiteX5" fmla="*/ 257 w 102214"/>
                <a:gd name="connsiteY5" fmla="*/ 2219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19"/>
                  </a:moveTo>
                  <a:cubicBezTo>
                    <a:pt x="34601" y="54451"/>
                    <a:pt x="68842" y="106581"/>
                    <a:pt x="103187" y="158812"/>
                  </a:cubicBezTo>
                  <a:cubicBezTo>
                    <a:pt x="104311" y="160550"/>
                    <a:pt x="107173" y="159016"/>
                    <a:pt x="106049" y="157381"/>
                  </a:cubicBezTo>
                  <a:cubicBezTo>
                    <a:pt x="71807" y="105149"/>
                    <a:pt x="37463" y="53020"/>
                    <a:pt x="3221" y="789"/>
                  </a:cubicBezTo>
                  <a:cubicBezTo>
                    <a:pt x="1994" y="-949"/>
                    <a:pt x="-868" y="482"/>
                    <a:pt x="257" y="2219"/>
                  </a:cubicBezTo>
                  <a:lnTo>
                    <a:pt x="257" y="22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2088D1E3-1E80-40CD-837E-DE1BFEDDC38F}"/>
                </a:ext>
              </a:extLst>
            </p:cNvPr>
            <p:cNvSpPr/>
            <p:nvPr/>
          </p:nvSpPr>
          <p:spPr>
            <a:xfrm>
              <a:off x="8573698" y="3230593"/>
              <a:ext cx="79226" cy="118840"/>
            </a:xfrm>
            <a:custGeom>
              <a:avLst/>
              <a:gdLst>
                <a:gd name="connsiteX0" fmla="*/ 257 w 102214"/>
                <a:gd name="connsiteY0" fmla="*/ 2252 h 153321"/>
                <a:gd name="connsiteX1" fmla="*/ 105231 w 102214"/>
                <a:gd name="connsiteY1" fmla="*/ 159969 h 153321"/>
                <a:gd name="connsiteX2" fmla="*/ 108093 w 102214"/>
                <a:gd name="connsiteY2" fmla="*/ 158436 h 153321"/>
                <a:gd name="connsiteX3" fmla="*/ 3119 w 102214"/>
                <a:gd name="connsiteY3" fmla="*/ 719 h 153321"/>
                <a:gd name="connsiteX4" fmla="*/ 257 w 102214"/>
                <a:gd name="connsiteY4" fmla="*/ 2252 h 153321"/>
                <a:gd name="connsiteX5" fmla="*/ 257 w 102214"/>
                <a:gd name="connsiteY5" fmla="*/ 2252 h 153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53321">
                  <a:moveTo>
                    <a:pt x="257" y="2252"/>
                  </a:moveTo>
                  <a:cubicBezTo>
                    <a:pt x="35828" y="54484"/>
                    <a:pt x="70785" y="107022"/>
                    <a:pt x="105231" y="159969"/>
                  </a:cubicBezTo>
                  <a:cubicBezTo>
                    <a:pt x="106356" y="161707"/>
                    <a:pt x="109218" y="160174"/>
                    <a:pt x="108093" y="158436"/>
                  </a:cubicBezTo>
                  <a:cubicBezTo>
                    <a:pt x="73647" y="105489"/>
                    <a:pt x="38690" y="52951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5A2F0CEC-BD05-4AE5-A6E9-3EC4A796329C}"/>
                </a:ext>
              </a:extLst>
            </p:cNvPr>
            <p:cNvSpPr/>
            <p:nvPr/>
          </p:nvSpPr>
          <p:spPr>
            <a:xfrm>
              <a:off x="8574649" y="3250600"/>
              <a:ext cx="71304" cy="102994"/>
            </a:xfrm>
            <a:custGeom>
              <a:avLst/>
              <a:gdLst>
                <a:gd name="connsiteX0" fmla="*/ 257 w 91992"/>
                <a:gd name="connsiteY0" fmla="*/ 2199 h 132878"/>
                <a:gd name="connsiteX1" fmla="*/ 91227 w 91992"/>
                <a:gd name="connsiteY1" fmla="*/ 134055 h 132878"/>
                <a:gd name="connsiteX2" fmla="*/ 94089 w 91992"/>
                <a:gd name="connsiteY2" fmla="*/ 132624 h 132878"/>
                <a:gd name="connsiteX3" fmla="*/ 3221 w 91992"/>
                <a:gd name="connsiteY3" fmla="*/ 767 h 132878"/>
                <a:gd name="connsiteX4" fmla="*/ 257 w 91992"/>
                <a:gd name="connsiteY4" fmla="*/ 2199 h 132878"/>
                <a:gd name="connsiteX5" fmla="*/ 257 w 91992"/>
                <a:gd name="connsiteY5" fmla="*/ 2199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132878">
                  <a:moveTo>
                    <a:pt x="257" y="2199"/>
                  </a:moveTo>
                  <a:cubicBezTo>
                    <a:pt x="30614" y="46151"/>
                    <a:pt x="60870" y="90103"/>
                    <a:pt x="91227" y="134055"/>
                  </a:cubicBezTo>
                  <a:cubicBezTo>
                    <a:pt x="92352" y="135691"/>
                    <a:pt x="95214" y="134259"/>
                    <a:pt x="94089" y="132624"/>
                  </a:cubicBezTo>
                  <a:cubicBezTo>
                    <a:pt x="63834" y="88672"/>
                    <a:pt x="33476" y="44720"/>
                    <a:pt x="3221" y="767"/>
                  </a:cubicBezTo>
                  <a:cubicBezTo>
                    <a:pt x="1994" y="-970"/>
                    <a:pt x="-868" y="563"/>
                    <a:pt x="257" y="2199"/>
                  </a:cubicBezTo>
                  <a:lnTo>
                    <a:pt x="257" y="219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59B8DAD0-9712-47D9-B590-2FB3BBD53927}"/>
                </a:ext>
              </a:extLst>
            </p:cNvPr>
            <p:cNvSpPr/>
            <p:nvPr/>
          </p:nvSpPr>
          <p:spPr>
            <a:xfrm>
              <a:off x="8566489" y="3265134"/>
              <a:ext cx="55458" cy="79226"/>
            </a:xfrm>
            <a:custGeom>
              <a:avLst/>
              <a:gdLst>
                <a:gd name="connsiteX0" fmla="*/ 257 w 71550"/>
                <a:gd name="connsiteY0" fmla="*/ 2153 h 102214"/>
                <a:gd name="connsiteX1" fmla="*/ 72114 w 71550"/>
                <a:gd name="connsiteY1" fmla="*/ 108456 h 102214"/>
                <a:gd name="connsiteX2" fmla="*/ 74976 w 71550"/>
                <a:gd name="connsiteY2" fmla="*/ 107025 h 102214"/>
                <a:gd name="connsiteX3" fmla="*/ 3119 w 71550"/>
                <a:gd name="connsiteY3" fmla="*/ 722 h 102214"/>
                <a:gd name="connsiteX4" fmla="*/ 257 w 71550"/>
                <a:gd name="connsiteY4" fmla="*/ 2153 h 102214"/>
                <a:gd name="connsiteX5" fmla="*/ 257 w 71550"/>
                <a:gd name="connsiteY5" fmla="*/ 2153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02214">
                  <a:moveTo>
                    <a:pt x="257" y="2153"/>
                  </a:moveTo>
                  <a:cubicBezTo>
                    <a:pt x="24175" y="37622"/>
                    <a:pt x="48196" y="72988"/>
                    <a:pt x="72114" y="108456"/>
                  </a:cubicBezTo>
                  <a:cubicBezTo>
                    <a:pt x="73238" y="110092"/>
                    <a:pt x="76100" y="108661"/>
                    <a:pt x="74976" y="107025"/>
                  </a:cubicBezTo>
                  <a:cubicBezTo>
                    <a:pt x="51058" y="71557"/>
                    <a:pt x="27037" y="36191"/>
                    <a:pt x="3119" y="722"/>
                  </a:cubicBezTo>
                  <a:cubicBezTo>
                    <a:pt x="1995" y="-913"/>
                    <a:pt x="-867" y="518"/>
                    <a:pt x="257" y="2153"/>
                  </a:cubicBezTo>
                  <a:lnTo>
                    <a:pt x="257" y="21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1439547C-CBE5-4435-B148-750D4EB52380}"/>
                </a:ext>
              </a:extLst>
            </p:cNvPr>
            <p:cNvSpPr/>
            <p:nvPr/>
          </p:nvSpPr>
          <p:spPr>
            <a:xfrm>
              <a:off x="8559992" y="3282170"/>
              <a:ext cx="39613" cy="63381"/>
            </a:xfrm>
            <a:custGeom>
              <a:avLst/>
              <a:gdLst>
                <a:gd name="connsiteX0" fmla="*/ 257 w 51107"/>
                <a:gd name="connsiteY0" fmla="*/ 2252 h 81771"/>
                <a:gd name="connsiteX1" fmla="*/ 56066 w 51107"/>
                <a:gd name="connsiteY1" fmla="*/ 85864 h 81771"/>
                <a:gd name="connsiteX2" fmla="*/ 58928 w 51107"/>
                <a:gd name="connsiteY2" fmla="*/ 84331 h 81771"/>
                <a:gd name="connsiteX3" fmla="*/ 3119 w 51107"/>
                <a:gd name="connsiteY3" fmla="*/ 719 h 81771"/>
                <a:gd name="connsiteX4" fmla="*/ 257 w 51107"/>
                <a:gd name="connsiteY4" fmla="*/ 2252 h 81771"/>
                <a:gd name="connsiteX5" fmla="*/ 257 w 51107"/>
                <a:gd name="connsiteY5" fmla="*/ 2252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57" y="2252"/>
                  </a:moveTo>
                  <a:cubicBezTo>
                    <a:pt x="19167" y="29952"/>
                    <a:pt x="37770" y="57857"/>
                    <a:pt x="56066" y="85864"/>
                  </a:cubicBezTo>
                  <a:cubicBezTo>
                    <a:pt x="57190" y="87601"/>
                    <a:pt x="60052" y="86068"/>
                    <a:pt x="58928" y="84331"/>
                  </a:cubicBezTo>
                  <a:cubicBezTo>
                    <a:pt x="40632" y="56324"/>
                    <a:pt x="22029" y="28419"/>
                    <a:pt x="3119" y="719"/>
                  </a:cubicBezTo>
                  <a:cubicBezTo>
                    <a:pt x="1995" y="-916"/>
                    <a:pt x="-867" y="515"/>
                    <a:pt x="257" y="2252"/>
                  </a:cubicBezTo>
                  <a:lnTo>
                    <a:pt x="25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4F2C7A99-958C-4F55-99B5-632C4CBAB790}"/>
                </a:ext>
              </a:extLst>
            </p:cNvPr>
            <p:cNvSpPr/>
            <p:nvPr/>
          </p:nvSpPr>
          <p:spPr>
            <a:xfrm>
              <a:off x="8561211" y="3301977"/>
              <a:ext cx="23768" cy="39613"/>
            </a:xfrm>
            <a:custGeom>
              <a:avLst/>
              <a:gdLst>
                <a:gd name="connsiteX0" fmla="*/ 217 w 30664"/>
                <a:gd name="connsiteY0" fmla="*/ 2252 h 51107"/>
                <a:gd name="connsiteX1" fmla="*/ 30677 w 30664"/>
                <a:gd name="connsiteY1" fmla="*/ 54995 h 51107"/>
                <a:gd name="connsiteX2" fmla="*/ 33539 w 30664"/>
                <a:gd name="connsiteY2" fmla="*/ 53462 h 51107"/>
                <a:gd name="connsiteX3" fmla="*/ 3079 w 30664"/>
                <a:gd name="connsiteY3" fmla="*/ 719 h 51107"/>
                <a:gd name="connsiteX4" fmla="*/ 217 w 30664"/>
                <a:gd name="connsiteY4" fmla="*/ 2252 h 51107"/>
                <a:gd name="connsiteX5" fmla="*/ 217 w 30664"/>
                <a:gd name="connsiteY5" fmla="*/ 225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17" y="2252"/>
                  </a:moveTo>
                  <a:cubicBezTo>
                    <a:pt x="10336" y="19833"/>
                    <a:pt x="20456" y="37414"/>
                    <a:pt x="30677" y="54995"/>
                  </a:cubicBezTo>
                  <a:cubicBezTo>
                    <a:pt x="31699" y="56732"/>
                    <a:pt x="34561" y="55302"/>
                    <a:pt x="33539" y="53462"/>
                  </a:cubicBezTo>
                  <a:cubicBezTo>
                    <a:pt x="23420" y="35881"/>
                    <a:pt x="13301" y="18300"/>
                    <a:pt x="3079" y="719"/>
                  </a:cubicBezTo>
                  <a:cubicBezTo>
                    <a:pt x="2057" y="-916"/>
                    <a:pt x="-805" y="515"/>
                    <a:pt x="217" y="2252"/>
                  </a:cubicBezTo>
                  <a:lnTo>
                    <a:pt x="217" y="225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B298FB2C-0614-4941-A92C-DD9D796AB323}"/>
                </a:ext>
              </a:extLst>
            </p:cNvPr>
            <p:cNvSpPr/>
            <p:nvPr/>
          </p:nvSpPr>
          <p:spPr>
            <a:xfrm>
              <a:off x="8664949" y="3277412"/>
              <a:ext cx="102994" cy="39613"/>
            </a:xfrm>
            <a:custGeom>
              <a:avLst/>
              <a:gdLst>
                <a:gd name="connsiteX0" fmla="*/ 1098 w 132878"/>
                <a:gd name="connsiteY0" fmla="*/ 3075 h 51107"/>
                <a:gd name="connsiteX1" fmla="*/ 131421 w 132878"/>
                <a:gd name="connsiteY1" fmla="*/ 58986 h 51107"/>
                <a:gd name="connsiteX2" fmla="*/ 133159 w 132878"/>
                <a:gd name="connsiteY2" fmla="*/ 56329 h 51107"/>
                <a:gd name="connsiteX3" fmla="*/ 2120 w 132878"/>
                <a:gd name="connsiteY3" fmla="*/ 111 h 51107"/>
                <a:gd name="connsiteX4" fmla="*/ 1098 w 132878"/>
                <a:gd name="connsiteY4" fmla="*/ 3075 h 51107"/>
                <a:gd name="connsiteX5" fmla="*/ 1098 w 132878"/>
                <a:gd name="connsiteY5" fmla="*/ 307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2878" h="51107">
                  <a:moveTo>
                    <a:pt x="1098" y="3075"/>
                  </a:moveTo>
                  <a:cubicBezTo>
                    <a:pt x="45357" y="19940"/>
                    <a:pt x="88798" y="38543"/>
                    <a:pt x="131421" y="58986"/>
                  </a:cubicBezTo>
                  <a:cubicBezTo>
                    <a:pt x="133261" y="59906"/>
                    <a:pt x="134999" y="57248"/>
                    <a:pt x="133159" y="56329"/>
                  </a:cubicBezTo>
                  <a:cubicBezTo>
                    <a:pt x="90331" y="35783"/>
                    <a:pt x="46583" y="17078"/>
                    <a:pt x="2120" y="111"/>
                  </a:cubicBezTo>
                  <a:cubicBezTo>
                    <a:pt x="-27" y="-605"/>
                    <a:pt x="-844" y="2359"/>
                    <a:pt x="1098" y="3075"/>
                  </a:cubicBezTo>
                  <a:lnTo>
                    <a:pt x="1098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FDC5D840-63A9-4E81-B2D3-42DE46D04F6C}"/>
                </a:ext>
              </a:extLst>
            </p:cNvPr>
            <p:cNvSpPr/>
            <p:nvPr/>
          </p:nvSpPr>
          <p:spPr>
            <a:xfrm>
              <a:off x="8667422" y="3291853"/>
              <a:ext cx="79226" cy="23768"/>
            </a:xfrm>
            <a:custGeom>
              <a:avLst/>
              <a:gdLst>
                <a:gd name="connsiteX0" fmla="*/ 1075 w 102214"/>
                <a:gd name="connsiteY0" fmla="*/ 3047 h 30664"/>
                <a:gd name="connsiteX1" fmla="*/ 109321 w 102214"/>
                <a:gd name="connsiteY1" fmla="*/ 38822 h 30664"/>
                <a:gd name="connsiteX2" fmla="*/ 110240 w 102214"/>
                <a:gd name="connsiteY2" fmla="*/ 35858 h 30664"/>
                <a:gd name="connsiteX3" fmla="*/ 1995 w 102214"/>
                <a:gd name="connsiteY3" fmla="*/ 83 h 30664"/>
                <a:gd name="connsiteX4" fmla="*/ 1075 w 102214"/>
                <a:gd name="connsiteY4" fmla="*/ 3047 h 30664"/>
                <a:gd name="connsiteX5" fmla="*/ 1075 w 102214"/>
                <a:gd name="connsiteY5" fmla="*/ 304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47"/>
                  </a:moveTo>
                  <a:cubicBezTo>
                    <a:pt x="37464" y="14189"/>
                    <a:pt x="73546" y="26148"/>
                    <a:pt x="109321" y="38822"/>
                  </a:cubicBezTo>
                  <a:cubicBezTo>
                    <a:pt x="111263" y="39538"/>
                    <a:pt x="112183" y="36573"/>
                    <a:pt x="110240" y="35858"/>
                  </a:cubicBezTo>
                  <a:cubicBezTo>
                    <a:pt x="74465" y="23081"/>
                    <a:pt x="38384" y="11224"/>
                    <a:pt x="1995" y="83"/>
                  </a:cubicBezTo>
                  <a:cubicBezTo>
                    <a:pt x="53" y="-530"/>
                    <a:pt x="-867" y="2434"/>
                    <a:pt x="1075" y="3047"/>
                  </a:cubicBezTo>
                  <a:lnTo>
                    <a:pt x="1075" y="304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803CF821-38B7-4072-A826-9C787F41081E}"/>
                </a:ext>
              </a:extLst>
            </p:cNvPr>
            <p:cNvSpPr/>
            <p:nvPr/>
          </p:nvSpPr>
          <p:spPr>
            <a:xfrm>
              <a:off x="8667604" y="3298727"/>
              <a:ext cx="79226" cy="23768"/>
            </a:xfrm>
            <a:custGeom>
              <a:avLst/>
              <a:gdLst>
                <a:gd name="connsiteX0" fmla="*/ 1148 w 102214"/>
                <a:gd name="connsiteY0" fmla="*/ 3072 h 30664"/>
                <a:gd name="connsiteX1" fmla="*/ 101727 w 102214"/>
                <a:gd name="connsiteY1" fmla="*/ 34349 h 30664"/>
                <a:gd name="connsiteX2" fmla="*/ 102647 w 102214"/>
                <a:gd name="connsiteY2" fmla="*/ 31385 h 30664"/>
                <a:gd name="connsiteX3" fmla="*/ 2068 w 102214"/>
                <a:gd name="connsiteY3" fmla="*/ 108 h 30664"/>
                <a:gd name="connsiteX4" fmla="*/ 1148 w 102214"/>
                <a:gd name="connsiteY4" fmla="*/ 3072 h 30664"/>
                <a:gd name="connsiteX5" fmla="*/ 1148 w 102214"/>
                <a:gd name="connsiteY5" fmla="*/ 307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148" y="3072"/>
                  </a:moveTo>
                  <a:cubicBezTo>
                    <a:pt x="34470" y="14213"/>
                    <a:pt x="67997" y="24639"/>
                    <a:pt x="101727" y="34349"/>
                  </a:cubicBezTo>
                  <a:cubicBezTo>
                    <a:pt x="103772" y="34963"/>
                    <a:pt x="104692" y="31998"/>
                    <a:pt x="102647" y="31385"/>
                  </a:cubicBezTo>
                  <a:cubicBezTo>
                    <a:pt x="68917" y="21675"/>
                    <a:pt x="35390" y="11147"/>
                    <a:pt x="2068" y="108"/>
                  </a:cubicBezTo>
                  <a:cubicBezTo>
                    <a:pt x="24" y="-608"/>
                    <a:pt x="-896" y="2459"/>
                    <a:pt x="1148" y="3072"/>
                  </a:cubicBezTo>
                  <a:lnTo>
                    <a:pt x="1148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16A4BFB4-6A61-4D29-B192-B6EA4CD3370F}"/>
                </a:ext>
              </a:extLst>
            </p:cNvPr>
            <p:cNvSpPr/>
            <p:nvPr/>
          </p:nvSpPr>
          <p:spPr>
            <a:xfrm>
              <a:off x="8663540" y="3304270"/>
              <a:ext cx="79226" cy="23768"/>
            </a:xfrm>
            <a:custGeom>
              <a:avLst/>
              <a:gdLst>
                <a:gd name="connsiteX0" fmla="*/ 1075 w 102214"/>
                <a:gd name="connsiteY0" fmla="*/ 3075 h 30664"/>
                <a:gd name="connsiteX1" fmla="*/ 104925 w 102214"/>
                <a:gd name="connsiteY1" fmla="*/ 38646 h 30664"/>
                <a:gd name="connsiteX2" fmla="*/ 105845 w 102214"/>
                <a:gd name="connsiteY2" fmla="*/ 35681 h 30664"/>
                <a:gd name="connsiteX3" fmla="*/ 1995 w 102214"/>
                <a:gd name="connsiteY3" fmla="*/ 110 h 30664"/>
                <a:gd name="connsiteX4" fmla="*/ 1075 w 102214"/>
                <a:gd name="connsiteY4" fmla="*/ 3075 h 30664"/>
                <a:gd name="connsiteX5" fmla="*/ 1075 w 102214"/>
                <a:gd name="connsiteY5" fmla="*/ 307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30664">
                  <a:moveTo>
                    <a:pt x="1075" y="3075"/>
                  </a:moveTo>
                  <a:cubicBezTo>
                    <a:pt x="35726" y="14932"/>
                    <a:pt x="70275" y="26789"/>
                    <a:pt x="104925" y="38646"/>
                  </a:cubicBezTo>
                  <a:cubicBezTo>
                    <a:pt x="106867" y="39361"/>
                    <a:pt x="107787" y="36397"/>
                    <a:pt x="105845" y="35681"/>
                  </a:cubicBezTo>
                  <a:cubicBezTo>
                    <a:pt x="71195" y="23824"/>
                    <a:pt x="36646" y="11967"/>
                    <a:pt x="1995" y="110"/>
                  </a:cubicBezTo>
                  <a:cubicBezTo>
                    <a:pt x="53" y="-605"/>
                    <a:pt x="-867" y="2359"/>
                    <a:pt x="1075" y="3075"/>
                  </a:cubicBezTo>
                  <a:lnTo>
                    <a:pt x="1075" y="307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E7986EEA-CB4A-47CA-A173-68E4978E0FF8}"/>
                </a:ext>
              </a:extLst>
            </p:cNvPr>
            <p:cNvSpPr/>
            <p:nvPr/>
          </p:nvSpPr>
          <p:spPr>
            <a:xfrm>
              <a:off x="8676318" y="3323484"/>
              <a:ext cx="55458" cy="15845"/>
            </a:xfrm>
            <a:custGeom>
              <a:avLst/>
              <a:gdLst>
                <a:gd name="connsiteX0" fmla="*/ 1148 w 71550"/>
                <a:gd name="connsiteY0" fmla="*/ 3023 h 20442"/>
                <a:gd name="connsiteX1" fmla="*/ 74130 w 71550"/>
                <a:gd name="connsiteY1" fmla="*/ 26022 h 20442"/>
                <a:gd name="connsiteX2" fmla="*/ 75049 w 71550"/>
                <a:gd name="connsiteY2" fmla="*/ 23057 h 20442"/>
                <a:gd name="connsiteX3" fmla="*/ 2068 w 71550"/>
                <a:gd name="connsiteY3" fmla="*/ 59 h 20442"/>
                <a:gd name="connsiteX4" fmla="*/ 1148 w 71550"/>
                <a:gd name="connsiteY4" fmla="*/ 3023 h 20442"/>
                <a:gd name="connsiteX5" fmla="*/ 1148 w 71550"/>
                <a:gd name="connsiteY5" fmla="*/ 302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1148" y="3023"/>
                  </a:moveTo>
                  <a:cubicBezTo>
                    <a:pt x="25782" y="9667"/>
                    <a:pt x="50109" y="17333"/>
                    <a:pt x="74130" y="26022"/>
                  </a:cubicBezTo>
                  <a:cubicBezTo>
                    <a:pt x="76072" y="26737"/>
                    <a:pt x="76992" y="23773"/>
                    <a:pt x="75049" y="23057"/>
                  </a:cubicBezTo>
                  <a:cubicBezTo>
                    <a:pt x="51131" y="14369"/>
                    <a:pt x="26804" y="6601"/>
                    <a:pt x="2068" y="59"/>
                  </a:cubicBezTo>
                  <a:cubicBezTo>
                    <a:pt x="24" y="-452"/>
                    <a:pt x="-896" y="2512"/>
                    <a:pt x="1148" y="3023"/>
                  </a:cubicBezTo>
                  <a:lnTo>
                    <a:pt x="1148" y="302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C8E2E62E-741A-4E2C-AEC9-B4F5D52E8980}"/>
                </a:ext>
              </a:extLst>
            </p:cNvPr>
            <p:cNvSpPr/>
            <p:nvPr/>
          </p:nvSpPr>
          <p:spPr>
            <a:xfrm>
              <a:off x="8674805" y="3335689"/>
              <a:ext cx="55458" cy="15845"/>
            </a:xfrm>
            <a:custGeom>
              <a:avLst/>
              <a:gdLst>
                <a:gd name="connsiteX0" fmla="*/ 852 w 71550"/>
                <a:gd name="connsiteY0" fmla="*/ 2812 h 20442"/>
                <a:gd name="connsiteX1" fmla="*/ 75468 w 71550"/>
                <a:gd name="connsiteY1" fmla="*/ 26117 h 20442"/>
                <a:gd name="connsiteX2" fmla="*/ 76388 w 71550"/>
                <a:gd name="connsiteY2" fmla="*/ 23153 h 20442"/>
                <a:gd name="connsiteX3" fmla="*/ 2487 w 71550"/>
                <a:gd name="connsiteY3" fmla="*/ 154 h 20442"/>
                <a:gd name="connsiteX4" fmla="*/ 852 w 71550"/>
                <a:gd name="connsiteY4" fmla="*/ 2812 h 20442"/>
                <a:gd name="connsiteX5" fmla="*/ 852 w 71550"/>
                <a:gd name="connsiteY5" fmla="*/ 2812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20442">
                  <a:moveTo>
                    <a:pt x="852" y="2812"/>
                  </a:moveTo>
                  <a:cubicBezTo>
                    <a:pt x="24770" y="13238"/>
                    <a:pt x="49710" y="21108"/>
                    <a:pt x="75468" y="26117"/>
                  </a:cubicBezTo>
                  <a:cubicBezTo>
                    <a:pt x="77513" y="26526"/>
                    <a:pt x="78433" y="23562"/>
                    <a:pt x="76388" y="23153"/>
                  </a:cubicBezTo>
                  <a:cubicBezTo>
                    <a:pt x="50835" y="18144"/>
                    <a:pt x="26201" y="10478"/>
                    <a:pt x="2487" y="154"/>
                  </a:cubicBezTo>
                  <a:cubicBezTo>
                    <a:pt x="647" y="-663"/>
                    <a:pt x="-1090" y="1994"/>
                    <a:pt x="852" y="2812"/>
                  </a:cubicBezTo>
                  <a:lnTo>
                    <a:pt x="852" y="281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A7AE9154-CDEA-4F5A-BA0C-712194524842}"/>
                </a:ext>
              </a:extLst>
            </p:cNvPr>
            <p:cNvSpPr/>
            <p:nvPr/>
          </p:nvSpPr>
          <p:spPr>
            <a:xfrm>
              <a:off x="8714158" y="3118801"/>
              <a:ext cx="71304" cy="71304"/>
            </a:xfrm>
            <a:custGeom>
              <a:avLst/>
              <a:gdLst>
                <a:gd name="connsiteX0" fmla="*/ 677 w 91992"/>
                <a:gd name="connsiteY0" fmla="*/ 2973 h 91992"/>
                <a:gd name="connsiteX1" fmla="*/ 96963 w 91992"/>
                <a:gd name="connsiteY1" fmla="*/ 100077 h 91992"/>
                <a:gd name="connsiteX2" fmla="*/ 99825 w 91992"/>
                <a:gd name="connsiteY2" fmla="*/ 98646 h 91992"/>
                <a:gd name="connsiteX3" fmla="*/ 2313 w 91992"/>
                <a:gd name="connsiteY3" fmla="*/ 316 h 91992"/>
                <a:gd name="connsiteX4" fmla="*/ 677 w 91992"/>
                <a:gd name="connsiteY4" fmla="*/ 2973 h 91992"/>
                <a:gd name="connsiteX5" fmla="*/ 677 w 91992"/>
                <a:gd name="connsiteY5" fmla="*/ 297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677" y="2973"/>
                  </a:moveTo>
                  <a:cubicBezTo>
                    <a:pt x="37986" y="30367"/>
                    <a:pt x="70490" y="63075"/>
                    <a:pt x="96963" y="100077"/>
                  </a:cubicBezTo>
                  <a:cubicBezTo>
                    <a:pt x="98190" y="101713"/>
                    <a:pt x="101052" y="100282"/>
                    <a:pt x="99825" y="98646"/>
                  </a:cubicBezTo>
                  <a:cubicBezTo>
                    <a:pt x="72943" y="61134"/>
                    <a:pt x="40132" y="28118"/>
                    <a:pt x="2313" y="316"/>
                  </a:cubicBezTo>
                  <a:cubicBezTo>
                    <a:pt x="677" y="-911"/>
                    <a:pt x="-958" y="1747"/>
                    <a:pt x="677" y="2973"/>
                  </a:cubicBezTo>
                  <a:lnTo>
                    <a:pt x="677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C9154078-408D-41E6-B9BD-6358D95E0A2F}"/>
                </a:ext>
              </a:extLst>
            </p:cNvPr>
            <p:cNvSpPr/>
            <p:nvPr/>
          </p:nvSpPr>
          <p:spPr>
            <a:xfrm>
              <a:off x="8725388" y="3135238"/>
              <a:ext cx="55458" cy="55458"/>
            </a:xfrm>
            <a:custGeom>
              <a:avLst/>
              <a:gdLst>
                <a:gd name="connsiteX0" fmla="*/ 499 w 71550"/>
                <a:gd name="connsiteY0" fmla="*/ 2618 h 71550"/>
                <a:gd name="connsiteX1" fmla="*/ 74809 w 71550"/>
                <a:gd name="connsiteY1" fmla="*/ 74577 h 71550"/>
                <a:gd name="connsiteX2" fmla="*/ 77160 w 71550"/>
                <a:gd name="connsiteY2" fmla="*/ 72431 h 71550"/>
                <a:gd name="connsiteX3" fmla="*/ 2850 w 71550"/>
                <a:gd name="connsiteY3" fmla="*/ 472 h 71550"/>
                <a:gd name="connsiteX4" fmla="*/ 499 w 71550"/>
                <a:gd name="connsiteY4" fmla="*/ 2618 h 71550"/>
                <a:gd name="connsiteX5" fmla="*/ 499 w 71550"/>
                <a:gd name="connsiteY5" fmla="*/ 261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499" y="2618"/>
                  </a:moveTo>
                  <a:cubicBezTo>
                    <a:pt x="26257" y="25719"/>
                    <a:pt x="50993" y="49739"/>
                    <a:pt x="74809" y="74577"/>
                  </a:cubicBezTo>
                  <a:cubicBezTo>
                    <a:pt x="76240" y="76008"/>
                    <a:pt x="78591" y="73862"/>
                    <a:pt x="77160" y="72431"/>
                  </a:cubicBezTo>
                  <a:cubicBezTo>
                    <a:pt x="53344" y="47593"/>
                    <a:pt x="28505" y="23572"/>
                    <a:pt x="2850" y="472"/>
                  </a:cubicBezTo>
                  <a:cubicBezTo>
                    <a:pt x="1316" y="-959"/>
                    <a:pt x="-1035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124BDE6B-DF8E-4A16-B58E-6853F4EC681E}"/>
                </a:ext>
              </a:extLst>
            </p:cNvPr>
            <p:cNvSpPr/>
            <p:nvPr/>
          </p:nvSpPr>
          <p:spPr>
            <a:xfrm>
              <a:off x="8716788" y="3143322"/>
              <a:ext cx="71304" cy="71304"/>
            </a:xfrm>
            <a:custGeom>
              <a:avLst/>
              <a:gdLst>
                <a:gd name="connsiteX0" fmla="*/ 554 w 91992"/>
                <a:gd name="connsiteY0" fmla="*/ 2513 h 91992"/>
                <a:gd name="connsiteX1" fmla="*/ 94898 w 91992"/>
                <a:gd name="connsiteY1" fmla="*/ 94710 h 91992"/>
                <a:gd name="connsiteX2" fmla="*/ 97249 w 91992"/>
                <a:gd name="connsiteY2" fmla="*/ 92564 h 91992"/>
                <a:gd name="connsiteX3" fmla="*/ 2905 w 91992"/>
                <a:gd name="connsiteY3" fmla="*/ 366 h 91992"/>
                <a:gd name="connsiteX4" fmla="*/ 554 w 91992"/>
                <a:gd name="connsiteY4" fmla="*/ 2513 h 91992"/>
                <a:gd name="connsiteX5" fmla="*/ 554 w 91992"/>
                <a:gd name="connsiteY5" fmla="*/ 251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1992" h="91992">
                  <a:moveTo>
                    <a:pt x="554" y="2513"/>
                  </a:moveTo>
                  <a:cubicBezTo>
                    <a:pt x="35920" y="29497"/>
                    <a:pt x="67504" y="60468"/>
                    <a:pt x="94898" y="94710"/>
                  </a:cubicBezTo>
                  <a:cubicBezTo>
                    <a:pt x="96124" y="96243"/>
                    <a:pt x="98475" y="94097"/>
                    <a:pt x="97249" y="92564"/>
                  </a:cubicBezTo>
                  <a:cubicBezTo>
                    <a:pt x="69957" y="58220"/>
                    <a:pt x="38271" y="27351"/>
                    <a:pt x="2905" y="366"/>
                  </a:cubicBezTo>
                  <a:cubicBezTo>
                    <a:pt x="1269" y="-860"/>
                    <a:pt x="-1082" y="1286"/>
                    <a:pt x="554" y="2513"/>
                  </a:cubicBezTo>
                  <a:lnTo>
                    <a:pt x="554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A99D0D87-C7CB-4301-9641-866539D66D7D}"/>
                </a:ext>
              </a:extLst>
            </p:cNvPr>
            <p:cNvSpPr/>
            <p:nvPr/>
          </p:nvSpPr>
          <p:spPr>
            <a:xfrm>
              <a:off x="8729034" y="3165697"/>
              <a:ext cx="39613" cy="39613"/>
            </a:xfrm>
            <a:custGeom>
              <a:avLst/>
              <a:gdLst>
                <a:gd name="connsiteX0" fmla="*/ 394 w 51107"/>
                <a:gd name="connsiteY0" fmla="*/ 2674 h 51107"/>
                <a:gd name="connsiteX1" fmla="*/ 55487 w 51107"/>
                <a:gd name="connsiteY1" fmla="*/ 58176 h 51107"/>
                <a:gd name="connsiteX2" fmla="*/ 57838 w 51107"/>
                <a:gd name="connsiteY2" fmla="*/ 56030 h 51107"/>
                <a:gd name="connsiteX3" fmla="*/ 2745 w 51107"/>
                <a:gd name="connsiteY3" fmla="*/ 527 h 51107"/>
                <a:gd name="connsiteX4" fmla="*/ 394 w 51107"/>
                <a:gd name="connsiteY4" fmla="*/ 2674 h 51107"/>
                <a:gd name="connsiteX5" fmla="*/ 394 w 51107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394" y="2674"/>
                  </a:moveTo>
                  <a:cubicBezTo>
                    <a:pt x="17668" y="22197"/>
                    <a:pt x="35965" y="40698"/>
                    <a:pt x="55487" y="58176"/>
                  </a:cubicBezTo>
                  <a:cubicBezTo>
                    <a:pt x="57021" y="59505"/>
                    <a:pt x="59372" y="57359"/>
                    <a:pt x="57838" y="56030"/>
                  </a:cubicBezTo>
                  <a:cubicBezTo>
                    <a:pt x="38418" y="38551"/>
                    <a:pt x="20019" y="20050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2BDE2744-9D74-4D32-97FF-50A70B0A7FB0}"/>
                </a:ext>
              </a:extLst>
            </p:cNvPr>
            <p:cNvSpPr/>
            <p:nvPr/>
          </p:nvSpPr>
          <p:spPr>
            <a:xfrm>
              <a:off x="8731488" y="3186894"/>
              <a:ext cx="47536" cy="39613"/>
            </a:xfrm>
            <a:custGeom>
              <a:avLst/>
              <a:gdLst>
                <a:gd name="connsiteX0" fmla="*/ 499 w 61328"/>
                <a:gd name="connsiteY0" fmla="*/ 2619 h 51107"/>
                <a:gd name="connsiteX1" fmla="*/ 62134 w 61328"/>
                <a:gd name="connsiteY1" fmla="*/ 56996 h 51107"/>
                <a:gd name="connsiteX2" fmla="*/ 64485 w 61328"/>
                <a:gd name="connsiteY2" fmla="*/ 54850 h 51107"/>
                <a:gd name="connsiteX3" fmla="*/ 2850 w 61328"/>
                <a:gd name="connsiteY3" fmla="*/ 472 h 51107"/>
                <a:gd name="connsiteX4" fmla="*/ 499 w 61328"/>
                <a:gd name="connsiteY4" fmla="*/ 2619 h 51107"/>
                <a:gd name="connsiteX5" fmla="*/ 499 w 61328"/>
                <a:gd name="connsiteY5" fmla="*/ 26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499" y="2619"/>
                  </a:moveTo>
                  <a:cubicBezTo>
                    <a:pt x="21044" y="20710"/>
                    <a:pt x="41589" y="38802"/>
                    <a:pt x="62134" y="56996"/>
                  </a:cubicBezTo>
                  <a:cubicBezTo>
                    <a:pt x="63667" y="58325"/>
                    <a:pt x="66018" y="56179"/>
                    <a:pt x="64485" y="54850"/>
                  </a:cubicBezTo>
                  <a:cubicBezTo>
                    <a:pt x="43940" y="36758"/>
                    <a:pt x="23395" y="18666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26CAC930-D4AC-4ADC-8E87-5621A19E6BE3}"/>
                </a:ext>
              </a:extLst>
            </p:cNvPr>
            <p:cNvSpPr/>
            <p:nvPr/>
          </p:nvSpPr>
          <p:spPr>
            <a:xfrm>
              <a:off x="8723612" y="3194183"/>
              <a:ext cx="47536" cy="39613"/>
            </a:xfrm>
            <a:custGeom>
              <a:avLst/>
              <a:gdLst>
                <a:gd name="connsiteX0" fmla="*/ 541 w 61328"/>
                <a:gd name="connsiteY0" fmla="*/ 2618 h 51107"/>
                <a:gd name="connsiteX1" fmla="*/ 60949 w 61328"/>
                <a:gd name="connsiteY1" fmla="*/ 55463 h 51107"/>
                <a:gd name="connsiteX2" fmla="*/ 63300 w 61328"/>
                <a:gd name="connsiteY2" fmla="*/ 53317 h 51107"/>
                <a:gd name="connsiteX3" fmla="*/ 2892 w 61328"/>
                <a:gd name="connsiteY3" fmla="*/ 472 h 51107"/>
                <a:gd name="connsiteX4" fmla="*/ 541 w 61328"/>
                <a:gd name="connsiteY4" fmla="*/ 2618 h 51107"/>
                <a:gd name="connsiteX5" fmla="*/ 541 w 61328"/>
                <a:gd name="connsiteY5" fmla="*/ 261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541" y="2618"/>
                  </a:moveTo>
                  <a:cubicBezTo>
                    <a:pt x="20677" y="20199"/>
                    <a:pt x="40813" y="37882"/>
                    <a:pt x="60949" y="55463"/>
                  </a:cubicBezTo>
                  <a:cubicBezTo>
                    <a:pt x="62483" y="56792"/>
                    <a:pt x="64833" y="54645"/>
                    <a:pt x="63300" y="53317"/>
                  </a:cubicBezTo>
                  <a:cubicBezTo>
                    <a:pt x="43164" y="35736"/>
                    <a:pt x="23028" y="18053"/>
                    <a:pt x="2892" y="472"/>
                  </a:cubicBezTo>
                  <a:cubicBezTo>
                    <a:pt x="1358" y="-959"/>
                    <a:pt x="-1095" y="1188"/>
                    <a:pt x="541" y="2618"/>
                  </a:cubicBezTo>
                  <a:lnTo>
                    <a:pt x="541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6F5AEFD4-DA45-48C4-9878-C4E1D0B30164}"/>
                </a:ext>
              </a:extLst>
            </p:cNvPr>
            <p:cNvSpPr/>
            <p:nvPr/>
          </p:nvSpPr>
          <p:spPr>
            <a:xfrm>
              <a:off x="8727052" y="3209473"/>
              <a:ext cx="39613" cy="31691"/>
            </a:xfrm>
            <a:custGeom>
              <a:avLst/>
              <a:gdLst>
                <a:gd name="connsiteX0" fmla="*/ 498 w 51107"/>
                <a:gd name="connsiteY0" fmla="*/ 2619 h 40885"/>
                <a:gd name="connsiteX1" fmla="*/ 52831 w 51107"/>
                <a:gd name="connsiteY1" fmla="*/ 42891 h 40885"/>
                <a:gd name="connsiteX2" fmla="*/ 54569 w 51107"/>
                <a:gd name="connsiteY2" fmla="*/ 40233 h 40885"/>
                <a:gd name="connsiteX3" fmla="*/ 2951 w 51107"/>
                <a:gd name="connsiteY3" fmla="*/ 472 h 40885"/>
                <a:gd name="connsiteX4" fmla="*/ 498 w 51107"/>
                <a:gd name="connsiteY4" fmla="*/ 2619 h 40885"/>
                <a:gd name="connsiteX5" fmla="*/ 498 w 51107"/>
                <a:gd name="connsiteY5" fmla="*/ 261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498" y="2619"/>
                  </a:moveTo>
                  <a:cubicBezTo>
                    <a:pt x="16545" y="17644"/>
                    <a:pt x="34024" y="31136"/>
                    <a:pt x="52831" y="42891"/>
                  </a:cubicBezTo>
                  <a:cubicBezTo>
                    <a:pt x="54569" y="44015"/>
                    <a:pt x="56307" y="41358"/>
                    <a:pt x="54569" y="40233"/>
                  </a:cubicBezTo>
                  <a:cubicBezTo>
                    <a:pt x="35966" y="28581"/>
                    <a:pt x="18692" y="15293"/>
                    <a:pt x="2951" y="472"/>
                  </a:cubicBezTo>
                  <a:cubicBezTo>
                    <a:pt x="1315" y="-959"/>
                    <a:pt x="-1036" y="1187"/>
                    <a:pt x="498" y="2619"/>
                  </a:cubicBezTo>
                  <a:lnTo>
                    <a:pt x="498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466E3490-2F0D-446D-8147-3DE185DDCB07}"/>
                </a:ext>
              </a:extLst>
            </p:cNvPr>
            <p:cNvSpPr/>
            <p:nvPr/>
          </p:nvSpPr>
          <p:spPr>
            <a:xfrm>
              <a:off x="9710845" y="1862233"/>
              <a:ext cx="110917" cy="134685"/>
            </a:xfrm>
            <a:custGeom>
              <a:avLst/>
              <a:gdLst>
                <a:gd name="connsiteX0" fmla="*/ 344 w 143100"/>
                <a:gd name="connsiteY0" fmla="*/ 2717 h 173764"/>
                <a:gd name="connsiteX1" fmla="*/ 146818 w 143100"/>
                <a:gd name="connsiteY1" fmla="*/ 178526 h 173764"/>
                <a:gd name="connsiteX2" fmla="*/ 149169 w 143100"/>
                <a:gd name="connsiteY2" fmla="*/ 176379 h 173764"/>
                <a:gd name="connsiteX3" fmla="*/ 2695 w 143100"/>
                <a:gd name="connsiteY3" fmla="*/ 570 h 173764"/>
                <a:gd name="connsiteX4" fmla="*/ 344 w 143100"/>
                <a:gd name="connsiteY4" fmla="*/ 2717 h 173764"/>
                <a:gd name="connsiteX5" fmla="*/ 344 w 143100"/>
                <a:gd name="connsiteY5" fmla="*/ 2717 h 173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3100" h="173764">
                  <a:moveTo>
                    <a:pt x="344" y="2717"/>
                  </a:moveTo>
                  <a:cubicBezTo>
                    <a:pt x="49203" y="61286"/>
                    <a:pt x="98061" y="119957"/>
                    <a:pt x="146818" y="178526"/>
                  </a:cubicBezTo>
                  <a:cubicBezTo>
                    <a:pt x="148146" y="180059"/>
                    <a:pt x="150497" y="177912"/>
                    <a:pt x="149169" y="176379"/>
                  </a:cubicBezTo>
                  <a:cubicBezTo>
                    <a:pt x="100310" y="117810"/>
                    <a:pt x="51554" y="5913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61C4F2F1-ECDC-4D70-9F55-3120D041F2D7}"/>
                </a:ext>
              </a:extLst>
            </p:cNvPr>
            <p:cNvSpPr/>
            <p:nvPr/>
          </p:nvSpPr>
          <p:spPr>
            <a:xfrm>
              <a:off x="9735959" y="1876483"/>
              <a:ext cx="95071" cy="102994"/>
            </a:xfrm>
            <a:custGeom>
              <a:avLst/>
              <a:gdLst>
                <a:gd name="connsiteX0" fmla="*/ 344 w 122657"/>
                <a:gd name="connsiteY0" fmla="*/ 2731 h 132878"/>
                <a:gd name="connsiteX1" fmla="*/ 124637 w 122657"/>
                <a:gd name="connsiteY1" fmla="*/ 138983 h 132878"/>
                <a:gd name="connsiteX2" fmla="*/ 126988 w 122657"/>
                <a:gd name="connsiteY2" fmla="*/ 136836 h 132878"/>
                <a:gd name="connsiteX3" fmla="*/ 2695 w 122657"/>
                <a:gd name="connsiteY3" fmla="*/ 585 h 132878"/>
                <a:gd name="connsiteX4" fmla="*/ 344 w 122657"/>
                <a:gd name="connsiteY4" fmla="*/ 2731 h 132878"/>
                <a:gd name="connsiteX5" fmla="*/ 344 w 122657"/>
                <a:gd name="connsiteY5" fmla="*/ 2731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657" h="132878">
                  <a:moveTo>
                    <a:pt x="344" y="2731"/>
                  </a:moveTo>
                  <a:cubicBezTo>
                    <a:pt x="37959" y="51181"/>
                    <a:pt x="79458" y="96768"/>
                    <a:pt x="124637" y="138983"/>
                  </a:cubicBezTo>
                  <a:cubicBezTo>
                    <a:pt x="126170" y="140414"/>
                    <a:pt x="128521" y="138267"/>
                    <a:pt x="126988" y="136836"/>
                  </a:cubicBezTo>
                  <a:cubicBezTo>
                    <a:pt x="81809" y="94622"/>
                    <a:pt x="40208" y="49034"/>
                    <a:pt x="2695" y="585"/>
                  </a:cubicBezTo>
                  <a:cubicBezTo>
                    <a:pt x="1469" y="-1051"/>
                    <a:pt x="-882" y="1096"/>
                    <a:pt x="344" y="2731"/>
                  </a:cubicBezTo>
                  <a:lnTo>
                    <a:pt x="344" y="273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F788DD12-2294-45FA-AFA8-B4D7DEC611E2}"/>
                </a:ext>
              </a:extLst>
            </p:cNvPr>
            <p:cNvSpPr/>
            <p:nvPr/>
          </p:nvSpPr>
          <p:spPr>
            <a:xfrm>
              <a:off x="9746894" y="1881122"/>
              <a:ext cx="79226" cy="79226"/>
            </a:xfrm>
            <a:custGeom>
              <a:avLst/>
              <a:gdLst>
                <a:gd name="connsiteX0" fmla="*/ 445 w 102214"/>
                <a:gd name="connsiteY0" fmla="*/ 2674 h 102214"/>
                <a:gd name="connsiteX1" fmla="*/ 105624 w 102214"/>
                <a:gd name="connsiteY1" fmla="*/ 111635 h 102214"/>
                <a:gd name="connsiteX2" fmla="*/ 107975 w 102214"/>
                <a:gd name="connsiteY2" fmla="*/ 109488 h 102214"/>
                <a:gd name="connsiteX3" fmla="*/ 2796 w 102214"/>
                <a:gd name="connsiteY3" fmla="*/ 528 h 102214"/>
                <a:gd name="connsiteX4" fmla="*/ 445 w 102214"/>
                <a:gd name="connsiteY4" fmla="*/ 2674 h 102214"/>
                <a:gd name="connsiteX5" fmla="*/ 445 w 102214"/>
                <a:gd name="connsiteY5" fmla="*/ 2674 h 102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102214">
                  <a:moveTo>
                    <a:pt x="445" y="2674"/>
                  </a:moveTo>
                  <a:cubicBezTo>
                    <a:pt x="34074" y="40187"/>
                    <a:pt x="69133" y="76575"/>
                    <a:pt x="105624" y="111635"/>
                  </a:cubicBezTo>
                  <a:cubicBezTo>
                    <a:pt x="107055" y="113066"/>
                    <a:pt x="109406" y="110919"/>
                    <a:pt x="107975" y="109488"/>
                  </a:cubicBezTo>
                  <a:cubicBezTo>
                    <a:pt x="71485" y="74326"/>
                    <a:pt x="36425" y="38040"/>
                    <a:pt x="2796" y="528"/>
                  </a:cubicBezTo>
                  <a:cubicBezTo>
                    <a:pt x="1365" y="-1006"/>
                    <a:pt x="-986" y="1141"/>
                    <a:pt x="445" y="2674"/>
                  </a:cubicBezTo>
                  <a:lnTo>
                    <a:pt x="445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96562675-F6A7-4360-9EAC-2043FB27A04C}"/>
                </a:ext>
              </a:extLst>
            </p:cNvPr>
            <p:cNvSpPr/>
            <p:nvPr/>
          </p:nvSpPr>
          <p:spPr>
            <a:xfrm>
              <a:off x="9760836" y="1885592"/>
              <a:ext cx="71304" cy="71304"/>
            </a:xfrm>
            <a:custGeom>
              <a:avLst/>
              <a:gdLst>
                <a:gd name="connsiteX0" fmla="*/ 446 w 91992"/>
                <a:gd name="connsiteY0" fmla="*/ 2530 h 91992"/>
                <a:gd name="connsiteX1" fmla="*/ 46852 w 91992"/>
                <a:gd name="connsiteY1" fmla="*/ 46891 h 91992"/>
                <a:gd name="connsiteX2" fmla="*/ 95812 w 91992"/>
                <a:gd name="connsiteY2" fmla="*/ 92274 h 91992"/>
                <a:gd name="connsiteX3" fmla="*/ 93053 w 91992"/>
                <a:gd name="connsiteY3" fmla="*/ 90639 h 91992"/>
                <a:gd name="connsiteX4" fmla="*/ 92746 w 91992"/>
                <a:gd name="connsiteY4" fmla="*/ 90945 h 91992"/>
                <a:gd name="connsiteX5" fmla="*/ 92950 w 91992"/>
                <a:gd name="connsiteY5" fmla="*/ 92785 h 91992"/>
                <a:gd name="connsiteX6" fmla="*/ 95506 w 91992"/>
                <a:gd name="connsiteY6" fmla="*/ 93603 h 91992"/>
                <a:gd name="connsiteX7" fmla="*/ 96732 w 91992"/>
                <a:gd name="connsiteY7" fmla="*/ 92172 h 91992"/>
                <a:gd name="connsiteX8" fmla="*/ 93257 w 91992"/>
                <a:gd name="connsiteY8" fmla="*/ 86959 h 91992"/>
                <a:gd name="connsiteX9" fmla="*/ 80787 w 91992"/>
                <a:gd name="connsiteY9" fmla="*/ 75102 h 91992"/>
                <a:gd name="connsiteX10" fmla="*/ 54722 w 91992"/>
                <a:gd name="connsiteY10" fmla="*/ 50264 h 91992"/>
                <a:gd name="connsiteX11" fmla="*/ 2695 w 91992"/>
                <a:gd name="connsiteY11" fmla="*/ 588 h 91992"/>
                <a:gd name="connsiteX12" fmla="*/ 446 w 91992"/>
                <a:gd name="connsiteY12" fmla="*/ 2530 h 91992"/>
                <a:gd name="connsiteX13" fmla="*/ 446 w 91992"/>
                <a:gd name="connsiteY13" fmla="*/ 2530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992" h="91992">
                  <a:moveTo>
                    <a:pt x="446" y="2530"/>
                  </a:moveTo>
                  <a:cubicBezTo>
                    <a:pt x="15881" y="17351"/>
                    <a:pt x="31417" y="32070"/>
                    <a:pt x="46852" y="46891"/>
                  </a:cubicBezTo>
                  <a:cubicBezTo>
                    <a:pt x="50940" y="50775"/>
                    <a:pt x="95404" y="92683"/>
                    <a:pt x="95812" y="92274"/>
                  </a:cubicBezTo>
                  <a:cubicBezTo>
                    <a:pt x="97141" y="90741"/>
                    <a:pt x="94279" y="89106"/>
                    <a:pt x="93053" y="90639"/>
                  </a:cubicBezTo>
                  <a:cubicBezTo>
                    <a:pt x="92950" y="90741"/>
                    <a:pt x="92848" y="90843"/>
                    <a:pt x="92746" y="90945"/>
                  </a:cubicBezTo>
                  <a:cubicBezTo>
                    <a:pt x="92337" y="91457"/>
                    <a:pt x="92542" y="92377"/>
                    <a:pt x="92950" y="92785"/>
                  </a:cubicBezTo>
                  <a:cubicBezTo>
                    <a:pt x="93768" y="93603"/>
                    <a:pt x="94279" y="93808"/>
                    <a:pt x="95506" y="93603"/>
                  </a:cubicBezTo>
                  <a:cubicBezTo>
                    <a:pt x="96221" y="93501"/>
                    <a:pt x="96732" y="92785"/>
                    <a:pt x="96732" y="92172"/>
                  </a:cubicBezTo>
                  <a:cubicBezTo>
                    <a:pt x="96732" y="89719"/>
                    <a:pt x="95097" y="88697"/>
                    <a:pt x="93257" y="86959"/>
                  </a:cubicBezTo>
                  <a:cubicBezTo>
                    <a:pt x="89169" y="82973"/>
                    <a:pt x="84978" y="78986"/>
                    <a:pt x="80787" y="75102"/>
                  </a:cubicBezTo>
                  <a:cubicBezTo>
                    <a:pt x="72099" y="66823"/>
                    <a:pt x="63411" y="58543"/>
                    <a:pt x="54722" y="50264"/>
                  </a:cubicBezTo>
                  <a:cubicBezTo>
                    <a:pt x="37346" y="33705"/>
                    <a:pt x="20072" y="17147"/>
                    <a:pt x="2695" y="588"/>
                  </a:cubicBezTo>
                  <a:cubicBezTo>
                    <a:pt x="1366" y="-1048"/>
                    <a:pt x="-985" y="1099"/>
                    <a:pt x="446" y="2530"/>
                  </a:cubicBezTo>
                  <a:lnTo>
                    <a:pt x="446" y="253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3ADB0919-B43B-429A-A5CE-7FE671932547}"/>
                </a:ext>
              </a:extLst>
            </p:cNvPr>
            <p:cNvSpPr/>
            <p:nvPr/>
          </p:nvSpPr>
          <p:spPr>
            <a:xfrm>
              <a:off x="9787695" y="1900022"/>
              <a:ext cx="47536" cy="31691"/>
            </a:xfrm>
            <a:custGeom>
              <a:avLst/>
              <a:gdLst>
                <a:gd name="connsiteX0" fmla="*/ 445 w 61328"/>
                <a:gd name="connsiteY0" fmla="*/ 2618 h 40885"/>
                <a:gd name="connsiteX1" fmla="*/ 59525 w 61328"/>
                <a:gd name="connsiteY1" fmla="*/ 50557 h 40885"/>
                <a:gd name="connsiteX2" fmla="*/ 61263 w 61328"/>
                <a:gd name="connsiteY2" fmla="*/ 47899 h 40885"/>
                <a:gd name="connsiteX3" fmla="*/ 2796 w 61328"/>
                <a:gd name="connsiteY3" fmla="*/ 472 h 40885"/>
                <a:gd name="connsiteX4" fmla="*/ 445 w 61328"/>
                <a:gd name="connsiteY4" fmla="*/ 2618 h 40885"/>
                <a:gd name="connsiteX5" fmla="*/ 445 w 61328"/>
                <a:gd name="connsiteY5" fmla="*/ 261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445" y="2618"/>
                  </a:moveTo>
                  <a:cubicBezTo>
                    <a:pt x="18640" y="20302"/>
                    <a:pt x="38367" y="36247"/>
                    <a:pt x="59525" y="50557"/>
                  </a:cubicBezTo>
                  <a:cubicBezTo>
                    <a:pt x="61263" y="51681"/>
                    <a:pt x="62898" y="49024"/>
                    <a:pt x="61263" y="47899"/>
                  </a:cubicBezTo>
                  <a:cubicBezTo>
                    <a:pt x="40309" y="33794"/>
                    <a:pt x="20786" y="17951"/>
                    <a:pt x="2796" y="472"/>
                  </a:cubicBezTo>
                  <a:cubicBezTo>
                    <a:pt x="1365" y="-959"/>
                    <a:pt x="-986" y="1187"/>
                    <a:pt x="445" y="2618"/>
                  </a:cubicBezTo>
                  <a:lnTo>
                    <a:pt x="445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D1194B32-CBB7-4D10-AABD-3CA951FBF867}"/>
                </a:ext>
              </a:extLst>
            </p:cNvPr>
            <p:cNvSpPr/>
            <p:nvPr/>
          </p:nvSpPr>
          <p:spPr>
            <a:xfrm>
              <a:off x="9781791" y="1883780"/>
              <a:ext cx="55458" cy="47536"/>
            </a:xfrm>
            <a:custGeom>
              <a:avLst/>
              <a:gdLst>
                <a:gd name="connsiteX0" fmla="*/ 499 w 71550"/>
                <a:gd name="connsiteY0" fmla="*/ 2618 h 61328"/>
                <a:gd name="connsiteX1" fmla="*/ 76853 w 71550"/>
                <a:gd name="connsiteY1" fmla="*/ 63538 h 61328"/>
                <a:gd name="connsiteX2" fmla="*/ 78591 w 71550"/>
                <a:gd name="connsiteY2" fmla="*/ 60881 h 61328"/>
                <a:gd name="connsiteX3" fmla="*/ 2850 w 71550"/>
                <a:gd name="connsiteY3" fmla="*/ 472 h 61328"/>
                <a:gd name="connsiteX4" fmla="*/ 499 w 71550"/>
                <a:gd name="connsiteY4" fmla="*/ 2618 h 61328"/>
                <a:gd name="connsiteX5" fmla="*/ 499 w 71550"/>
                <a:gd name="connsiteY5" fmla="*/ 261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61328">
                  <a:moveTo>
                    <a:pt x="499" y="2618"/>
                  </a:moveTo>
                  <a:cubicBezTo>
                    <a:pt x="24008" y="25003"/>
                    <a:pt x="49562" y="45344"/>
                    <a:pt x="76853" y="63538"/>
                  </a:cubicBezTo>
                  <a:cubicBezTo>
                    <a:pt x="78591" y="64663"/>
                    <a:pt x="80226" y="62005"/>
                    <a:pt x="78591" y="60881"/>
                  </a:cubicBezTo>
                  <a:cubicBezTo>
                    <a:pt x="51504" y="42891"/>
                    <a:pt x="26257" y="22652"/>
                    <a:pt x="2850" y="472"/>
                  </a:cubicBezTo>
                  <a:cubicBezTo>
                    <a:pt x="1316" y="-959"/>
                    <a:pt x="-1034" y="1187"/>
                    <a:pt x="499" y="2618"/>
                  </a:cubicBezTo>
                  <a:lnTo>
                    <a:pt x="499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86C27137-45E9-40D1-9C93-AF092F30852E}"/>
                </a:ext>
              </a:extLst>
            </p:cNvPr>
            <p:cNvSpPr/>
            <p:nvPr/>
          </p:nvSpPr>
          <p:spPr>
            <a:xfrm>
              <a:off x="9801678" y="1890477"/>
              <a:ext cx="39613" cy="23768"/>
            </a:xfrm>
            <a:custGeom>
              <a:avLst/>
              <a:gdLst>
                <a:gd name="connsiteX0" fmla="*/ 498 w 51107"/>
                <a:gd name="connsiteY0" fmla="*/ 2565 h 30664"/>
                <a:gd name="connsiteX1" fmla="*/ 53854 w 51107"/>
                <a:gd name="connsiteY1" fmla="*/ 39055 h 30664"/>
                <a:gd name="connsiteX2" fmla="*/ 55591 w 51107"/>
                <a:gd name="connsiteY2" fmla="*/ 36398 h 30664"/>
                <a:gd name="connsiteX3" fmla="*/ 2951 w 51107"/>
                <a:gd name="connsiteY3" fmla="*/ 418 h 30664"/>
                <a:gd name="connsiteX4" fmla="*/ 498 w 51107"/>
                <a:gd name="connsiteY4" fmla="*/ 2565 h 30664"/>
                <a:gd name="connsiteX5" fmla="*/ 498 w 51107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498" y="2565"/>
                  </a:moveTo>
                  <a:cubicBezTo>
                    <a:pt x="16545" y="16875"/>
                    <a:pt x="34331" y="29140"/>
                    <a:pt x="53854" y="39055"/>
                  </a:cubicBezTo>
                  <a:cubicBezTo>
                    <a:pt x="55693" y="39975"/>
                    <a:pt x="57431" y="37318"/>
                    <a:pt x="55591" y="36398"/>
                  </a:cubicBezTo>
                  <a:cubicBezTo>
                    <a:pt x="36375" y="26585"/>
                    <a:pt x="18794" y="14524"/>
                    <a:pt x="2951" y="418"/>
                  </a:cubicBezTo>
                  <a:cubicBezTo>
                    <a:pt x="1315" y="-911"/>
                    <a:pt x="-1036" y="1236"/>
                    <a:pt x="498" y="2565"/>
                  </a:cubicBezTo>
                  <a:lnTo>
                    <a:pt x="498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E3DB34AD-BE42-47F2-9DFC-C4AE00DB5DD4}"/>
                </a:ext>
              </a:extLst>
            </p:cNvPr>
            <p:cNvSpPr/>
            <p:nvPr/>
          </p:nvSpPr>
          <p:spPr>
            <a:xfrm>
              <a:off x="9803943" y="1880297"/>
              <a:ext cx="55458" cy="31691"/>
            </a:xfrm>
            <a:custGeom>
              <a:avLst/>
              <a:gdLst>
                <a:gd name="connsiteX0" fmla="*/ 539 w 71550"/>
                <a:gd name="connsiteY0" fmla="*/ 2513 h 40885"/>
                <a:gd name="connsiteX1" fmla="*/ 69125 w 71550"/>
                <a:gd name="connsiteY1" fmla="*/ 49634 h 40885"/>
                <a:gd name="connsiteX2" fmla="*/ 70863 w 71550"/>
                <a:gd name="connsiteY2" fmla="*/ 46976 h 40885"/>
                <a:gd name="connsiteX3" fmla="*/ 2993 w 71550"/>
                <a:gd name="connsiteY3" fmla="*/ 366 h 40885"/>
                <a:gd name="connsiteX4" fmla="*/ 539 w 71550"/>
                <a:gd name="connsiteY4" fmla="*/ 2513 h 40885"/>
                <a:gd name="connsiteX5" fmla="*/ 539 w 71550"/>
                <a:gd name="connsiteY5" fmla="*/ 2513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40885">
                  <a:moveTo>
                    <a:pt x="539" y="2513"/>
                  </a:moveTo>
                  <a:cubicBezTo>
                    <a:pt x="22516" y="19276"/>
                    <a:pt x="45411" y="35017"/>
                    <a:pt x="69125" y="49634"/>
                  </a:cubicBezTo>
                  <a:cubicBezTo>
                    <a:pt x="70863" y="50758"/>
                    <a:pt x="72601" y="48100"/>
                    <a:pt x="70863" y="46976"/>
                  </a:cubicBezTo>
                  <a:cubicBezTo>
                    <a:pt x="47456" y="32564"/>
                    <a:pt x="24764" y="17027"/>
                    <a:pt x="2993" y="366"/>
                  </a:cubicBezTo>
                  <a:cubicBezTo>
                    <a:pt x="1357" y="-860"/>
                    <a:pt x="-1096" y="1286"/>
                    <a:pt x="539" y="2513"/>
                  </a:cubicBezTo>
                  <a:lnTo>
                    <a:pt x="539" y="25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E525BE7B-1596-45CE-8230-EA1EB2A0A9E0}"/>
                </a:ext>
              </a:extLst>
            </p:cNvPr>
            <p:cNvSpPr/>
            <p:nvPr/>
          </p:nvSpPr>
          <p:spPr>
            <a:xfrm>
              <a:off x="8696877" y="3041348"/>
              <a:ext cx="285215" cy="285215"/>
            </a:xfrm>
            <a:custGeom>
              <a:avLst/>
              <a:gdLst>
                <a:gd name="connsiteX0" fmla="*/ 3552 w 367971"/>
                <a:gd name="connsiteY0" fmla="*/ 43309 h 367971"/>
                <a:gd name="connsiteX1" fmla="*/ 690 w 367971"/>
                <a:gd name="connsiteY1" fmla="*/ 60787 h 367971"/>
                <a:gd name="connsiteX2" fmla="*/ 11524 w 367971"/>
                <a:gd name="connsiteY2" fmla="*/ 74075 h 367971"/>
                <a:gd name="connsiteX3" fmla="*/ 135817 w 367971"/>
                <a:gd name="connsiteY3" fmla="*/ 215438 h 367971"/>
                <a:gd name="connsiteX4" fmla="*/ 150945 w 367971"/>
                <a:gd name="connsiteY4" fmla="*/ 293939 h 367971"/>
                <a:gd name="connsiteX5" fmla="*/ 271353 w 367971"/>
                <a:gd name="connsiteY5" fmla="*/ 165455 h 367971"/>
                <a:gd name="connsiteX6" fmla="*/ 296907 w 367971"/>
                <a:gd name="connsiteY6" fmla="*/ 155540 h 367971"/>
                <a:gd name="connsiteX7" fmla="*/ 218917 w 367971"/>
                <a:gd name="connsiteY7" fmla="*/ 265932 h 367971"/>
                <a:gd name="connsiteX8" fmla="*/ 177623 w 367971"/>
                <a:gd name="connsiteY8" fmla="*/ 313973 h 367971"/>
                <a:gd name="connsiteX9" fmla="*/ 162495 w 367971"/>
                <a:gd name="connsiteY9" fmla="*/ 372746 h 367971"/>
                <a:gd name="connsiteX10" fmla="*/ 365493 w 367971"/>
                <a:gd name="connsiteY10" fmla="*/ 150634 h 367971"/>
                <a:gd name="connsiteX11" fmla="*/ 372750 w 367971"/>
                <a:gd name="connsiteY11" fmla="*/ 139595 h 367971"/>
                <a:gd name="connsiteX12" fmla="*/ 362529 w 367971"/>
                <a:gd name="connsiteY12" fmla="*/ 119868 h 367971"/>
                <a:gd name="connsiteX13" fmla="*/ 338815 w 367971"/>
                <a:gd name="connsiteY13" fmla="*/ 113223 h 367971"/>
                <a:gd name="connsiteX14" fmla="*/ 152069 w 367971"/>
                <a:gd name="connsiteY14" fmla="*/ 57619 h 367971"/>
                <a:gd name="connsiteX15" fmla="*/ 66618 w 367971"/>
                <a:gd name="connsiteY15" fmla="*/ 12031 h 367971"/>
                <a:gd name="connsiteX16" fmla="*/ 32274 w 367971"/>
                <a:gd name="connsiteY16" fmla="*/ 3445 h 367971"/>
                <a:gd name="connsiteX17" fmla="*/ 3552 w 367971"/>
                <a:gd name="connsiteY17" fmla="*/ 43309 h 36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67971" h="367971">
                  <a:moveTo>
                    <a:pt x="3552" y="43309"/>
                  </a:moveTo>
                  <a:cubicBezTo>
                    <a:pt x="996" y="48828"/>
                    <a:pt x="-1150" y="55063"/>
                    <a:pt x="690" y="60787"/>
                  </a:cubicBezTo>
                  <a:cubicBezTo>
                    <a:pt x="2325" y="66205"/>
                    <a:pt x="7027" y="70294"/>
                    <a:pt x="11524" y="74075"/>
                  </a:cubicBezTo>
                  <a:cubicBezTo>
                    <a:pt x="59974" y="115063"/>
                    <a:pt x="101984" y="162900"/>
                    <a:pt x="135817" y="215438"/>
                  </a:cubicBezTo>
                  <a:cubicBezTo>
                    <a:pt x="151149" y="239254"/>
                    <a:pt x="164846" y="269407"/>
                    <a:pt x="150945" y="293939"/>
                  </a:cubicBezTo>
                  <a:cubicBezTo>
                    <a:pt x="186720" y="247636"/>
                    <a:pt x="227095" y="204603"/>
                    <a:pt x="271353" y="165455"/>
                  </a:cubicBezTo>
                  <a:cubicBezTo>
                    <a:pt x="278406" y="159220"/>
                    <a:pt x="287708" y="152576"/>
                    <a:pt x="296907" y="155540"/>
                  </a:cubicBezTo>
                  <a:cubicBezTo>
                    <a:pt x="273091" y="193666"/>
                    <a:pt x="249173" y="232099"/>
                    <a:pt x="218917" y="265932"/>
                  </a:cubicBezTo>
                  <a:cubicBezTo>
                    <a:pt x="204812" y="281673"/>
                    <a:pt x="189275" y="296494"/>
                    <a:pt x="177623" y="313973"/>
                  </a:cubicBezTo>
                  <a:cubicBezTo>
                    <a:pt x="165970" y="331451"/>
                    <a:pt x="158509" y="352507"/>
                    <a:pt x="162495" y="372746"/>
                  </a:cubicBezTo>
                  <a:cubicBezTo>
                    <a:pt x="230161" y="298743"/>
                    <a:pt x="297827" y="224739"/>
                    <a:pt x="365493" y="150634"/>
                  </a:cubicBezTo>
                  <a:cubicBezTo>
                    <a:pt x="368559" y="147363"/>
                    <a:pt x="371626" y="143888"/>
                    <a:pt x="372750" y="139595"/>
                  </a:cubicBezTo>
                  <a:cubicBezTo>
                    <a:pt x="374794" y="132031"/>
                    <a:pt x="369479" y="124058"/>
                    <a:pt x="362529" y="119868"/>
                  </a:cubicBezTo>
                  <a:cubicBezTo>
                    <a:pt x="355476" y="115677"/>
                    <a:pt x="347094" y="114450"/>
                    <a:pt x="338815" y="113223"/>
                  </a:cubicBezTo>
                  <a:cubicBezTo>
                    <a:pt x="274215" y="103104"/>
                    <a:pt x="211149" y="84297"/>
                    <a:pt x="152069" y="57619"/>
                  </a:cubicBezTo>
                  <a:cubicBezTo>
                    <a:pt x="122529" y="44331"/>
                    <a:pt x="93909" y="29101"/>
                    <a:pt x="66618" y="12031"/>
                  </a:cubicBezTo>
                  <a:cubicBezTo>
                    <a:pt x="51899" y="2832"/>
                    <a:pt x="47504" y="-4630"/>
                    <a:pt x="32274" y="3445"/>
                  </a:cubicBezTo>
                  <a:cubicBezTo>
                    <a:pt x="19599" y="10294"/>
                    <a:pt x="8969" y="31350"/>
                    <a:pt x="3552" y="4330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0BC107B9-E3A9-4469-B183-9FE7E9167DA7}"/>
                </a:ext>
              </a:extLst>
            </p:cNvPr>
            <p:cNvSpPr/>
            <p:nvPr/>
          </p:nvSpPr>
          <p:spPr>
            <a:xfrm>
              <a:off x="9630612" y="1863468"/>
              <a:ext cx="332751" cy="269369"/>
            </a:xfrm>
            <a:custGeom>
              <a:avLst/>
              <a:gdLst>
                <a:gd name="connsiteX0" fmla="*/ 100995 w 429300"/>
                <a:gd name="connsiteY0" fmla="*/ 0 h 347529"/>
                <a:gd name="connsiteX1" fmla="*/ 178473 w 429300"/>
                <a:gd name="connsiteY1" fmla="*/ 94242 h 347529"/>
                <a:gd name="connsiteX2" fmla="*/ 242664 w 429300"/>
                <a:gd name="connsiteY2" fmla="*/ 154548 h 347529"/>
                <a:gd name="connsiteX3" fmla="*/ 328729 w 429300"/>
                <a:gd name="connsiteY3" fmla="*/ 155673 h 347529"/>
                <a:gd name="connsiteX4" fmla="*/ 254214 w 429300"/>
                <a:gd name="connsiteY4" fmla="*/ 252878 h 347529"/>
                <a:gd name="connsiteX5" fmla="*/ 250330 w 429300"/>
                <a:gd name="connsiteY5" fmla="*/ 279352 h 347529"/>
                <a:gd name="connsiteX6" fmla="*/ 355611 w 429300"/>
                <a:gd name="connsiteY6" fmla="*/ 169676 h 347529"/>
                <a:gd name="connsiteX7" fmla="*/ 366241 w 429300"/>
                <a:gd name="connsiteY7" fmla="*/ 161294 h 347529"/>
                <a:gd name="connsiteX8" fmla="*/ 380245 w 429300"/>
                <a:gd name="connsiteY8" fmla="*/ 159659 h 347529"/>
                <a:gd name="connsiteX9" fmla="*/ 437178 w 429300"/>
                <a:gd name="connsiteY9" fmla="*/ 160783 h 347529"/>
                <a:gd name="connsiteX10" fmla="*/ 283448 w 429300"/>
                <a:gd name="connsiteY10" fmla="*/ 350902 h 347529"/>
                <a:gd name="connsiteX11" fmla="*/ 185628 w 429300"/>
                <a:gd name="connsiteY11" fmla="*/ 301533 h 347529"/>
                <a:gd name="connsiteX12" fmla="*/ 65424 w 429300"/>
                <a:gd name="connsiteY12" fmla="*/ 229062 h 347529"/>
                <a:gd name="connsiteX13" fmla="*/ 4198 w 429300"/>
                <a:gd name="connsiteY13" fmla="*/ 116013 h 347529"/>
                <a:gd name="connsiteX14" fmla="*/ 100995 w 429300"/>
                <a:gd name="connsiteY14" fmla="*/ 0 h 347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29300" h="347529">
                  <a:moveTo>
                    <a:pt x="100995" y="0"/>
                  </a:moveTo>
                  <a:cubicBezTo>
                    <a:pt x="126855" y="31380"/>
                    <a:pt x="152715" y="62862"/>
                    <a:pt x="178473" y="94242"/>
                  </a:cubicBezTo>
                  <a:cubicBezTo>
                    <a:pt x="197076" y="116933"/>
                    <a:pt x="216395" y="140136"/>
                    <a:pt x="242664" y="154548"/>
                  </a:cubicBezTo>
                  <a:cubicBezTo>
                    <a:pt x="268933" y="168960"/>
                    <a:pt x="304197" y="172538"/>
                    <a:pt x="328729" y="155673"/>
                  </a:cubicBezTo>
                  <a:cubicBezTo>
                    <a:pt x="303890" y="188075"/>
                    <a:pt x="279052" y="220476"/>
                    <a:pt x="254214" y="252878"/>
                  </a:cubicBezTo>
                  <a:cubicBezTo>
                    <a:pt x="248081" y="260851"/>
                    <a:pt x="242357" y="273015"/>
                    <a:pt x="250330" y="279352"/>
                  </a:cubicBezTo>
                  <a:cubicBezTo>
                    <a:pt x="285390" y="242759"/>
                    <a:pt x="320551" y="206269"/>
                    <a:pt x="355611" y="169676"/>
                  </a:cubicBezTo>
                  <a:cubicBezTo>
                    <a:pt x="358677" y="166405"/>
                    <a:pt x="361948" y="163134"/>
                    <a:pt x="366241" y="161294"/>
                  </a:cubicBezTo>
                  <a:cubicBezTo>
                    <a:pt x="370636" y="159454"/>
                    <a:pt x="375543" y="159557"/>
                    <a:pt x="380245" y="159659"/>
                  </a:cubicBezTo>
                  <a:cubicBezTo>
                    <a:pt x="399256" y="160068"/>
                    <a:pt x="418166" y="160477"/>
                    <a:pt x="437178" y="160783"/>
                  </a:cubicBezTo>
                  <a:cubicBezTo>
                    <a:pt x="382596" y="221703"/>
                    <a:pt x="331284" y="285178"/>
                    <a:pt x="283448" y="350902"/>
                  </a:cubicBezTo>
                  <a:cubicBezTo>
                    <a:pt x="250841" y="334446"/>
                    <a:pt x="218235" y="317989"/>
                    <a:pt x="185628" y="301533"/>
                  </a:cubicBezTo>
                  <a:cubicBezTo>
                    <a:pt x="143618" y="280272"/>
                    <a:pt x="101199" y="258807"/>
                    <a:pt x="65424" y="229062"/>
                  </a:cubicBezTo>
                  <a:cubicBezTo>
                    <a:pt x="36906" y="205247"/>
                    <a:pt x="-15121" y="154855"/>
                    <a:pt x="4198" y="116013"/>
                  </a:cubicBezTo>
                  <a:cubicBezTo>
                    <a:pt x="11148" y="102521"/>
                    <a:pt x="102732" y="2249"/>
                    <a:pt x="100995" y="0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85A74353-B751-4938-9176-6CBAB353AE3A}"/>
                </a:ext>
              </a:extLst>
            </p:cNvPr>
            <p:cNvSpPr/>
            <p:nvPr/>
          </p:nvSpPr>
          <p:spPr>
            <a:xfrm>
              <a:off x="8567400" y="3874308"/>
              <a:ext cx="617965" cy="459513"/>
            </a:xfrm>
            <a:custGeom>
              <a:avLst/>
              <a:gdLst>
                <a:gd name="connsiteX0" fmla="*/ 56015 w 797272"/>
                <a:gd name="connsiteY0" fmla="*/ 597038 h 592843"/>
                <a:gd name="connsiteX1" fmla="*/ 45486 w 797272"/>
                <a:gd name="connsiteY1" fmla="*/ 530497 h 592843"/>
                <a:gd name="connsiteX2" fmla="*/ 47531 w 797272"/>
                <a:gd name="connsiteY2" fmla="*/ 512302 h 592843"/>
                <a:gd name="connsiteX3" fmla="*/ 56526 w 797272"/>
                <a:gd name="connsiteY3" fmla="*/ 505863 h 592843"/>
                <a:gd name="connsiteX4" fmla="*/ 111517 w 797272"/>
                <a:gd name="connsiteY4" fmla="*/ 481638 h 592843"/>
                <a:gd name="connsiteX5" fmla="*/ 146883 w 797272"/>
                <a:gd name="connsiteY5" fmla="*/ 311655 h 592843"/>
                <a:gd name="connsiteX6" fmla="*/ 153425 w 797272"/>
                <a:gd name="connsiteY6" fmla="*/ 298265 h 592843"/>
                <a:gd name="connsiteX7" fmla="*/ 107633 w 797272"/>
                <a:gd name="connsiteY7" fmla="*/ 242865 h 592843"/>
                <a:gd name="connsiteX8" fmla="*/ 138910 w 797272"/>
                <a:gd name="connsiteY8" fmla="*/ 191962 h 592843"/>
                <a:gd name="connsiteX9" fmla="*/ 188178 w 797272"/>
                <a:gd name="connsiteY9" fmla="*/ 217720 h 592843"/>
                <a:gd name="connsiteX10" fmla="*/ 194209 w 797272"/>
                <a:gd name="connsiteY10" fmla="*/ 219151 h 592843"/>
                <a:gd name="connsiteX11" fmla="*/ 199115 w 797272"/>
                <a:gd name="connsiteY11" fmla="*/ 216289 h 592843"/>
                <a:gd name="connsiteX12" fmla="*/ 372879 w 797272"/>
                <a:gd name="connsiteY12" fmla="*/ 123172 h 592843"/>
                <a:gd name="connsiteX13" fmla="*/ 379728 w 797272"/>
                <a:gd name="connsiteY13" fmla="*/ 59697 h 592843"/>
                <a:gd name="connsiteX14" fmla="*/ 425724 w 797272"/>
                <a:gd name="connsiteY14" fmla="*/ 51724 h 592843"/>
                <a:gd name="connsiteX15" fmla="*/ 454855 w 797272"/>
                <a:gd name="connsiteY15" fmla="*/ 105898 h 592843"/>
                <a:gd name="connsiteX16" fmla="*/ 660408 w 797272"/>
                <a:gd name="connsiteY16" fmla="*/ 145455 h 592843"/>
                <a:gd name="connsiteX17" fmla="*/ 708654 w 797272"/>
                <a:gd name="connsiteY17" fmla="*/ 108760 h 592843"/>
                <a:gd name="connsiteX18" fmla="*/ 784395 w 797272"/>
                <a:gd name="connsiteY18" fmla="*/ 158129 h 592843"/>
                <a:gd name="connsiteX19" fmla="*/ 805553 w 797272"/>
                <a:gd name="connsiteY19" fmla="*/ 116017 h 592843"/>
                <a:gd name="connsiteX20" fmla="*/ 729608 w 797272"/>
                <a:gd name="connsiteY20" fmla="*/ 68385 h 592843"/>
                <a:gd name="connsiteX21" fmla="*/ 717751 w 797272"/>
                <a:gd name="connsiteY21" fmla="*/ 60617 h 592843"/>
                <a:gd name="connsiteX22" fmla="*/ 682078 w 797272"/>
                <a:gd name="connsiteY22" fmla="*/ 77584 h 592843"/>
                <a:gd name="connsiteX23" fmla="*/ 613390 w 797272"/>
                <a:gd name="connsiteY23" fmla="*/ 81366 h 592843"/>
                <a:gd name="connsiteX24" fmla="*/ 515060 w 797272"/>
                <a:gd name="connsiteY24" fmla="*/ 61332 h 592843"/>
                <a:gd name="connsiteX25" fmla="*/ 451687 w 797272"/>
                <a:gd name="connsiteY25" fmla="*/ 20038 h 592843"/>
                <a:gd name="connsiteX26" fmla="*/ 445247 w 797272"/>
                <a:gd name="connsiteY26" fmla="*/ 2048 h 592843"/>
                <a:gd name="connsiteX27" fmla="*/ 428688 w 797272"/>
                <a:gd name="connsiteY27" fmla="*/ 1332 h 592843"/>
                <a:gd name="connsiteX28" fmla="*/ 350597 w 797272"/>
                <a:gd name="connsiteY28" fmla="*/ 19833 h 592843"/>
                <a:gd name="connsiteX29" fmla="*/ 340375 w 797272"/>
                <a:gd name="connsiteY29" fmla="*/ 60208 h 592843"/>
                <a:gd name="connsiteX30" fmla="*/ 333220 w 797272"/>
                <a:gd name="connsiteY30" fmla="*/ 77380 h 592843"/>
                <a:gd name="connsiteX31" fmla="*/ 321670 w 797272"/>
                <a:gd name="connsiteY31" fmla="*/ 86579 h 592843"/>
                <a:gd name="connsiteX32" fmla="*/ 197275 w 797272"/>
                <a:gd name="connsiteY32" fmla="*/ 166102 h 592843"/>
                <a:gd name="connsiteX33" fmla="*/ 122045 w 797272"/>
                <a:gd name="connsiteY33" fmla="*/ 153836 h 592843"/>
                <a:gd name="connsiteX34" fmla="*/ 60921 w 797272"/>
                <a:gd name="connsiteY34" fmla="*/ 239799 h 592843"/>
                <a:gd name="connsiteX35" fmla="*/ 95367 w 797272"/>
                <a:gd name="connsiteY35" fmla="*/ 298265 h 592843"/>
                <a:gd name="connsiteX36" fmla="*/ 92505 w 797272"/>
                <a:gd name="connsiteY36" fmla="*/ 316459 h 592843"/>
                <a:gd name="connsiteX37" fmla="*/ 64294 w 797272"/>
                <a:gd name="connsiteY37" fmla="*/ 439321 h 592843"/>
                <a:gd name="connsiteX38" fmla="*/ 13289 w 797272"/>
                <a:gd name="connsiteY38" fmla="*/ 464772 h 592843"/>
                <a:gd name="connsiteX39" fmla="*/ 1739 w 797272"/>
                <a:gd name="connsiteY39" fmla="*/ 473665 h 592843"/>
                <a:gd name="connsiteX40" fmla="*/ 1023 w 797272"/>
                <a:gd name="connsiteY40" fmla="*/ 489406 h 592843"/>
                <a:gd name="connsiteX41" fmla="*/ 7974 w 797272"/>
                <a:gd name="connsiteY41" fmla="*/ 526612 h 592843"/>
                <a:gd name="connsiteX42" fmla="*/ 20137 w 797272"/>
                <a:gd name="connsiteY42" fmla="*/ 566987 h 592843"/>
                <a:gd name="connsiteX43" fmla="*/ 56015 w 797272"/>
                <a:gd name="connsiteY43" fmla="*/ 597038 h 592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797272" h="592843">
                  <a:moveTo>
                    <a:pt x="56015" y="597038"/>
                  </a:moveTo>
                  <a:cubicBezTo>
                    <a:pt x="52539" y="574858"/>
                    <a:pt x="48962" y="552677"/>
                    <a:pt x="45486" y="530497"/>
                  </a:cubicBezTo>
                  <a:cubicBezTo>
                    <a:pt x="44464" y="524364"/>
                    <a:pt x="43749" y="517413"/>
                    <a:pt x="47531" y="512302"/>
                  </a:cubicBezTo>
                  <a:cubicBezTo>
                    <a:pt x="49779" y="509338"/>
                    <a:pt x="53255" y="507600"/>
                    <a:pt x="56526" y="505863"/>
                  </a:cubicBezTo>
                  <a:cubicBezTo>
                    <a:pt x="74413" y="496868"/>
                    <a:pt x="92710" y="488793"/>
                    <a:pt x="111517" y="481638"/>
                  </a:cubicBezTo>
                  <a:cubicBezTo>
                    <a:pt x="100273" y="423478"/>
                    <a:pt x="113152" y="361434"/>
                    <a:pt x="146883" y="311655"/>
                  </a:cubicBezTo>
                  <a:cubicBezTo>
                    <a:pt x="149745" y="307465"/>
                    <a:pt x="152709" y="303171"/>
                    <a:pt x="153425" y="298265"/>
                  </a:cubicBezTo>
                  <a:cubicBezTo>
                    <a:pt x="155367" y="283137"/>
                    <a:pt x="117037" y="255028"/>
                    <a:pt x="107633" y="242865"/>
                  </a:cubicBezTo>
                  <a:cubicBezTo>
                    <a:pt x="111721" y="225488"/>
                    <a:pt x="127156" y="206068"/>
                    <a:pt x="138910" y="191962"/>
                  </a:cubicBezTo>
                  <a:cubicBezTo>
                    <a:pt x="149132" y="197788"/>
                    <a:pt x="173663" y="211281"/>
                    <a:pt x="188178" y="217720"/>
                  </a:cubicBezTo>
                  <a:cubicBezTo>
                    <a:pt x="190120" y="218538"/>
                    <a:pt x="192062" y="219458"/>
                    <a:pt x="194209" y="219151"/>
                  </a:cubicBezTo>
                  <a:cubicBezTo>
                    <a:pt x="196151" y="218845"/>
                    <a:pt x="197684" y="217516"/>
                    <a:pt x="199115" y="216289"/>
                  </a:cubicBezTo>
                  <a:cubicBezTo>
                    <a:pt x="247871" y="172541"/>
                    <a:pt x="308075" y="140242"/>
                    <a:pt x="372879" y="123172"/>
                  </a:cubicBezTo>
                  <a:cubicBezTo>
                    <a:pt x="373493" y="103853"/>
                    <a:pt x="379012" y="79015"/>
                    <a:pt x="379728" y="59697"/>
                  </a:cubicBezTo>
                  <a:cubicBezTo>
                    <a:pt x="394447" y="54688"/>
                    <a:pt x="410085" y="52031"/>
                    <a:pt x="425724" y="51724"/>
                  </a:cubicBezTo>
                  <a:cubicBezTo>
                    <a:pt x="434515" y="70225"/>
                    <a:pt x="444225" y="88214"/>
                    <a:pt x="454855" y="105898"/>
                  </a:cubicBezTo>
                  <a:cubicBezTo>
                    <a:pt x="524770" y="106511"/>
                    <a:pt x="596831" y="117959"/>
                    <a:pt x="660408" y="145455"/>
                  </a:cubicBezTo>
                  <a:cubicBezTo>
                    <a:pt x="674514" y="131042"/>
                    <a:pt x="690766" y="118674"/>
                    <a:pt x="708654" y="108760"/>
                  </a:cubicBezTo>
                  <a:cubicBezTo>
                    <a:pt x="732368" y="125523"/>
                    <a:pt x="760681" y="141366"/>
                    <a:pt x="784395" y="158129"/>
                  </a:cubicBezTo>
                  <a:cubicBezTo>
                    <a:pt x="791447" y="144126"/>
                    <a:pt x="798500" y="130020"/>
                    <a:pt x="805553" y="116017"/>
                  </a:cubicBezTo>
                  <a:cubicBezTo>
                    <a:pt x="777648" y="104262"/>
                    <a:pt x="751891" y="88112"/>
                    <a:pt x="729608" y="68385"/>
                  </a:cubicBezTo>
                  <a:cubicBezTo>
                    <a:pt x="726030" y="65216"/>
                    <a:pt x="722350" y="61945"/>
                    <a:pt x="717751" y="60617"/>
                  </a:cubicBezTo>
                  <a:cubicBezTo>
                    <a:pt x="704463" y="56733"/>
                    <a:pt x="693526" y="70225"/>
                    <a:pt x="682078" y="77584"/>
                  </a:cubicBezTo>
                  <a:cubicBezTo>
                    <a:pt x="662555" y="90259"/>
                    <a:pt x="636490" y="86068"/>
                    <a:pt x="613390" y="81366"/>
                  </a:cubicBezTo>
                  <a:cubicBezTo>
                    <a:pt x="580579" y="74722"/>
                    <a:pt x="547870" y="67976"/>
                    <a:pt x="515060" y="61332"/>
                  </a:cubicBezTo>
                  <a:cubicBezTo>
                    <a:pt x="488382" y="55915"/>
                    <a:pt x="456389" y="45489"/>
                    <a:pt x="451687" y="20038"/>
                  </a:cubicBezTo>
                  <a:cubicBezTo>
                    <a:pt x="450460" y="13598"/>
                    <a:pt x="450869" y="5932"/>
                    <a:pt x="445247" y="2048"/>
                  </a:cubicBezTo>
                  <a:cubicBezTo>
                    <a:pt x="440647" y="-1121"/>
                    <a:pt x="434310" y="3"/>
                    <a:pt x="428688" y="1332"/>
                  </a:cubicBezTo>
                  <a:cubicBezTo>
                    <a:pt x="402624" y="7465"/>
                    <a:pt x="376661" y="13700"/>
                    <a:pt x="350597" y="19833"/>
                  </a:cubicBezTo>
                  <a:cubicBezTo>
                    <a:pt x="347223" y="33325"/>
                    <a:pt x="343748" y="46715"/>
                    <a:pt x="340375" y="60208"/>
                  </a:cubicBezTo>
                  <a:cubicBezTo>
                    <a:pt x="338842" y="66238"/>
                    <a:pt x="337206" y="72474"/>
                    <a:pt x="333220" y="77380"/>
                  </a:cubicBezTo>
                  <a:cubicBezTo>
                    <a:pt x="330154" y="81162"/>
                    <a:pt x="325861" y="83922"/>
                    <a:pt x="321670" y="86579"/>
                  </a:cubicBezTo>
                  <a:cubicBezTo>
                    <a:pt x="280171" y="113052"/>
                    <a:pt x="238672" y="139526"/>
                    <a:pt x="197275" y="166102"/>
                  </a:cubicBezTo>
                  <a:cubicBezTo>
                    <a:pt x="173152" y="158129"/>
                    <a:pt x="147599" y="154041"/>
                    <a:pt x="122045" y="153836"/>
                  </a:cubicBezTo>
                  <a:cubicBezTo>
                    <a:pt x="98536" y="180310"/>
                    <a:pt x="77991" y="209134"/>
                    <a:pt x="60921" y="239799"/>
                  </a:cubicBezTo>
                  <a:cubicBezTo>
                    <a:pt x="77684" y="256357"/>
                    <a:pt x="95572" y="275369"/>
                    <a:pt x="95367" y="298265"/>
                  </a:cubicBezTo>
                  <a:cubicBezTo>
                    <a:pt x="95367" y="304398"/>
                    <a:pt x="93936" y="310429"/>
                    <a:pt x="92505" y="316459"/>
                  </a:cubicBezTo>
                  <a:cubicBezTo>
                    <a:pt x="83101" y="357447"/>
                    <a:pt x="73698" y="398333"/>
                    <a:pt x="64294" y="439321"/>
                  </a:cubicBezTo>
                  <a:cubicBezTo>
                    <a:pt x="47326" y="447805"/>
                    <a:pt x="30359" y="456289"/>
                    <a:pt x="13289" y="464772"/>
                  </a:cubicBezTo>
                  <a:cubicBezTo>
                    <a:pt x="8792" y="467021"/>
                    <a:pt x="4090" y="469474"/>
                    <a:pt x="1739" y="473665"/>
                  </a:cubicBezTo>
                  <a:cubicBezTo>
                    <a:pt x="-919" y="478367"/>
                    <a:pt x="1" y="484091"/>
                    <a:pt x="1023" y="489406"/>
                  </a:cubicBezTo>
                  <a:cubicBezTo>
                    <a:pt x="3374" y="501774"/>
                    <a:pt x="5623" y="514244"/>
                    <a:pt x="7974" y="526612"/>
                  </a:cubicBezTo>
                  <a:cubicBezTo>
                    <a:pt x="10529" y="540411"/>
                    <a:pt x="13289" y="554517"/>
                    <a:pt x="20137" y="566987"/>
                  </a:cubicBezTo>
                  <a:cubicBezTo>
                    <a:pt x="27088" y="579457"/>
                    <a:pt x="41296" y="594789"/>
                    <a:pt x="56015" y="597038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3E7AB8F8-CBD8-45A9-9872-B4E8577F5C70}"/>
                </a:ext>
              </a:extLst>
            </p:cNvPr>
            <p:cNvSpPr/>
            <p:nvPr/>
          </p:nvSpPr>
          <p:spPr>
            <a:xfrm>
              <a:off x="8719951" y="4066751"/>
              <a:ext cx="475358" cy="404054"/>
            </a:xfrm>
            <a:custGeom>
              <a:avLst/>
              <a:gdLst>
                <a:gd name="connsiteX0" fmla="*/ 49421 w 613286"/>
                <a:gd name="connsiteY0" fmla="*/ 424497 h 521293"/>
                <a:gd name="connsiteX1" fmla="*/ 127922 w 613286"/>
                <a:gd name="connsiteY1" fmla="*/ 509948 h 521293"/>
                <a:gd name="connsiteX2" fmla="*/ 122913 w 613286"/>
                <a:gd name="connsiteY2" fmla="*/ 482861 h 521293"/>
                <a:gd name="connsiteX3" fmla="*/ 204685 w 613286"/>
                <a:gd name="connsiteY3" fmla="*/ 518534 h 521293"/>
                <a:gd name="connsiteX4" fmla="*/ 268364 w 613286"/>
                <a:gd name="connsiteY4" fmla="*/ 525689 h 521293"/>
                <a:gd name="connsiteX5" fmla="*/ 444275 w 613286"/>
                <a:gd name="connsiteY5" fmla="*/ 498704 h 521293"/>
                <a:gd name="connsiteX6" fmla="*/ 506626 w 613286"/>
                <a:gd name="connsiteY6" fmla="*/ 453730 h 521293"/>
                <a:gd name="connsiteX7" fmla="*/ 571021 w 613286"/>
                <a:gd name="connsiteY7" fmla="*/ 388108 h 521293"/>
                <a:gd name="connsiteX8" fmla="*/ 615689 w 613286"/>
                <a:gd name="connsiteY8" fmla="*/ 212811 h 521293"/>
                <a:gd name="connsiteX9" fmla="*/ 611601 w 613286"/>
                <a:gd name="connsiteY9" fmla="*/ 151891 h 521293"/>
                <a:gd name="connsiteX10" fmla="*/ 506013 w 613286"/>
                <a:gd name="connsiteY10" fmla="*/ 0 h 521293"/>
                <a:gd name="connsiteX11" fmla="*/ 573986 w 613286"/>
                <a:gd name="connsiteY11" fmla="*/ 134412 h 521293"/>
                <a:gd name="connsiteX12" fmla="*/ 579403 w 613286"/>
                <a:gd name="connsiteY12" fmla="*/ 195127 h 521293"/>
                <a:gd name="connsiteX13" fmla="*/ 499369 w 613286"/>
                <a:gd name="connsiteY13" fmla="*/ 389233 h 521293"/>
                <a:gd name="connsiteX14" fmla="*/ 303015 w 613286"/>
                <a:gd name="connsiteY14" fmla="*/ 479897 h 521293"/>
                <a:gd name="connsiteX15" fmla="*/ 245162 w 613286"/>
                <a:gd name="connsiteY15" fmla="*/ 477955 h 521293"/>
                <a:gd name="connsiteX16" fmla="*/ 143152 w 613286"/>
                <a:gd name="connsiteY16" fmla="*/ 459045 h 521293"/>
                <a:gd name="connsiteX17" fmla="*/ 69046 w 613286"/>
                <a:gd name="connsiteY17" fmla="*/ 404769 h 521293"/>
                <a:gd name="connsiteX18" fmla="*/ 26627 w 613286"/>
                <a:gd name="connsiteY18" fmla="*/ 359386 h 521293"/>
                <a:gd name="connsiteX19" fmla="*/ 358 w 613286"/>
                <a:gd name="connsiteY19" fmla="*/ 311447 h 521293"/>
                <a:gd name="connsiteX20" fmla="*/ 49421 w 613286"/>
                <a:gd name="connsiteY20" fmla="*/ 424497 h 521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13286" h="521293">
                  <a:moveTo>
                    <a:pt x="49421" y="424497"/>
                  </a:moveTo>
                  <a:cubicBezTo>
                    <a:pt x="77837" y="451890"/>
                    <a:pt x="118211" y="472742"/>
                    <a:pt x="127922" y="509948"/>
                  </a:cubicBezTo>
                  <a:cubicBezTo>
                    <a:pt x="129455" y="500748"/>
                    <a:pt x="127615" y="491038"/>
                    <a:pt x="122913" y="482861"/>
                  </a:cubicBezTo>
                  <a:cubicBezTo>
                    <a:pt x="147138" y="499931"/>
                    <a:pt x="175247" y="512197"/>
                    <a:pt x="204685" y="518534"/>
                  </a:cubicBezTo>
                  <a:cubicBezTo>
                    <a:pt x="225537" y="523031"/>
                    <a:pt x="247002" y="524667"/>
                    <a:pt x="268364" y="525689"/>
                  </a:cubicBezTo>
                  <a:cubicBezTo>
                    <a:pt x="328466" y="528551"/>
                    <a:pt x="391635" y="526404"/>
                    <a:pt x="444275" y="498704"/>
                  </a:cubicBezTo>
                  <a:cubicBezTo>
                    <a:pt x="467172" y="486643"/>
                    <a:pt x="487103" y="470289"/>
                    <a:pt x="506626" y="453730"/>
                  </a:cubicBezTo>
                  <a:cubicBezTo>
                    <a:pt x="530136" y="433696"/>
                    <a:pt x="553543" y="413049"/>
                    <a:pt x="571021" y="388108"/>
                  </a:cubicBezTo>
                  <a:cubicBezTo>
                    <a:pt x="606694" y="337308"/>
                    <a:pt x="614871" y="273833"/>
                    <a:pt x="615689" y="212811"/>
                  </a:cubicBezTo>
                  <a:cubicBezTo>
                    <a:pt x="615996" y="192470"/>
                    <a:pt x="615485" y="171925"/>
                    <a:pt x="611601" y="151891"/>
                  </a:cubicBezTo>
                  <a:cubicBezTo>
                    <a:pt x="599846" y="90971"/>
                    <a:pt x="557120" y="38637"/>
                    <a:pt x="506013" y="0"/>
                  </a:cubicBezTo>
                  <a:cubicBezTo>
                    <a:pt x="524207" y="46712"/>
                    <a:pt x="561004" y="86167"/>
                    <a:pt x="573986" y="134412"/>
                  </a:cubicBezTo>
                  <a:cubicBezTo>
                    <a:pt x="579301" y="154140"/>
                    <a:pt x="580323" y="174787"/>
                    <a:pt x="579403" y="195127"/>
                  </a:cubicBezTo>
                  <a:cubicBezTo>
                    <a:pt x="576336" y="265860"/>
                    <a:pt x="548943" y="336081"/>
                    <a:pt x="499369" y="389233"/>
                  </a:cubicBezTo>
                  <a:cubicBezTo>
                    <a:pt x="449795" y="442282"/>
                    <a:pt x="377836" y="477137"/>
                    <a:pt x="303015" y="479897"/>
                  </a:cubicBezTo>
                  <a:cubicBezTo>
                    <a:pt x="283697" y="480612"/>
                    <a:pt x="264480" y="479284"/>
                    <a:pt x="245162" y="477955"/>
                  </a:cubicBezTo>
                  <a:cubicBezTo>
                    <a:pt x="210409" y="475604"/>
                    <a:pt x="174736" y="472946"/>
                    <a:pt x="143152" y="459045"/>
                  </a:cubicBezTo>
                  <a:cubicBezTo>
                    <a:pt x="114634" y="446473"/>
                    <a:pt x="91431" y="425621"/>
                    <a:pt x="69046" y="404769"/>
                  </a:cubicBezTo>
                  <a:cubicBezTo>
                    <a:pt x="53816" y="390561"/>
                    <a:pt x="38791" y="375945"/>
                    <a:pt x="26627" y="359386"/>
                  </a:cubicBezTo>
                  <a:cubicBezTo>
                    <a:pt x="18552" y="348347"/>
                    <a:pt x="10682" y="316762"/>
                    <a:pt x="358" y="311447"/>
                  </a:cubicBezTo>
                  <a:cubicBezTo>
                    <a:pt x="-3219" y="351618"/>
                    <a:pt x="20494" y="396592"/>
                    <a:pt x="49421" y="424497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23A3016B-4928-46E3-ACB2-35717BAF50CC}"/>
                </a:ext>
              </a:extLst>
            </p:cNvPr>
            <p:cNvSpPr/>
            <p:nvPr/>
          </p:nvSpPr>
          <p:spPr>
            <a:xfrm>
              <a:off x="9100435" y="4389290"/>
              <a:ext cx="451590" cy="332751"/>
            </a:xfrm>
            <a:custGeom>
              <a:avLst/>
              <a:gdLst>
                <a:gd name="connsiteX0" fmla="*/ 548892 w 582622"/>
                <a:gd name="connsiteY0" fmla="*/ 76240 h 429300"/>
                <a:gd name="connsiteX1" fmla="*/ 538261 w 582622"/>
                <a:gd name="connsiteY1" fmla="*/ 75115 h 429300"/>
                <a:gd name="connsiteX2" fmla="*/ 526609 w 582622"/>
                <a:gd name="connsiteY2" fmla="*/ 82372 h 429300"/>
                <a:gd name="connsiteX3" fmla="*/ 504837 w 582622"/>
                <a:gd name="connsiteY3" fmla="*/ 102815 h 429300"/>
                <a:gd name="connsiteX4" fmla="*/ 499624 w 582622"/>
                <a:gd name="connsiteY4" fmla="*/ 105984 h 429300"/>
                <a:gd name="connsiteX5" fmla="*/ 492980 w 582622"/>
                <a:gd name="connsiteY5" fmla="*/ 104042 h 429300"/>
                <a:gd name="connsiteX6" fmla="*/ 349165 w 582622"/>
                <a:gd name="connsiteY6" fmla="*/ 69289 h 429300"/>
                <a:gd name="connsiteX7" fmla="*/ 325758 w 582622"/>
                <a:gd name="connsiteY7" fmla="*/ 34434 h 429300"/>
                <a:gd name="connsiteX8" fmla="*/ 291413 w 582622"/>
                <a:gd name="connsiteY8" fmla="*/ 38931 h 429300"/>
                <a:gd name="connsiteX9" fmla="*/ 286916 w 582622"/>
                <a:gd name="connsiteY9" fmla="*/ 76648 h 429300"/>
                <a:gd name="connsiteX10" fmla="*/ 168858 w 582622"/>
                <a:gd name="connsiteY10" fmla="*/ 144519 h 429300"/>
                <a:gd name="connsiteX11" fmla="*/ 153220 w 582622"/>
                <a:gd name="connsiteY11" fmla="*/ 153412 h 429300"/>
                <a:gd name="connsiteX12" fmla="*/ 140954 w 582622"/>
                <a:gd name="connsiteY12" fmla="*/ 150447 h 429300"/>
                <a:gd name="connsiteX13" fmla="*/ 113663 w 582622"/>
                <a:gd name="connsiteY13" fmla="*/ 145132 h 429300"/>
                <a:gd name="connsiteX14" fmla="*/ 91278 w 582622"/>
                <a:gd name="connsiteY14" fmla="*/ 159033 h 429300"/>
                <a:gd name="connsiteX15" fmla="*/ 97615 w 582622"/>
                <a:gd name="connsiteY15" fmla="*/ 186734 h 429300"/>
                <a:gd name="connsiteX16" fmla="*/ 117444 w 582622"/>
                <a:gd name="connsiteY16" fmla="*/ 209527 h 429300"/>
                <a:gd name="connsiteX17" fmla="*/ 76354 w 582622"/>
                <a:gd name="connsiteY17" fmla="*/ 335149 h 429300"/>
                <a:gd name="connsiteX18" fmla="*/ 75332 w 582622"/>
                <a:gd name="connsiteY18" fmla="*/ 344859 h 429300"/>
                <a:gd name="connsiteX19" fmla="*/ 56627 w 582622"/>
                <a:gd name="connsiteY19" fmla="*/ 354978 h 429300"/>
                <a:gd name="connsiteX20" fmla="*/ 30767 w 582622"/>
                <a:gd name="connsiteY20" fmla="*/ 387687 h 429300"/>
                <a:gd name="connsiteX21" fmla="*/ 31584 w 582622"/>
                <a:gd name="connsiteY21" fmla="*/ 430004 h 429300"/>
                <a:gd name="connsiteX22" fmla="*/ 0 w 582622"/>
                <a:gd name="connsiteY22" fmla="*/ 352321 h 429300"/>
                <a:gd name="connsiteX23" fmla="*/ 45894 w 582622"/>
                <a:gd name="connsiteY23" fmla="*/ 316546 h 429300"/>
                <a:gd name="connsiteX24" fmla="*/ 51107 w 582622"/>
                <a:gd name="connsiteY24" fmla="*/ 285677 h 429300"/>
                <a:gd name="connsiteX25" fmla="*/ 73288 w 582622"/>
                <a:gd name="connsiteY25" fmla="*/ 221691 h 429300"/>
                <a:gd name="connsiteX26" fmla="*/ 76661 w 582622"/>
                <a:gd name="connsiteY26" fmla="*/ 213003 h 429300"/>
                <a:gd name="connsiteX27" fmla="*/ 73492 w 582622"/>
                <a:gd name="connsiteY27" fmla="*/ 205848 h 429300"/>
                <a:gd name="connsiteX28" fmla="*/ 48041 w 582622"/>
                <a:gd name="connsiteY28" fmla="*/ 168437 h 429300"/>
                <a:gd name="connsiteX29" fmla="*/ 91380 w 582622"/>
                <a:gd name="connsiteY29" fmla="*/ 108131 h 429300"/>
                <a:gd name="connsiteX30" fmla="*/ 140443 w 582622"/>
                <a:gd name="connsiteY30" fmla="*/ 104757 h 429300"/>
                <a:gd name="connsiteX31" fmla="*/ 167632 w 582622"/>
                <a:gd name="connsiteY31" fmla="*/ 94945 h 429300"/>
                <a:gd name="connsiteX32" fmla="*/ 235502 w 582622"/>
                <a:gd name="connsiteY32" fmla="*/ 65200 h 429300"/>
                <a:gd name="connsiteX33" fmla="*/ 252163 w 582622"/>
                <a:gd name="connsiteY33" fmla="*/ 53548 h 429300"/>
                <a:gd name="connsiteX34" fmla="*/ 257274 w 582622"/>
                <a:gd name="connsiteY34" fmla="*/ 23804 h 429300"/>
                <a:gd name="connsiteX35" fmla="*/ 292844 w 582622"/>
                <a:gd name="connsiteY35" fmla="*/ 5507 h 429300"/>
                <a:gd name="connsiteX36" fmla="*/ 325246 w 582622"/>
                <a:gd name="connsiteY36" fmla="*/ 703 h 429300"/>
                <a:gd name="connsiteX37" fmla="*/ 339454 w 582622"/>
                <a:gd name="connsiteY37" fmla="*/ 1214 h 429300"/>
                <a:gd name="connsiteX38" fmla="*/ 359079 w 582622"/>
                <a:gd name="connsiteY38" fmla="*/ 30959 h 429300"/>
                <a:gd name="connsiteX39" fmla="*/ 369710 w 582622"/>
                <a:gd name="connsiteY39" fmla="*/ 34638 h 429300"/>
                <a:gd name="connsiteX40" fmla="*/ 478364 w 582622"/>
                <a:gd name="connsiteY40" fmla="*/ 56921 h 429300"/>
                <a:gd name="connsiteX41" fmla="*/ 490016 w 582622"/>
                <a:gd name="connsiteY41" fmla="*/ 57841 h 429300"/>
                <a:gd name="connsiteX42" fmla="*/ 499726 w 582622"/>
                <a:gd name="connsiteY42" fmla="*/ 53446 h 429300"/>
                <a:gd name="connsiteX43" fmla="*/ 525178 w 582622"/>
                <a:gd name="connsiteY43" fmla="*/ 38114 h 429300"/>
                <a:gd name="connsiteX44" fmla="*/ 576387 w 582622"/>
                <a:gd name="connsiteY44" fmla="*/ 67858 h 429300"/>
                <a:gd name="connsiteX45" fmla="*/ 548892 w 582622"/>
                <a:gd name="connsiteY45" fmla="*/ 76240 h 42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82622" h="429300">
                  <a:moveTo>
                    <a:pt x="548892" y="76240"/>
                  </a:moveTo>
                  <a:cubicBezTo>
                    <a:pt x="545416" y="75320"/>
                    <a:pt x="541737" y="74502"/>
                    <a:pt x="538261" y="75115"/>
                  </a:cubicBezTo>
                  <a:cubicBezTo>
                    <a:pt x="533662" y="75933"/>
                    <a:pt x="529982" y="79306"/>
                    <a:pt x="526609" y="82372"/>
                  </a:cubicBezTo>
                  <a:cubicBezTo>
                    <a:pt x="519352" y="89221"/>
                    <a:pt x="512094" y="95967"/>
                    <a:pt x="504837" y="102815"/>
                  </a:cubicBezTo>
                  <a:cubicBezTo>
                    <a:pt x="503304" y="104246"/>
                    <a:pt x="501668" y="105678"/>
                    <a:pt x="499624" y="105984"/>
                  </a:cubicBezTo>
                  <a:cubicBezTo>
                    <a:pt x="497273" y="106393"/>
                    <a:pt x="495025" y="105166"/>
                    <a:pt x="492980" y="104042"/>
                  </a:cubicBezTo>
                  <a:cubicBezTo>
                    <a:pt x="449641" y="80226"/>
                    <a:pt x="399250" y="68062"/>
                    <a:pt x="349165" y="69289"/>
                  </a:cubicBezTo>
                  <a:cubicBezTo>
                    <a:pt x="341396" y="57637"/>
                    <a:pt x="333526" y="46086"/>
                    <a:pt x="325758" y="34434"/>
                  </a:cubicBezTo>
                  <a:cubicBezTo>
                    <a:pt x="314309" y="35865"/>
                    <a:pt x="302861" y="37398"/>
                    <a:pt x="291413" y="38931"/>
                  </a:cubicBezTo>
                  <a:cubicBezTo>
                    <a:pt x="289880" y="51504"/>
                    <a:pt x="288449" y="64076"/>
                    <a:pt x="286916" y="76648"/>
                  </a:cubicBezTo>
                  <a:cubicBezTo>
                    <a:pt x="242964" y="90856"/>
                    <a:pt x="202385" y="114161"/>
                    <a:pt x="168858" y="144519"/>
                  </a:cubicBezTo>
                  <a:cubicBezTo>
                    <a:pt x="164361" y="148607"/>
                    <a:pt x="159455" y="153003"/>
                    <a:pt x="153220" y="153412"/>
                  </a:cubicBezTo>
                  <a:cubicBezTo>
                    <a:pt x="149029" y="153718"/>
                    <a:pt x="144940" y="151981"/>
                    <a:pt x="140954" y="150447"/>
                  </a:cubicBezTo>
                  <a:cubicBezTo>
                    <a:pt x="132266" y="147074"/>
                    <a:pt x="122964" y="144315"/>
                    <a:pt x="113663" y="145132"/>
                  </a:cubicBezTo>
                  <a:cubicBezTo>
                    <a:pt x="104259" y="145950"/>
                    <a:pt x="94855" y="150856"/>
                    <a:pt x="91278" y="159033"/>
                  </a:cubicBezTo>
                  <a:cubicBezTo>
                    <a:pt x="87291" y="168130"/>
                    <a:pt x="91482" y="178761"/>
                    <a:pt x="97615" y="186734"/>
                  </a:cubicBezTo>
                  <a:cubicBezTo>
                    <a:pt x="103748" y="194706"/>
                    <a:pt x="111823" y="201248"/>
                    <a:pt x="117444" y="209527"/>
                  </a:cubicBezTo>
                  <a:cubicBezTo>
                    <a:pt x="88722" y="245098"/>
                    <a:pt x="73901" y="290481"/>
                    <a:pt x="76354" y="335149"/>
                  </a:cubicBezTo>
                  <a:cubicBezTo>
                    <a:pt x="76559" y="338420"/>
                    <a:pt x="76763" y="341895"/>
                    <a:pt x="75332" y="344859"/>
                  </a:cubicBezTo>
                  <a:cubicBezTo>
                    <a:pt x="72266" y="351197"/>
                    <a:pt x="63475" y="352423"/>
                    <a:pt x="56627" y="354978"/>
                  </a:cubicBezTo>
                  <a:cubicBezTo>
                    <a:pt x="42624" y="360191"/>
                    <a:pt x="33731" y="373786"/>
                    <a:pt x="30767" y="387687"/>
                  </a:cubicBezTo>
                  <a:cubicBezTo>
                    <a:pt x="27802" y="401588"/>
                    <a:pt x="29642" y="416000"/>
                    <a:pt x="31584" y="430004"/>
                  </a:cubicBezTo>
                  <a:cubicBezTo>
                    <a:pt x="13186" y="407823"/>
                    <a:pt x="2044" y="380430"/>
                    <a:pt x="0" y="352321"/>
                  </a:cubicBezTo>
                  <a:cubicBezTo>
                    <a:pt x="19114" y="345473"/>
                    <a:pt x="38433" y="334536"/>
                    <a:pt x="45894" y="316546"/>
                  </a:cubicBezTo>
                  <a:cubicBezTo>
                    <a:pt x="49881" y="306835"/>
                    <a:pt x="49983" y="296103"/>
                    <a:pt x="51107" y="285677"/>
                  </a:cubicBezTo>
                  <a:cubicBezTo>
                    <a:pt x="53560" y="263190"/>
                    <a:pt x="61124" y="241214"/>
                    <a:pt x="73288" y="221691"/>
                  </a:cubicBezTo>
                  <a:cubicBezTo>
                    <a:pt x="74923" y="219033"/>
                    <a:pt x="76763" y="216171"/>
                    <a:pt x="76661" y="213003"/>
                  </a:cubicBezTo>
                  <a:cubicBezTo>
                    <a:pt x="76559" y="210345"/>
                    <a:pt x="74923" y="207994"/>
                    <a:pt x="73492" y="205848"/>
                  </a:cubicBezTo>
                  <a:cubicBezTo>
                    <a:pt x="65008" y="193377"/>
                    <a:pt x="56525" y="180907"/>
                    <a:pt x="48041" y="168437"/>
                  </a:cubicBezTo>
                  <a:cubicBezTo>
                    <a:pt x="62453" y="148301"/>
                    <a:pt x="76968" y="128267"/>
                    <a:pt x="91380" y="108131"/>
                  </a:cubicBezTo>
                  <a:cubicBezTo>
                    <a:pt x="107734" y="106393"/>
                    <a:pt x="124497" y="108233"/>
                    <a:pt x="140443" y="104757"/>
                  </a:cubicBezTo>
                  <a:cubicBezTo>
                    <a:pt x="149949" y="102713"/>
                    <a:pt x="158841" y="98829"/>
                    <a:pt x="167632" y="94945"/>
                  </a:cubicBezTo>
                  <a:cubicBezTo>
                    <a:pt x="190221" y="85030"/>
                    <a:pt x="212913" y="75115"/>
                    <a:pt x="235502" y="65200"/>
                  </a:cubicBezTo>
                  <a:cubicBezTo>
                    <a:pt x="241839" y="62441"/>
                    <a:pt x="248688" y="59272"/>
                    <a:pt x="252163" y="53548"/>
                  </a:cubicBezTo>
                  <a:cubicBezTo>
                    <a:pt x="257581" y="44758"/>
                    <a:pt x="253390" y="33207"/>
                    <a:pt x="257274" y="23804"/>
                  </a:cubicBezTo>
                  <a:cubicBezTo>
                    <a:pt x="262487" y="11334"/>
                    <a:pt x="278841" y="7552"/>
                    <a:pt x="292844" y="5507"/>
                  </a:cubicBezTo>
                  <a:cubicBezTo>
                    <a:pt x="303679" y="3872"/>
                    <a:pt x="314412" y="2339"/>
                    <a:pt x="325246" y="703"/>
                  </a:cubicBezTo>
                  <a:cubicBezTo>
                    <a:pt x="329948" y="-12"/>
                    <a:pt x="335059" y="-626"/>
                    <a:pt x="339454" y="1214"/>
                  </a:cubicBezTo>
                  <a:cubicBezTo>
                    <a:pt x="351005" y="6223"/>
                    <a:pt x="348756" y="24008"/>
                    <a:pt x="359079" y="30959"/>
                  </a:cubicBezTo>
                  <a:cubicBezTo>
                    <a:pt x="362146" y="33003"/>
                    <a:pt x="365928" y="33821"/>
                    <a:pt x="369710" y="34638"/>
                  </a:cubicBezTo>
                  <a:cubicBezTo>
                    <a:pt x="405894" y="42100"/>
                    <a:pt x="442077" y="49460"/>
                    <a:pt x="478364" y="56921"/>
                  </a:cubicBezTo>
                  <a:cubicBezTo>
                    <a:pt x="482146" y="57739"/>
                    <a:pt x="486132" y="58454"/>
                    <a:pt x="490016" y="57841"/>
                  </a:cubicBezTo>
                  <a:cubicBezTo>
                    <a:pt x="493594" y="57228"/>
                    <a:pt x="496660" y="55286"/>
                    <a:pt x="499726" y="53446"/>
                  </a:cubicBezTo>
                  <a:cubicBezTo>
                    <a:pt x="508210" y="48335"/>
                    <a:pt x="516694" y="43224"/>
                    <a:pt x="525178" y="38114"/>
                  </a:cubicBezTo>
                  <a:cubicBezTo>
                    <a:pt x="533048" y="33412"/>
                    <a:pt x="570663" y="62645"/>
                    <a:pt x="576387" y="67858"/>
                  </a:cubicBezTo>
                  <a:cubicBezTo>
                    <a:pt x="602350" y="91163"/>
                    <a:pt x="563815" y="79919"/>
                    <a:pt x="548892" y="7624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A0AF481A-8624-4F48-BE22-3CC56776C5B0}"/>
                </a:ext>
              </a:extLst>
            </p:cNvPr>
            <p:cNvSpPr/>
            <p:nvPr/>
          </p:nvSpPr>
          <p:spPr>
            <a:xfrm>
              <a:off x="9220859" y="4562470"/>
              <a:ext cx="348596" cy="261447"/>
            </a:xfrm>
            <a:custGeom>
              <a:avLst/>
              <a:gdLst>
                <a:gd name="connsiteX0" fmla="*/ 450561 w 449743"/>
                <a:gd name="connsiteY0" fmla="*/ 154446 h 337307"/>
                <a:gd name="connsiteX1" fmla="*/ 432060 w 449743"/>
                <a:gd name="connsiteY1" fmla="*/ 225178 h 337307"/>
                <a:gd name="connsiteX2" fmla="*/ 345280 w 449743"/>
                <a:gd name="connsiteY2" fmla="*/ 313390 h 337307"/>
                <a:gd name="connsiteX3" fmla="*/ 221805 w 449743"/>
                <a:gd name="connsiteY3" fmla="*/ 346201 h 337307"/>
                <a:gd name="connsiteX4" fmla="*/ 84327 w 449743"/>
                <a:gd name="connsiteY4" fmla="*/ 317682 h 337307"/>
                <a:gd name="connsiteX5" fmla="*/ 0 w 449743"/>
                <a:gd name="connsiteY5" fmla="*/ 213628 h 337307"/>
                <a:gd name="connsiteX6" fmla="*/ 140136 w 449743"/>
                <a:gd name="connsiteY6" fmla="*/ 299897 h 337307"/>
                <a:gd name="connsiteX7" fmla="*/ 242964 w 449743"/>
                <a:gd name="connsiteY7" fmla="*/ 317887 h 337307"/>
                <a:gd name="connsiteX8" fmla="*/ 281703 w 449743"/>
                <a:gd name="connsiteY8" fmla="*/ 302555 h 337307"/>
                <a:gd name="connsiteX9" fmla="*/ 382895 w 449743"/>
                <a:gd name="connsiteY9" fmla="*/ 229471 h 337307"/>
                <a:gd name="connsiteX10" fmla="*/ 408449 w 449743"/>
                <a:gd name="connsiteY10" fmla="*/ 159557 h 337307"/>
                <a:gd name="connsiteX11" fmla="*/ 415502 w 449743"/>
                <a:gd name="connsiteY11" fmla="*/ 77172 h 337307"/>
                <a:gd name="connsiteX12" fmla="*/ 412231 w 449743"/>
                <a:gd name="connsiteY12" fmla="*/ 0 h 337307"/>
                <a:gd name="connsiteX13" fmla="*/ 450561 w 449743"/>
                <a:gd name="connsiteY13" fmla="*/ 154446 h 33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49743" h="337307">
                  <a:moveTo>
                    <a:pt x="450561" y="154446"/>
                  </a:moveTo>
                  <a:cubicBezTo>
                    <a:pt x="448517" y="178773"/>
                    <a:pt x="442793" y="202998"/>
                    <a:pt x="432060" y="225178"/>
                  </a:cubicBezTo>
                  <a:cubicBezTo>
                    <a:pt x="414173" y="262282"/>
                    <a:pt x="382589" y="292947"/>
                    <a:pt x="345280" y="313390"/>
                  </a:cubicBezTo>
                  <a:cubicBezTo>
                    <a:pt x="307870" y="333832"/>
                    <a:pt x="264940" y="344156"/>
                    <a:pt x="221805" y="346201"/>
                  </a:cubicBezTo>
                  <a:cubicBezTo>
                    <a:pt x="174275" y="348347"/>
                    <a:pt x="125519" y="340170"/>
                    <a:pt x="84327" y="317682"/>
                  </a:cubicBezTo>
                  <a:cubicBezTo>
                    <a:pt x="43135" y="295195"/>
                    <a:pt x="10221" y="257580"/>
                    <a:pt x="0" y="213628"/>
                  </a:cubicBezTo>
                  <a:cubicBezTo>
                    <a:pt x="32709" y="257274"/>
                    <a:pt x="87802" y="279659"/>
                    <a:pt x="140136" y="299897"/>
                  </a:cubicBezTo>
                  <a:cubicBezTo>
                    <a:pt x="172947" y="312572"/>
                    <a:pt x="208517" y="325553"/>
                    <a:pt x="242964" y="317887"/>
                  </a:cubicBezTo>
                  <a:cubicBezTo>
                    <a:pt x="256660" y="314821"/>
                    <a:pt x="269233" y="308585"/>
                    <a:pt x="281703" y="302555"/>
                  </a:cubicBezTo>
                  <a:cubicBezTo>
                    <a:pt x="319829" y="283849"/>
                    <a:pt x="359692" y="263611"/>
                    <a:pt x="382895" y="229471"/>
                  </a:cubicBezTo>
                  <a:cubicBezTo>
                    <a:pt x="397103" y="208620"/>
                    <a:pt x="403951" y="183986"/>
                    <a:pt x="408449" y="159557"/>
                  </a:cubicBezTo>
                  <a:cubicBezTo>
                    <a:pt x="413457" y="132368"/>
                    <a:pt x="415808" y="104770"/>
                    <a:pt x="415502" y="77172"/>
                  </a:cubicBezTo>
                  <a:cubicBezTo>
                    <a:pt x="415399" y="63373"/>
                    <a:pt x="403031" y="6440"/>
                    <a:pt x="412231" y="0"/>
                  </a:cubicBezTo>
                  <a:cubicBezTo>
                    <a:pt x="445348" y="39966"/>
                    <a:pt x="454752" y="105281"/>
                    <a:pt x="450561" y="154446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50000"/>
              </a:schemeClr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62490E40-A52D-4902-A6C2-1A07572A00A6}"/>
                </a:ext>
              </a:extLst>
            </p:cNvPr>
            <p:cNvSpPr/>
            <p:nvPr/>
          </p:nvSpPr>
          <p:spPr>
            <a:xfrm>
              <a:off x="8553378" y="3862426"/>
              <a:ext cx="768495" cy="728882"/>
            </a:xfrm>
            <a:custGeom>
              <a:avLst/>
              <a:gdLst>
                <a:gd name="connsiteX0" fmla="*/ 514854 w 991480"/>
                <a:gd name="connsiteY0" fmla="*/ 940986 h 940372"/>
                <a:gd name="connsiteX1" fmla="*/ 477546 w 991480"/>
                <a:gd name="connsiteY1" fmla="*/ 877716 h 940372"/>
                <a:gd name="connsiteX2" fmla="*/ 328824 w 991480"/>
                <a:gd name="connsiteY2" fmla="*/ 845722 h 940372"/>
                <a:gd name="connsiteX3" fmla="*/ 266269 w 991480"/>
                <a:gd name="connsiteY3" fmla="*/ 887426 h 940372"/>
                <a:gd name="connsiteX4" fmla="*/ 157921 w 991480"/>
                <a:gd name="connsiteY4" fmla="*/ 814751 h 940372"/>
                <a:gd name="connsiteX5" fmla="*/ 178875 w 991480"/>
                <a:gd name="connsiteY5" fmla="*/ 745143 h 940372"/>
                <a:gd name="connsiteX6" fmla="*/ 97717 w 991480"/>
                <a:gd name="connsiteY6" fmla="*/ 622997 h 940372"/>
                <a:gd name="connsiteX7" fmla="*/ 22283 w 991480"/>
                <a:gd name="connsiteY7" fmla="*/ 610629 h 940372"/>
                <a:gd name="connsiteX8" fmla="*/ 0 w 991480"/>
                <a:gd name="connsiteY8" fmla="*/ 486847 h 940372"/>
                <a:gd name="connsiteX9" fmla="*/ 66848 w 991480"/>
                <a:gd name="connsiteY9" fmla="*/ 451584 h 940372"/>
                <a:gd name="connsiteX10" fmla="*/ 100681 w 991480"/>
                <a:gd name="connsiteY10" fmla="*/ 310936 h 940372"/>
                <a:gd name="connsiteX11" fmla="*/ 56627 w 991480"/>
                <a:gd name="connsiteY11" fmla="*/ 251754 h 940372"/>
                <a:gd name="connsiteX12" fmla="*/ 133390 w 991480"/>
                <a:gd name="connsiteY12" fmla="*/ 149335 h 940372"/>
                <a:gd name="connsiteX13" fmla="*/ 206984 w 991480"/>
                <a:gd name="connsiteY13" fmla="*/ 169165 h 940372"/>
                <a:gd name="connsiteX14" fmla="*/ 336183 w 991480"/>
                <a:gd name="connsiteY14" fmla="*/ 92402 h 940372"/>
                <a:gd name="connsiteX15" fmla="*/ 349267 w 991480"/>
                <a:gd name="connsiteY15" fmla="*/ 21056 h 940372"/>
                <a:gd name="connsiteX16" fmla="*/ 480203 w 991480"/>
                <a:gd name="connsiteY16" fmla="*/ 0 h 940372"/>
                <a:gd name="connsiteX17" fmla="*/ 517512 w 991480"/>
                <a:gd name="connsiteY17" fmla="*/ 63271 h 940372"/>
                <a:gd name="connsiteX18" fmla="*/ 666234 w 991480"/>
                <a:gd name="connsiteY18" fmla="*/ 95264 h 940372"/>
                <a:gd name="connsiteX19" fmla="*/ 728789 w 991480"/>
                <a:gd name="connsiteY19" fmla="*/ 53561 h 940372"/>
                <a:gd name="connsiteX20" fmla="*/ 837136 w 991480"/>
                <a:gd name="connsiteY20" fmla="*/ 126235 h 940372"/>
                <a:gd name="connsiteX21" fmla="*/ 816182 w 991480"/>
                <a:gd name="connsiteY21" fmla="*/ 195843 h 940372"/>
                <a:gd name="connsiteX22" fmla="*/ 897341 w 991480"/>
                <a:gd name="connsiteY22" fmla="*/ 317989 h 940372"/>
                <a:gd name="connsiteX23" fmla="*/ 972775 w 991480"/>
                <a:gd name="connsiteY23" fmla="*/ 330357 h 940372"/>
                <a:gd name="connsiteX24" fmla="*/ 995058 w 991480"/>
                <a:gd name="connsiteY24" fmla="*/ 454139 h 940372"/>
                <a:gd name="connsiteX25" fmla="*/ 928209 w 991480"/>
                <a:gd name="connsiteY25" fmla="*/ 489403 h 940372"/>
                <a:gd name="connsiteX26" fmla="*/ 894376 w 991480"/>
                <a:gd name="connsiteY26" fmla="*/ 630050 h 940372"/>
                <a:gd name="connsiteX27" fmla="*/ 938431 w 991480"/>
                <a:gd name="connsiteY27" fmla="*/ 689232 h 940372"/>
                <a:gd name="connsiteX28" fmla="*/ 861668 w 991480"/>
                <a:gd name="connsiteY28" fmla="*/ 791651 h 940372"/>
                <a:gd name="connsiteX29" fmla="*/ 788073 w 991480"/>
                <a:gd name="connsiteY29" fmla="*/ 771821 h 940372"/>
                <a:gd name="connsiteX30" fmla="*/ 658874 w 991480"/>
                <a:gd name="connsiteY30" fmla="*/ 848584 h 940372"/>
                <a:gd name="connsiteX31" fmla="*/ 645791 w 991480"/>
                <a:gd name="connsiteY31" fmla="*/ 919930 h 940372"/>
                <a:gd name="connsiteX32" fmla="*/ 514854 w 991480"/>
                <a:gd name="connsiteY32" fmla="*/ 940986 h 940372"/>
                <a:gd name="connsiteX33" fmla="*/ 325144 w 991480"/>
                <a:gd name="connsiteY33" fmla="*/ 810254 h 940372"/>
                <a:gd name="connsiteX34" fmla="*/ 333730 w 991480"/>
                <a:gd name="connsiteY34" fmla="*/ 813934 h 940372"/>
                <a:gd name="connsiteX35" fmla="*/ 487767 w 991480"/>
                <a:gd name="connsiteY35" fmla="*/ 847051 h 940372"/>
                <a:gd name="connsiteX36" fmla="*/ 497171 w 991480"/>
                <a:gd name="connsiteY36" fmla="*/ 847256 h 940372"/>
                <a:gd name="connsiteX37" fmla="*/ 532231 w 991480"/>
                <a:gd name="connsiteY37" fmla="*/ 906744 h 940372"/>
                <a:gd name="connsiteX38" fmla="*/ 617375 w 991480"/>
                <a:gd name="connsiteY38" fmla="*/ 893048 h 940372"/>
                <a:gd name="connsiteX39" fmla="*/ 629641 w 991480"/>
                <a:gd name="connsiteY39" fmla="*/ 825893 h 940372"/>
                <a:gd name="connsiteX40" fmla="*/ 638431 w 991480"/>
                <a:gd name="connsiteY40" fmla="*/ 822826 h 940372"/>
                <a:gd name="connsiteX41" fmla="*/ 772230 w 991480"/>
                <a:gd name="connsiteY41" fmla="*/ 743303 h 940372"/>
                <a:gd name="connsiteX42" fmla="*/ 778976 w 991480"/>
                <a:gd name="connsiteY42" fmla="*/ 737171 h 940372"/>
                <a:gd name="connsiteX43" fmla="*/ 848175 w 991480"/>
                <a:gd name="connsiteY43" fmla="*/ 755774 h 940372"/>
                <a:gd name="connsiteX44" fmla="*/ 898158 w 991480"/>
                <a:gd name="connsiteY44" fmla="*/ 689130 h 940372"/>
                <a:gd name="connsiteX45" fmla="*/ 856659 w 991480"/>
                <a:gd name="connsiteY45" fmla="*/ 633525 h 940372"/>
                <a:gd name="connsiteX46" fmla="*/ 860543 w 991480"/>
                <a:gd name="connsiteY46" fmla="*/ 625450 h 940372"/>
                <a:gd name="connsiteX47" fmla="*/ 895603 w 991480"/>
                <a:gd name="connsiteY47" fmla="*/ 479693 h 940372"/>
                <a:gd name="connsiteX48" fmla="*/ 895807 w 991480"/>
                <a:gd name="connsiteY48" fmla="*/ 470800 h 940372"/>
                <a:gd name="connsiteX49" fmla="*/ 958669 w 991480"/>
                <a:gd name="connsiteY49" fmla="*/ 437682 h 940372"/>
                <a:gd name="connsiteX50" fmla="*/ 944155 w 991480"/>
                <a:gd name="connsiteY50" fmla="*/ 357137 h 940372"/>
                <a:gd name="connsiteX51" fmla="*/ 873218 w 991480"/>
                <a:gd name="connsiteY51" fmla="*/ 345485 h 940372"/>
                <a:gd name="connsiteX52" fmla="*/ 869947 w 991480"/>
                <a:gd name="connsiteY52" fmla="*/ 337206 h 940372"/>
                <a:gd name="connsiteX53" fmla="*/ 785825 w 991480"/>
                <a:gd name="connsiteY53" fmla="*/ 210664 h 940372"/>
                <a:gd name="connsiteX54" fmla="*/ 779385 w 991480"/>
                <a:gd name="connsiteY54" fmla="*/ 204225 h 940372"/>
                <a:gd name="connsiteX55" fmla="*/ 799112 w 991480"/>
                <a:gd name="connsiteY55" fmla="*/ 138705 h 940372"/>
                <a:gd name="connsiteX56" fmla="*/ 728585 w 991480"/>
                <a:gd name="connsiteY56" fmla="*/ 91482 h 940372"/>
                <a:gd name="connsiteX57" fmla="*/ 669811 w 991480"/>
                <a:gd name="connsiteY57" fmla="*/ 130732 h 940372"/>
                <a:gd name="connsiteX58" fmla="*/ 661225 w 991480"/>
                <a:gd name="connsiteY58" fmla="*/ 127053 h 940372"/>
                <a:gd name="connsiteX59" fmla="*/ 507188 w 991480"/>
                <a:gd name="connsiteY59" fmla="*/ 93935 h 940372"/>
                <a:gd name="connsiteX60" fmla="*/ 497784 w 991480"/>
                <a:gd name="connsiteY60" fmla="*/ 93731 h 940372"/>
                <a:gd name="connsiteX61" fmla="*/ 462725 w 991480"/>
                <a:gd name="connsiteY61" fmla="*/ 34242 h 940372"/>
                <a:gd name="connsiteX62" fmla="*/ 377478 w 991480"/>
                <a:gd name="connsiteY62" fmla="*/ 47939 h 940372"/>
                <a:gd name="connsiteX63" fmla="*/ 365212 w 991480"/>
                <a:gd name="connsiteY63" fmla="*/ 115094 h 940372"/>
                <a:gd name="connsiteX64" fmla="*/ 356422 w 991480"/>
                <a:gd name="connsiteY64" fmla="*/ 118160 h 940372"/>
                <a:gd name="connsiteX65" fmla="*/ 222623 w 991480"/>
                <a:gd name="connsiteY65" fmla="*/ 197683 h 940372"/>
                <a:gd name="connsiteX66" fmla="*/ 215877 w 991480"/>
                <a:gd name="connsiteY66" fmla="*/ 203816 h 940372"/>
                <a:gd name="connsiteX67" fmla="*/ 146678 w 991480"/>
                <a:gd name="connsiteY67" fmla="*/ 185213 h 940372"/>
                <a:gd name="connsiteX68" fmla="*/ 96695 w 991480"/>
                <a:gd name="connsiteY68" fmla="*/ 251857 h 940372"/>
                <a:gd name="connsiteX69" fmla="*/ 138194 w 991480"/>
                <a:gd name="connsiteY69" fmla="*/ 307461 h 940372"/>
                <a:gd name="connsiteX70" fmla="*/ 134310 w 991480"/>
                <a:gd name="connsiteY70" fmla="*/ 315536 h 940372"/>
                <a:gd name="connsiteX71" fmla="*/ 99250 w 991480"/>
                <a:gd name="connsiteY71" fmla="*/ 461294 h 940372"/>
                <a:gd name="connsiteX72" fmla="*/ 99046 w 991480"/>
                <a:gd name="connsiteY72" fmla="*/ 470186 h 940372"/>
                <a:gd name="connsiteX73" fmla="*/ 36082 w 991480"/>
                <a:gd name="connsiteY73" fmla="*/ 503304 h 940372"/>
                <a:gd name="connsiteX74" fmla="*/ 50596 w 991480"/>
                <a:gd name="connsiteY74" fmla="*/ 583849 h 940372"/>
                <a:gd name="connsiteX75" fmla="*/ 121533 w 991480"/>
                <a:gd name="connsiteY75" fmla="*/ 595501 h 940372"/>
                <a:gd name="connsiteX76" fmla="*/ 124804 w 991480"/>
                <a:gd name="connsiteY76" fmla="*/ 603781 h 940372"/>
                <a:gd name="connsiteX77" fmla="*/ 208926 w 991480"/>
                <a:gd name="connsiteY77" fmla="*/ 730322 h 940372"/>
                <a:gd name="connsiteX78" fmla="*/ 215366 w 991480"/>
                <a:gd name="connsiteY78" fmla="*/ 736762 h 940372"/>
                <a:gd name="connsiteX79" fmla="*/ 195741 w 991480"/>
                <a:gd name="connsiteY79" fmla="*/ 802281 h 940372"/>
                <a:gd name="connsiteX80" fmla="*/ 266269 w 991480"/>
                <a:gd name="connsiteY80" fmla="*/ 849504 h 940372"/>
                <a:gd name="connsiteX81" fmla="*/ 325144 w 991480"/>
                <a:gd name="connsiteY81" fmla="*/ 810254 h 940372"/>
                <a:gd name="connsiteX82" fmla="*/ 496864 w 991480"/>
                <a:gd name="connsiteY82" fmla="*/ 768346 h 940372"/>
                <a:gd name="connsiteX83" fmla="*/ 315434 w 991480"/>
                <a:gd name="connsiteY83" fmla="*/ 713457 h 940372"/>
                <a:gd name="connsiteX84" fmla="*/ 187155 w 991480"/>
                <a:gd name="connsiteY84" fmla="*/ 520578 h 940372"/>
                <a:gd name="connsiteX85" fmla="*/ 444633 w 991480"/>
                <a:gd name="connsiteY85" fmla="*/ 177138 h 940372"/>
                <a:gd name="connsiteX86" fmla="*/ 679522 w 991480"/>
                <a:gd name="connsiteY86" fmla="*/ 227734 h 940372"/>
                <a:gd name="connsiteX87" fmla="*/ 807801 w 991480"/>
                <a:gd name="connsiteY87" fmla="*/ 420613 h 940372"/>
                <a:gd name="connsiteX88" fmla="*/ 550323 w 991480"/>
                <a:gd name="connsiteY88" fmla="*/ 764053 h 940372"/>
                <a:gd name="connsiteX89" fmla="*/ 496864 w 991480"/>
                <a:gd name="connsiteY89" fmla="*/ 768346 h 940372"/>
                <a:gd name="connsiteX90" fmla="*/ 497682 w 991480"/>
                <a:gd name="connsiteY90" fmla="*/ 203816 h 940372"/>
                <a:gd name="connsiteX91" fmla="*/ 450255 w 991480"/>
                <a:gd name="connsiteY91" fmla="*/ 207597 h 940372"/>
                <a:gd name="connsiteX92" fmla="*/ 219557 w 991480"/>
                <a:gd name="connsiteY92" fmla="*/ 515263 h 940372"/>
                <a:gd name="connsiteX93" fmla="*/ 334446 w 991480"/>
                <a:gd name="connsiteY93" fmla="*/ 688108 h 940372"/>
                <a:gd name="connsiteX94" fmla="*/ 544905 w 991480"/>
                <a:gd name="connsiteY94" fmla="*/ 733491 h 940372"/>
                <a:gd name="connsiteX95" fmla="*/ 775603 w 991480"/>
                <a:gd name="connsiteY95" fmla="*/ 425825 h 940372"/>
                <a:gd name="connsiteX96" fmla="*/ 497682 w 991480"/>
                <a:gd name="connsiteY96" fmla="*/ 203816 h 94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991480" h="940372">
                  <a:moveTo>
                    <a:pt x="514854" y="940986"/>
                  </a:moveTo>
                  <a:lnTo>
                    <a:pt x="477546" y="877716"/>
                  </a:lnTo>
                  <a:cubicBezTo>
                    <a:pt x="426030" y="875569"/>
                    <a:pt x="376149" y="864734"/>
                    <a:pt x="328824" y="845722"/>
                  </a:cubicBezTo>
                  <a:lnTo>
                    <a:pt x="266269" y="887426"/>
                  </a:lnTo>
                  <a:lnTo>
                    <a:pt x="157921" y="814751"/>
                  </a:lnTo>
                  <a:lnTo>
                    <a:pt x="178875" y="745143"/>
                  </a:lnTo>
                  <a:cubicBezTo>
                    <a:pt x="144122" y="709266"/>
                    <a:pt x="116933" y="668176"/>
                    <a:pt x="97717" y="622997"/>
                  </a:cubicBezTo>
                  <a:lnTo>
                    <a:pt x="22283" y="610629"/>
                  </a:lnTo>
                  <a:lnTo>
                    <a:pt x="0" y="486847"/>
                  </a:lnTo>
                  <a:lnTo>
                    <a:pt x="66848" y="451584"/>
                  </a:lnTo>
                  <a:cubicBezTo>
                    <a:pt x="69199" y="402929"/>
                    <a:pt x="80545" y="355706"/>
                    <a:pt x="100681" y="310936"/>
                  </a:cubicBezTo>
                  <a:lnTo>
                    <a:pt x="56627" y="251754"/>
                  </a:lnTo>
                  <a:lnTo>
                    <a:pt x="133390" y="149335"/>
                  </a:lnTo>
                  <a:lnTo>
                    <a:pt x="206984" y="169165"/>
                  </a:lnTo>
                  <a:cubicBezTo>
                    <a:pt x="245008" y="136354"/>
                    <a:pt x="288347" y="110596"/>
                    <a:pt x="336183" y="92402"/>
                  </a:cubicBezTo>
                  <a:lnTo>
                    <a:pt x="349267" y="21056"/>
                  </a:lnTo>
                  <a:lnTo>
                    <a:pt x="480203" y="0"/>
                  </a:lnTo>
                  <a:lnTo>
                    <a:pt x="517512" y="63271"/>
                  </a:lnTo>
                  <a:cubicBezTo>
                    <a:pt x="569028" y="65417"/>
                    <a:pt x="618908" y="76252"/>
                    <a:pt x="666234" y="95264"/>
                  </a:cubicBezTo>
                  <a:lnTo>
                    <a:pt x="728789" y="53561"/>
                  </a:lnTo>
                  <a:lnTo>
                    <a:pt x="837136" y="126235"/>
                  </a:lnTo>
                  <a:lnTo>
                    <a:pt x="816182" y="195843"/>
                  </a:lnTo>
                  <a:cubicBezTo>
                    <a:pt x="850833" y="231720"/>
                    <a:pt x="878124" y="272810"/>
                    <a:pt x="897341" y="317989"/>
                  </a:cubicBezTo>
                  <a:lnTo>
                    <a:pt x="972775" y="330357"/>
                  </a:lnTo>
                  <a:lnTo>
                    <a:pt x="995058" y="454139"/>
                  </a:lnTo>
                  <a:lnTo>
                    <a:pt x="928209" y="489403"/>
                  </a:lnTo>
                  <a:cubicBezTo>
                    <a:pt x="925858" y="538057"/>
                    <a:pt x="914513" y="585280"/>
                    <a:pt x="894376" y="630050"/>
                  </a:cubicBezTo>
                  <a:lnTo>
                    <a:pt x="938431" y="689232"/>
                  </a:lnTo>
                  <a:lnTo>
                    <a:pt x="861668" y="791651"/>
                  </a:lnTo>
                  <a:lnTo>
                    <a:pt x="788073" y="771821"/>
                  </a:lnTo>
                  <a:cubicBezTo>
                    <a:pt x="750050" y="804632"/>
                    <a:pt x="706711" y="830390"/>
                    <a:pt x="658874" y="848584"/>
                  </a:cubicBezTo>
                  <a:lnTo>
                    <a:pt x="645791" y="919930"/>
                  </a:lnTo>
                  <a:lnTo>
                    <a:pt x="514854" y="940986"/>
                  </a:lnTo>
                  <a:close/>
                  <a:moveTo>
                    <a:pt x="325144" y="810254"/>
                  </a:moveTo>
                  <a:lnTo>
                    <a:pt x="333730" y="813934"/>
                  </a:lnTo>
                  <a:cubicBezTo>
                    <a:pt x="382384" y="834785"/>
                    <a:pt x="434309" y="845927"/>
                    <a:pt x="487767" y="847051"/>
                  </a:cubicBezTo>
                  <a:lnTo>
                    <a:pt x="497171" y="847256"/>
                  </a:lnTo>
                  <a:lnTo>
                    <a:pt x="532231" y="906744"/>
                  </a:lnTo>
                  <a:lnTo>
                    <a:pt x="617375" y="893048"/>
                  </a:lnTo>
                  <a:lnTo>
                    <a:pt x="629641" y="825893"/>
                  </a:lnTo>
                  <a:lnTo>
                    <a:pt x="638431" y="822826"/>
                  </a:lnTo>
                  <a:cubicBezTo>
                    <a:pt x="688517" y="804939"/>
                    <a:pt x="733593" y="778159"/>
                    <a:pt x="772230" y="743303"/>
                  </a:cubicBezTo>
                  <a:lnTo>
                    <a:pt x="778976" y="737171"/>
                  </a:lnTo>
                  <a:lnTo>
                    <a:pt x="848175" y="755774"/>
                  </a:lnTo>
                  <a:lnTo>
                    <a:pt x="898158" y="689130"/>
                  </a:lnTo>
                  <a:lnTo>
                    <a:pt x="856659" y="633525"/>
                  </a:lnTo>
                  <a:lnTo>
                    <a:pt x="860543" y="625450"/>
                  </a:lnTo>
                  <a:cubicBezTo>
                    <a:pt x="882622" y="579352"/>
                    <a:pt x="894376" y="530391"/>
                    <a:pt x="895603" y="479693"/>
                  </a:cubicBezTo>
                  <a:lnTo>
                    <a:pt x="895807" y="470800"/>
                  </a:lnTo>
                  <a:lnTo>
                    <a:pt x="958669" y="437682"/>
                  </a:lnTo>
                  <a:lnTo>
                    <a:pt x="944155" y="357137"/>
                  </a:lnTo>
                  <a:lnTo>
                    <a:pt x="873218" y="345485"/>
                  </a:lnTo>
                  <a:lnTo>
                    <a:pt x="869947" y="337206"/>
                  </a:lnTo>
                  <a:cubicBezTo>
                    <a:pt x="851037" y="289778"/>
                    <a:pt x="822724" y="247257"/>
                    <a:pt x="785825" y="210664"/>
                  </a:cubicBezTo>
                  <a:lnTo>
                    <a:pt x="779385" y="204225"/>
                  </a:lnTo>
                  <a:lnTo>
                    <a:pt x="799112" y="138705"/>
                  </a:lnTo>
                  <a:lnTo>
                    <a:pt x="728585" y="91482"/>
                  </a:lnTo>
                  <a:lnTo>
                    <a:pt x="669811" y="130732"/>
                  </a:lnTo>
                  <a:lnTo>
                    <a:pt x="661225" y="127053"/>
                  </a:lnTo>
                  <a:cubicBezTo>
                    <a:pt x="612571" y="106201"/>
                    <a:pt x="560646" y="95060"/>
                    <a:pt x="507188" y="93935"/>
                  </a:cubicBezTo>
                  <a:lnTo>
                    <a:pt x="497784" y="93731"/>
                  </a:lnTo>
                  <a:lnTo>
                    <a:pt x="462725" y="34242"/>
                  </a:lnTo>
                  <a:lnTo>
                    <a:pt x="377478" y="47939"/>
                  </a:lnTo>
                  <a:lnTo>
                    <a:pt x="365212" y="115094"/>
                  </a:lnTo>
                  <a:lnTo>
                    <a:pt x="356422" y="118160"/>
                  </a:lnTo>
                  <a:cubicBezTo>
                    <a:pt x="306337" y="136047"/>
                    <a:pt x="261260" y="162828"/>
                    <a:pt x="222623" y="197683"/>
                  </a:cubicBezTo>
                  <a:lnTo>
                    <a:pt x="215877" y="203816"/>
                  </a:lnTo>
                  <a:lnTo>
                    <a:pt x="146678" y="185213"/>
                  </a:lnTo>
                  <a:lnTo>
                    <a:pt x="96695" y="251857"/>
                  </a:lnTo>
                  <a:lnTo>
                    <a:pt x="138194" y="307461"/>
                  </a:lnTo>
                  <a:lnTo>
                    <a:pt x="134310" y="315536"/>
                  </a:lnTo>
                  <a:cubicBezTo>
                    <a:pt x="112231" y="361635"/>
                    <a:pt x="100477" y="410596"/>
                    <a:pt x="99250" y="461294"/>
                  </a:cubicBezTo>
                  <a:lnTo>
                    <a:pt x="99046" y="470186"/>
                  </a:lnTo>
                  <a:lnTo>
                    <a:pt x="36082" y="503304"/>
                  </a:lnTo>
                  <a:lnTo>
                    <a:pt x="50596" y="583849"/>
                  </a:lnTo>
                  <a:lnTo>
                    <a:pt x="121533" y="595501"/>
                  </a:lnTo>
                  <a:lnTo>
                    <a:pt x="124804" y="603781"/>
                  </a:lnTo>
                  <a:cubicBezTo>
                    <a:pt x="143714" y="651208"/>
                    <a:pt x="172027" y="693730"/>
                    <a:pt x="208926" y="730322"/>
                  </a:cubicBezTo>
                  <a:lnTo>
                    <a:pt x="215366" y="736762"/>
                  </a:lnTo>
                  <a:lnTo>
                    <a:pt x="195741" y="802281"/>
                  </a:lnTo>
                  <a:lnTo>
                    <a:pt x="266269" y="849504"/>
                  </a:lnTo>
                  <a:lnTo>
                    <a:pt x="325144" y="810254"/>
                  </a:lnTo>
                  <a:close/>
                  <a:moveTo>
                    <a:pt x="496864" y="768346"/>
                  </a:moveTo>
                  <a:cubicBezTo>
                    <a:pt x="432265" y="768346"/>
                    <a:pt x="369301" y="749539"/>
                    <a:pt x="315434" y="713457"/>
                  </a:cubicBezTo>
                  <a:cubicBezTo>
                    <a:pt x="246848" y="667460"/>
                    <a:pt x="201260" y="598977"/>
                    <a:pt x="187155" y="520578"/>
                  </a:cubicBezTo>
                  <a:cubicBezTo>
                    <a:pt x="158024" y="358773"/>
                    <a:pt x="273526" y="204736"/>
                    <a:pt x="444633" y="177138"/>
                  </a:cubicBezTo>
                  <a:cubicBezTo>
                    <a:pt x="527529" y="163748"/>
                    <a:pt x="610936" y="181737"/>
                    <a:pt x="679522" y="227734"/>
                  </a:cubicBezTo>
                  <a:cubicBezTo>
                    <a:pt x="748107" y="273730"/>
                    <a:pt x="793695" y="342214"/>
                    <a:pt x="807801" y="420613"/>
                  </a:cubicBezTo>
                  <a:cubicBezTo>
                    <a:pt x="836932" y="582418"/>
                    <a:pt x="721430" y="736455"/>
                    <a:pt x="550323" y="764053"/>
                  </a:cubicBezTo>
                  <a:cubicBezTo>
                    <a:pt x="532537" y="766915"/>
                    <a:pt x="514650" y="768346"/>
                    <a:pt x="496864" y="768346"/>
                  </a:cubicBezTo>
                  <a:close/>
                  <a:moveTo>
                    <a:pt x="497682" y="203816"/>
                  </a:moveTo>
                  <a:cubicBezTo>
                    <a:pt x="482043" y="203816"/>
                    <a:pt x="466200" y="205042"/>
                    <a:pt x="450255" y="207597"/>
                  </a:cubicBezTo>
                  <a:cubicBezTo>
                    <a:pt x="296933" y="232334"/>
                    <a:pt x="193492" y="370323"/>
                    <a:pt x="219557" y="515263"/>
                  </a:cubicBezTo>
                  <a:cubicBezTo>
                    <a:pt x="232231" y="585484"/>
                    <a:pt x="273015" y="646915"/>
                    <a:pt x="334446" y="688108"/>
                  </a:cubicBezTo>
                  <a:cubicBezTo>
                    <a:pt x="395877" y="729300"/>
                    <a:pt x="470697" y="745450"/>
                    <a:pt x="544905" y="733491"/>
                  </a:cubicBezTo>
                  <a:cubicBezTo>
                    <a:pt x="698227" y="708755"/>
                    <a:pt x="801668" y="570766"/>
                    <a:pt x="775603" y="425825"/>
                  </a:cubicBezTo>
                  <a:cubicBezTo>
                    <a:pt x="752196" y="295911"/>
                    <a:pt x="632605" y="203816"/>
                    <a:pt x="497682" y="203816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E705343F-6C20-4968-BB33-BA7AAC9C0765}"/>
                </a:ext>
              </a:extLst>
            </p:cNvPr>
            <p:cNvSpPr/>
            <p:nvPr/>
          </p:nvSpPr>
          <p:spPr>
            <a:xfrm>
              <a:off x="9087997" y="4371930"/>
              <a:ext cx="578352" cy="546662"/>
            </a:xfrm>
            <a:custGeom>
              <a:avLst/>
              <a:gdLst>
                <a:gd name="connsiteX0" fmla="*/ 384940 w 746165"/>
                <a:gd name="connsiteY0" fmla="*/ 707733 h 705279"/>
                <a:gd name="connsiteX1" fmla="*/ 356933 w 746165"/>
                <a:gd name="connsiteY1" fmla="*/ 660203 h 705279"/>
                <a:gd name="connsiteX2" fmla="*/ 249505 w 746165"/>
                <a:gd name="connsiteY2" fmla="*/ 637103 h 705279"/>
                <a:gd name="connsiteX3" fmla="*/ 202487 w 746165"/>
                <a:gd name="connsiteY3" fmla="*/ 668380 h 705279"/>
                <a:gd name="connsiteX4" fmla="*/ 117138 w 746165"/>
                <a:gd name="connsiteY4" fmla="*/ 611141 h 705279"/>
                <a:gd name="connsiteX5" fmla="*/ 132879 w 746165"/>
                <a:gd name="connsiteY5" fmla="*/ 558908 h 705279"/>
                <a:gd name="connsiteX6" fmla="*/ 74208 w 746165"/>
                <a:gd name="connsiteY6" fmla="*/ 470698 h 705279"/>
                <a:gd name="connsiteX7" fmla="*/ 17581 w 746165"/>
                <a:gd name="connsiteY7" fmla="*/ 461396 h 705279"/>
                <a:gd name="connsiteX8" fmla="*/ 0 w 746165"/>
                <a:gd name="connsiteY8" fmla="*/ 363883 h 705279"/>
                <a:gd name="connsiteX9" fmla="*/ 50187 w 746165"/>
                <a:gd name="connsiteY9" fmla="*/ 337410 h 705279"/>
                <a:gd name="connsiteX10" fmla="*/ 74617 w 746165"/>
                <a:gd name="connsiteY10" fmla="*/ 235809 h 705279"/>
                <a:gd name="connsiteX11" fmla="*/ 41499 w 746165"/>
                <a:gd name="connsiteY11" fmla="*/ 191345 h 705279"/>
                <a:gd name="connsiteX12" fmla="*/ 102010 w 746165"/>
                <a:gd name="connsiteY12" fmla="*/ 110698 h 705279"/>
                <a:gd name="connsiteX13" fmla="*/ 157308 w 746165"/>
                <a:gd name="connsiteY13" fmla="*/ 125520 h 705279"/>
                <a:gd name="connsiteX14" fmla="*/ 250630 w 746165"/>
                <a:gd name="connsiteY14" fmla="*/ 70119 h 705279"/>
                <a:gd name="connsiteX15" fmla="*/ 260442 w 746165"/>
                <a:gd name="connsiteY15" fmla="*/ 16559 h 705279"/>
                <a:gd name="connsiteX16" fmla="*/ 363577 w 746165"/>
                <a:gd name="connsiteY16" fmla="*/ 0 h 705279"/>
                <a:gd name="connsiteX17" fmla="*/ 391583 w 746165"/>
                <a:gd name="connsiteY17" fmla="*/ 47530 h 705279"/>
                <a:gd name="connsiteX18" fmla="*/ 499011 w 746165"/>
                <a:gd name="connsiteY18" fmla="*/ 70630 h 705279"/>
                <a:gd name="connsiteX19" fmla="*/ 546030 w 746165"/>
                <a:gd name="connsiteY19" fmla="*/ 39353 h 705279"/>
                <a:gd name="connsiteX20" fmla="*/ 631379 w 746165"/>
                <a:gd name="connsiteY20" fmla="*/ 96593 h 705279"/>
                <a:gd name="connsiteX21" fmla="*/ 615638 w 746165"/>
                <a:gd name="connsiteY21" fmla="*/ 148825 h 705279"/>
                <a:gd name="connsiteX22" fmla="*/ 674309 w 746165"/>
                <a:gd name="connsiteY22" fmla="*/ 237035 h 705279"/>
                <a:gd name="connsiteX23" fmla="*/ 730935 w 746165"/>
                <a:gd name="connsiteY23" fmla="*/ 246337 h 705279"/>
                <a:gd name="connsiteX24" fmla="*/ 748516 w 746165"/>
                <a:gd name="connsiteY24" fmla="*/ 343850 h 705279"/>
                <a:gd name="connsiteX25" fmla="*/ 698329 w 746165"/>
                <a:gd name="connsiteY25" fmla="*/ 370323 h 705279"/>
                <a:gd name="connsiteX26" fmla="*/ 673900 w 746165"/>
                <a:gd name="connsiteY26" fmla="*/ 471924 h 705279"/>
                <a:gd name="connsiteX27" fmla="*/ 707017 w 746165"/>
                <a:gd name="connsiteY27" fmla="*/ 516388 h 705279"/>
                <a:gd name="connsiteX28" fmla="*/ 646506 w 746165"/>
                <a:gd name="connsiteY28" fmla="*/ 597035 h 705279"/>
                <a:gd name="connsiteX29" fmla="*/ 591208 w 746165"/>
                <a:gd name="connsiteY29" fmla="*/ 582214 h 705279"/>
                <a:gd name="connsiteX30" fmla="*/ 497886 w 746165"/>
                <a:gd name="connsiteY30" fmla="*/ 637614 h 705279"/>
                <a:gd name="connsiteX31" fmla="*/ 488074 w 746165"/>
                <a:gd name="connsiteY31" fmla="*/ 691174 h 705279"/>
                <a:gd name="connsiteX32" fmla="*/ 384940 w 746165"/>
                <a:gd name="connsiteY32" fmla="*/ 707733 h 705279"/>
                <a:gd name="connsiteX33" fmla="*/ 245826 w 746165"/>
                <a:gd name="connsiteY33" fmla="*/ 601634 h 705279"/>
                <a:gd name="connsiteX34" fmla="*/ 254412 w 746165"/>
                <a:gd name="connsiteY34" fmla="*/ 605314 h 705279"/>
                <a:gd name="connsiteX35" fmla="*/ 367256 w 746165"/>
                <a:gd name="connsiteY35" fmla="*/ 629641 h 705279"/>
                <a:gd name="connsiteX36" fmla="*/ 376660 w 746165"/>
                <a:gd name="connsiteY36" fmla="*/ 629845 h 705279"/>
                <a:gd name="connsiteX37" fmla="*/ 402418 w 746165"/>
                <a:gd name="connsiteY37" fmla="*/ 673593 h 705279"/>
                <a:gd name="connsiteX38" fmla="*/ 459863 w 746165"/>
                <a:gd name="connsiteY38" fmla="*/ 664394 h 705279"/>
                <a:gd name="connsiteX39" fmla="*/ 468858 w 746165"/>
                <a:gd name="connsiteY39" fmla="*/ 615025 h 705279"/>
                <a:gd name="connsiteX40" fmla="*/ 477648 w 746165"/>
                <a:gd name="connsiteY40" fmla="*/ 611958 h 705279"/>
                <a:gd name="connsiteX41" fmla="*/ 575569 w 746165"/>
                <a:gd name="connsiteY41" fmla="*/ 553696 h 705279"/>
                <a:gd name="connsiteX42" fmla="*/ 582316 w 746165"/>
                <a:gd name="connsiteY42" fmla="*/ 547563 h 705279"/>
                <a:gd name="connsiteX43" fmla="*/ 633218 w 746165"/>
                <a:gd name="connsiteY43" fmla="*/ 561260 h 705279"/>
                <a:gd name="connsiteX44" fmla="*/ 666949 w 746165"/>
                <a:gd name="connsiteY44" fmla="*/ 516285 h 705279"/>
                <a:gd name="connsiteX45" fmla="*/ 636489 w 746165"/>
                <a:gd name="connsiteY45" fmla="*/ 475399 h 705279"/>
                <a:gd name="connsiteX46" fmla="*/ 640373 w 746165"/>
                <a:gd name="connsiteY46" fmla="*/ 467324 h 705279"/>
                <a:gd name="connsiteX47" fmla="*/ 666029 w 746165"/>
                <a:gd name="connsiteY47" fmla="*/ 360613 h 705279"/>
                <a:gd name="connsiteX48" fmla="*/ 666234 w 746165"/>
                <a:gd name="connsiteY48" fmla="*/ 351720 h 705279"/>
                <a:gd name="connsiteX49" fmla="*/ 712435 w 746165"/>
                <a:gd name="connsiteY49" fmla="*/ 327393 h 705279"/>
                <a:gd name="connsiteX50" fmla="*/ 702622 w 746165"/>
                <a:gd name="connsiteY50" fmla="*/ 273117 h 705279"/>
                <a:gd name="connsiteX51" fmla="*/ 650493 w 746165"/>
                <a:gd name="connsiteY51" fmla="*/ 264633 h 705279"/>
                <a:gd name="connsiteX52" fmla="*/ 647222 w 746165"/>
                <a:gd name="connsiteY52" fmla="*/ 256354 h 705279"/>
                <a:gd name="connsiteX53" fmla="*/ 585689 w 746165"/>
                <a:gd name="connsiteY53" fmla="*/ 163748 h 705279"/>
                <a:gd name="connsiteX54" fmla="*/ 579249 w 746165"/>
                <a:gd name="connsiteY54" fmla="*/ 157308 h 705279"/>
                <a:gd name="connsiteX55" fmla="*/ 593764 w 746165"/>
                <a:gd name="connsiteY55" fmla="*/ 109165 h 705279"/>
                <a:gd name="connsiteX56" fmla="*/ 546234 w 746165"/>
                <a:gd name="connsiteY56" fmla="*/ 77274 h 705279"/>
                <a:gd name="connsiteX57" fmla="*/ 502997 w 746165"/>
                <a:gd name="connsiteY57" fmla="*/ 106099 h 705279"/>
                <a:gd name="connsiteX58" fmla="*/ 494411 w 746165"/>
                <a:gd name="connsiteY58" fmla="*/ 102419 h 705279"/>
                <a:gd name="connsiteX59" fmla="*/ 381567 w 746165"/>
                <a:gd name="connsiteY59" fmla="*/ 78092 h 705279"/>
                <a:gd name="connsiteX60" fmla="*/ 372163 w 746165"/>
                <a:gd name="connsiteY60" fmla="*/ 77888 h 705279"/>
                <a:gd name="connsiteX61" fmla="*/ 346405 w 746165"/>
                <a:gd name="connsiteY61" fmla="*/ 34140 h 705279"/>
                <a:gd name="connsiteX62" fmla="*/ 289062 w 746165"/>
                <a:gd name="connsiteY62" fmla="*/ 43339 h 705279"/>
                <a:gd name="connsiteX63" fmla="*/ 280068 w 746165"/>
                <a:gd name="connsiteY63" fmla="*/ 92709 h 705279"/>
                <a:gd name="connsiteX64" fmla="*/ 271277 w 746165"/>
                <a:gd name="connsiteY64" fmla="*/ 95775 h 705279"/>
                <a:gd name="connsiteX65" fmla="*/ 173356 w 746165"/>
                <a:gd name="connsiteY65" fmla="*/ 154037 h 705279"/>
                <a:gd name="connsiteX66" fmla="*/ 166610 w 746165"/>
                <a:gd name="connsiteY66" fmla="*/ 160170 h 705279"/>
                <a:gd name="connsiteX67" fmla="*/ 115707 w 746165"/>
                <a:gd name="connsiteY67" fmla="*/ 146473 h 705279"/>
                <a:gd name="connsiteX68" fmla="*/ 81976 w 746165"/>
                <a:gd name="connsiteY68" fmla="*/ 191448 h 705279"/>
                <a:gd name="connsiteX69" fmla="*/ 112436 w 746165"/>
                <a:gd name="connsiteY69" fmla="*/ 232334 h 705279"/>
                <a:gd name="connsiteX70" fmla="*/ 108552 w 746165"/>
                <a:gd name="connsiteY70" fmla="*/ 240409 h 705279"/>
                <a:gd name="connsiteX71" fmla="*/ 82896 w 746165"/>
                <a:gd name="connsiteY71" fmla="*/ 347120 h 705279"/>
                <a:gd name="connsiteX72" fmla="*/ 82691 w 746165"/>
                <a:gd name="connsiteY72" fmla="*/ 356013 h 705279"/>
                <a:gd name="connsiteX73" fmla="*/ 36490 w 746165"/>
                <a:gd name="connsiteY73" fmla="*/ 380340 h 705279"/>
                <a:gd name="connsiteX74" fmla="*/ 46303 w 746165"/>
                <a:gd name="connsiteY74" fmla="*/ 434616 h 705279"/>
                <a:gd name="connsiteX75" fmla="*/ 98433 w 746165"/>
                <a:gd name="connsiteY75" fmla="*/ 443100 h 705279"/>
                <a:gd name="connsiteX76" fmla="*/ 101703 w 746165"/>
                <a:gd name="connsiteY76" fmla="*/ 451379 h 705279"/>
                <a:gd name="connsiteX77" fmla="*/ 163236 w 746165"/>
                <a:gd name="connsiteY77" fmla="*/ 543986 h 705279"/>
                <a:gd name="connsiteX78" fmla="*/ 169676 w 746165"/>
                <a:gd name="connsiteY78" fmla="*/ 550425 h 705279"/>
                <a:gd name="connsiteX79" fmla="*/ 155264 w 746165"/>
                <a:gd name="connsiteY79" fmla="*/ 598568 h 705279"/>
                <a:gd name="connsiteX80" fmla="*/ 202691 w 746165"/>
                <a:gd name="connsiteY80" fmla="*/ 630459 h 705279"/>
                <a:gd name="connsiteX81" fmla="*/ 245826 w 746165"/>
                <a:gd name="connsiteY81" fmla="*/ 601634 h 705279"/>
                <a:gd name="connsiteX82" fmla="*/ 373798 w 746165"/>
                <a:gd name="connsiteY82" fmla="*/ 579045 h 705279"/>
                <a:gd name="connsiteX83" fmla="*/ 236626 w 746165"/>
                <a:gd name="connsiteY83" fmla="*/ 537546 h 705279"/>
                <a:gd name="connsiteX84" fmla="*/ 139625 w 746165"/>
                <a:gd name="connsiteY84" fmla="*/ 391686 h 705279"/>
                <a:gd name="connsiteX85" fmla="*/ 180102 w 746165"/>
                <a:gd name="connsiteY85" fmla="*/ 223645 h 705279"/>
                <a:gd name="connsiteX86" fmla="*/ 334343 w 746165"/>
                <a:gd name="connsiteY86" fmla="*/ 131959 h 705279"/>
                <a:gd name="connsiteX87" fmla="*/ 511992 w 746165"/>
                <a:gd name="connsiteY87" fmla="*/ 170187 h 705279"/>
                <a:gd name="connsiteX88" fmla="*/ 608994 w 746165"/>
                <a:gd name="connsiteY88" fmla="*/ 316047 h 705279"/>
                <a:gd name="connsiteX89" fmla="*/ 608994 w 746165"/>
                <a:gd name="connsiteY89" fmla="*/ 316047 h 705279"/>
                <a:gd name="connsiteX90" fmla="*/ 414275 w 746165"/>
                <a:gd name="connsiteY90" fmla="*/ 575774 h 705279"/>
                <a:gd name="connsiteX91" fmla="*/ 373798 w 746165"/>
                <a:gd name="connsiteY91" fmla="*/ 579045 h 705279"/>
                <a:gd name="connsiteX92" fmla="*/ 374718 w 746165"/>
                <a:gd name="connsiteY92" fmla="*/ 159659 h 705279"/>
                <a:gd name="connsiteX93" fmla="*/ 339863 w 746165"/>
                <a:gd name="connsiteY93" fmla="*/ 162419 h 705279"/>
                <a:gd name="connsiteX94" fmla="*/ 206882 w 746165"/>
                <a:gd name="connsiteY94" fmla="*/ 241533 h 705279"/>
                <a:gd name="connsiteX95" fmla="*/ 172027 w 746165"/>
                <a:gd name="connsiteY95" fmla="*/ 386371 h 705279"/>
                <a:gd name="connsiteX96" fmla="*/ 255638 w 746165"/>
                <a:gd name="connsiteY96" fmla="*/ 512094 h 705279"/>
                <a:gd name="connsiteX97" fmla="*/ 408858 w 746165"/>
                <a:gd name="connsiteY97" fmla="*/ 545110 h 705279"/>
                <a:gd name="connsiteX98" fmla="*/ 576796 w 746165"/>
                <a:gd name="connsiteY98" fmla="*/ 321158 h 705279"/>
                <a:gd name="connsiteX99" fmla="*/ 576796 w 746165"/>
                <a:gd name="connsiteY99" fmla="*/ 321158 h 705279"/>
                <a:gd name="connsiteX100" fmla="*/ 493185 w 746165"/>
                <a:gd name="connsiteY100" fmla="*/ 195332 h 705279"/>
                <a:gd name="connsiteX101" fmla="*/ 374718 w 746165"/>
                <a:gd name="connsiteY101" fmla="*/ 159659 h 705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746165" h="705279">
                  <a:moveTo>
                    <a:pt x="384940" y="707733"/>
                  </a:moveTo>
                  <a:lnTo>
                    <a:pt x="356933" y="660203"/>
                  </a:lnTo>
                  <a:cubicBezTo>
                    <a:pt x="319829" y="658364"/>
                    <a:pt x="283747" y="650595"/>
                    <a:pt x="249505" y="637103"/>
                  </a:cubicBezTo>
                  <a:lnTo>
                    <a:pt x="202487" y="668380"/>
                  </a:lnTo>
                  <a:lnTo>
                    <a:pt x="117138" y="611141"/>
                  </a:lnTo>
                  <a:lnTo>
                    <a:pt x="132879" y="558908"/>
                  </a:lnTo>
                  <a:cubicBezTo>
                    <a:pt x="108041" y="532844"/>
                    <a:pt x="88313" y="503202"/>
                    <a:pt x="74208" y="470698"/>
                  </a:cubicBezTo>
                  <a:lnTo>
                    <a:pt x="17581" y="461396"/>
                  </a:lnTo>
                  <a:lnTo>
                    <a:pt x="0" y="363883"/>
                  </a:lnTo>
                  <a:lnTo>
                    <a:pt x="50187" y="337410"/>
                  </a:lnTo>
                  <a:cubicBezTo>
                    <a:pt x="52129" y="302350"/>
                    <a:pt x="60306" y="268211"/>
                    <a:pt x="74617" y="235809"/>
                  </a:cubicBezTo>
                  <a:lnTo>
                    <a:pt x="41499" y="191345"/>
                  </a:lnTo>
                  <a:lnTo>
                    <a:pt x="102010" y="110698"/>
                  </a:lnTo>
                  <a:lnTo>
                    <a:pt x="157308" y="125520"/>
                  </a:lnTo>
                  <a:cubicBezTo>
                    <a:pt x="184906" y="102010"/>
                    <a:pt x="216183" y="83407"/>
                    <a:pt x="250630" y="70119"/>
                  </a:cubicBezTo>
                  <a:lnTo>
                    <a:pt x="260442" y="16559"/>
                  </a:lnTo>
                  <a:lnTo>
                    <a:pt x="363577" y="0"/>
                  </a:lnTo>
                  <a:lnTo>
                    <a:pt x="391583" y="47530"/>
                  </a:lnTo>
                  <a:cubicBezTo>
                    <a:pt x="428687" y="49370"/>
                    <a:pt x="464769" y="57138"/>
                    <a:pt x="499011" y="70630"/>
                  </a:cubicBezTo>
                  <a:lnTo>
                    <a:pt x="546030" y="39353"/>
                  </a:lnTo>
                  <a:lnTo>
                    <a:pt x="631379" y="96593"/>
                  </a:lnTo>
                  <a:lnTo>
                    <a:pt x="615638" y="148825"/>
                  </a:lnTo>
                  <a:cubicBezTo>
                    <a:pt x="640476" y="174889"/>
                    <a:pt x="660203" y="204531"/>
                    <a:pt x="674309" y="237035"/>
                  </a:cubicBezTo>
                  <a:lnTo>
                    <a:pt x="730935" y="246337"/>
                  </a:lnTo>
                  <a:lnTo>
                    <a:pt x="748516" y="343850"/>
                  </a:lnTo>
                  <a:lnTo>
                    <a:pt x="698329" y="370323"/>
                  </a:lnTo>
                  <a:cubicBezTo>
                    <a:pt x="696387" y="405382"/>
                    <a:pt x="688210" y="439522"/>
                    <a:pt x="673900" y="471924"/>
                  </a:cubicBezTo>
                  <a:lnTo>
                    <a:pt x="707017" y="516388"/>
                  </a:lnTo>
                  <a:lnTo>
                    <a:pt x="646506" y="597035"/>
                  </a:lnTo>
                  <a:lnTo>
                    <a:pt x="591208" y="582214"/>
                  </a:lnTo>
                  <a:cubicBezTo>
                    <a:pt x="563610" y="605723"/>
                    <a:pt x="532333" y="624326"/>
                    <a:pt x="497886" y="637614"/>
                  </a:cubicBezTo>
                  <a:lnTo>
                    <a:pt x="488074" y="691174"/>
                  </a:lnTo>
                  <a:lnTo>
                    <a:pt x="384940" y="707733"/>
                  </a:lnTo>
                  <a:close/>
                  <a:moveTo>
                    <a:pt x="245826" y="601634"/>
                  </a:moveTo>
                  <a:lnTo>
                    <a:pt x="254412" y="605314"/>
                  </a:lnTo>
                  <a:cubicBezTo>
                    <a:pt x="290085" y="620544"/>
                    <a:pt x="328006" y="628721"/>
                    <a:pt x="367256" y="629641"/>
                  </a:cubicBezTo>
                  <a:lnTo>
                    <a:pt x="376660" y="629845"/>
                  </a:lnTo>
                  <a:lnTo>
                    <a:pt x="402418" y="673593"/>
                  </a:lnTo>
                  <a:lnTo>
                    <a:pt x="459863" y="664394"/>
                  </a:lnTo>
                  <a:lnTo>
                    <a:pt x="468858" y="615025"/>
                  </a:lnTo>
                  <a:lnTo>
                    <a:pt x="477648" y="611958"/>
                  </a:lnTo>
                  <a:cubicBezTo>
                    <a:pt x="514343" y="598875"/>
                    <a:pt x="547358" y="579250"/>
                    <a:pt x="575569" y="553696"/>
                  </a:cubicBezTo>
                  <a:lnTo>
                    <a:pt x="582316" y="547563"/>
                  </a:lnTo>
                  <a:lnTo>
                    <a:pt x="633218" y="561260"/>
                  </a:lnTo>
                  <a:lnTo>
                    <a:pt x="666949" y="516285"/>
                  </a:lnTo>
                  <a:lnTo>
                    <a:pt x="636489" y="475399"/>
                  </a:lnTo>
                  <a:lnTo>
                    <a:pt x="640373" y="467324"/>
                  </a:lnTo>
                  <a:cubicBezTo>
                    <a:pt x="656523" y="433594"/>
                    <a:pt x="665109" y="397716"/>
                    <a:pt x="666029" y="360613"/>
                  </a:cubicBezTo>
                  <a:lnTo>
                    <a:pt x="666234" y="351720"/>
                  </a:lnTo>
                  <a:lnTo>
                    <a:pt x="712435" y="327393"/>
                  </a:lnTo>
                  <a:lnTo>
                    <a:pt x="702622" y="273117"/>
                  </a:lnTo>
                  <a:lnTo>
                    <a:pt x="650493" y="264633"/>
                  </a:lnTo>
                  <a:lnTo>
                    <a:pt x="647222" y="256354"/>
                  </a:lnTo>
                  <a:cubicBezTo>
                    <a:pt x="633423" y="221703"/>
                    <a:pt x="612673" y="190528"/>
                    <a:pt x="585689" y="163748"/>
                  </a:cubicBezTo>
                  <a:lnTo>
                    <a:pt x="579249" y="157308"/>
                  </a:lnTo>
                  <a:lnTo>
                    <a:pt x="593764" y="109165"/>
                  </a:lnTo>
                  <a:lnTo>
                    <a:pt x="546234" y="77274"/>
                  </a:lnTo>
                  <a:lnTo>
                    <a:pt x="502997" y="106099"/>
                  </a:lnTo>
                  <a:lnTo>
                    <a:pt x="494411" y="102419"/>
                  </a:lnTo>
                  <a:cubicBezTo>
                    <a:pt x="458738" y="87189"/>
                    <a:pt x="420817" y="79012"/>
                    <a:pt x="381567" y="78092"/>
                  </a:cubicBezTo>
                  <a:lnTo>
                    <a:pt x="372163" y="77888"/>
                  </a:lnTo>
                  <a:lnTo>
                    <a:pt x="346405" y="34140"/>
                  </a:lnTo>
                  <a:lnTo>
                    <a:pt x="289062" y="43339"/>
                  </a:lnTo>
                  <a:lnTo>
                    <a:pt x="280068" y="92709"/>
                  </a:lnTo>
                  <a:lnTo>
                    <a:pt x="271277" y="95775"/>
                  </a:lnTo>
                  <a:cubicBezTo>
                    <a:pt x="234582" y="108859"/>
                    <a:pt x="201669" y="128484"/>
                    <a:pt x="173356" y="154037"/>
                  </a:cubicBezTo>
                  <a:lnTo>
                    <a:pt x="166610" y="160170"/>
                  </a:lnTo>
                  <a:lnTo>
                    <a:pt x="115707" y="146473"/>
                  </a:lnTo>
                  <a:lnTo>
                    <a:pt x="81976" y="191448"/>
                  </a:lnTo>
                  <a:lnTo>
                    <a:pt x="112436" y="232334"/>
                  </a:lnTo>
                  <a:lnTo>
                    <a:pt x="108552" y="240409"/>
                  </a:lnTo>
                  <a:cubicBezTo>
                    <a:pt x="92402" y="274139"/>
                    <a:pt x="83816" y="310017"/>
                    <a:pt x="82896" y="347120"/>
                  </a:cubicBezTo>
                  <a:lnTo>
                    <a:pt x="82691" y="356013"/>
                  </a:lnTo>
                  <a:lnTo>
                    <a:pt x="36490" y="380340"/>
                  </a:lnTo>
                  <a:lnTo>
                    <a:pt x="46303" y="434616"/>
                  </a:lnTo>
                  <a:lnTo>
                    <a:pt x="98433" y="443100"/>
                  </a:lnTo>
                  <a:lnTo>
                    <a:pt x="101703" y="451379"/>
                  </a:lnTo>
                  <a:cubicBezTo>
                    <a:pt x="115502" y="486030"/>
                    <a:pt x="136252" y="517205"/>
                    <a:pt x="163236" y="543986"/>
                  </a:cubicBezTo>
                  <a:lnTo>
                    <a:pt x="169676" y="550425"/>
                  </a:lnTo>
                  <a:lnTo>
                    <a:pt x="155264" y="598568"/>
                  </a:lnTo>
                  <a:lnTo>
                    <a:pt x="202691" y="630459"/>
                  </a:lnTo>
                  <a:lnTo>
                    <a:pt x="245826" y="601634"/>
                  </a:lnTo>
                  <a:close/>
                  <a:moveTo>
                    <a:pt x="373798" y="579045"/>
                  </a:moveTo>
                  <a:cubicBezTo>
                    <a:pt x="324940" y="579045"/>
                    <a:pt x="277308" y="564837"/>
                    <a:pt x="236626" y="537546"/>
                  </a:cubicBezTo>
                  <a:cubicBezTo>
                    <a:pt x="184804" y="502793"/>
                    <a:pt x="150255" y="450970"/>
                    <a:pt x="139625" y="391686"/>
                  </a:cubicBezTo>
                  <a:cubicBezTo>
                    <a:pt x="128995" y="332402"/>
                    <a:pt x="143305" y="272708"/>
                    <a:pt x="180102" y="223645"/>
                  </a:cubicBezTo>
                  <a:cubicBezTo>
                    <a:pt x="216899" y="174582"/>
                    <a:pt x="271686" y="141976"/>
                    <a:pt x="334343" y="131959"/>
                  </a:cubicBezTo>
                  <a:cubicBezTo>
                    <a:pt x="397001" y="121840"/>
                    <a:pt x="460169" y="135434"/>
                    <a:pt x="511992" y="170187"/>
                  </a:cubicBezTo>
                  <a:cubicBezTo>
                    <a:pt x="563815" y="204940"/>
                    <a:pt x="598363" y="256763"/>
                    <a:pt x="608994" y="316047"/>
                  </a:cubicBezTo>
                  <a:lnTo>
                    <a:pt x="608994" y="316047"/>
                  </a:lnTo>
                  <a:cubicBezTo>
                    <a:pt x="630970" y="438398"/>
                    <a:pt x="543679" y="554923"/>
                    <a:pt x="414275" y="575774"/>
                  </a:cubicBezTo>
                  <a:cubicBezTo>
                    <a:pt x="400681" y="577921"/>
                    <a:pt x="387188" y="579045"/>
                    <a:pt x="373798" y="579045"/>
                  </a:cubicBezTo>
                  <a:close/>
                  <a:moveTo>
                    <a:pt x="374718" y="159659"/>
                  </a:moveTo>
                  <a:cubicBezTo>
                    <a:pt x="363168" y="159659"/>
                    <a:pt x="351515" y="160579"/>
                    <a:pt x="339863" y="162419"/>
                  </a:cubicBezTo>
                  <a:cubicBezTo>
                    <a:pt x="285791" y="171107"/>
                    <a:pt x="238568" y="199216"/>
                    <a:pt x="206882" y="241533"/>
                  </a:cubicBezTo>
                  <a:cubicBezTo>
                    <a:pt x="175196" y="283850"/>
                    <a:pt x="162725" y="335264"/>
                    <a:pt x="172027" y="386371"/>
                  </a:cubicBezTo>
                  <a:cubicBezTo>
                    <a:pt x="181226" y="437478"/>
                    <a:pt x="210971" y="482146"/>
                    <a:pt x="255638" y="512094"/>
                  </a:cubicBezTo>
                  <a:cubicBezTo>
                    <a:pt x="300408" y="542043"/>
                    <a:pt x="354786" y="553900"/>
                    <a:pt x="408858" y="545110"/>
                  </a:cubicBezTo>
                  <a:cubicBezTo>
                    <a:pt x="520476" y="527120"/>
                    <a:pt x="595808" y="426643"/>
                    <a:pt x="576796" y="321158"/>
                  </a:cubicBezTo>
                  <a:lnTo>
                    <a:pt x="576796" y="321158"/>
                  </a:lnTo>
                  <a:cubicBezTo>
                    <a:pt x="567597" y="270051"/>
                    <a:pt x="537852" y="225383"/>
                    <a:pt x="493185" y="195332"/>
                  </a:cubicBezTo>
                  <a:cubicBezTo>
                    <a:pt x="457921" y="172027"/>
                    <a:pt x="416830" y="159659"/>
                    <a:pt x="374718" y="159659"/>
                  </a:cubicBez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DB646B4B-169D-4758-A1B2-292E96608499}"/>
                </a:ext>
              </a:extLst>
            </p:cNvPr>
            <p:cNvSpPr/>
            <p:nvPr/>
          </p:nvSpPr>
          <p:spPr>
            <a:xfrm>
              <a:off x="8592234" y="4253656"/>
              <a:ext cx="7922" cy="55458"/>
            </a:xfrm>
            <a:custGeom>
              <a:avLst/>
              <a:gdLst>
                <a:gd name="connsiteX0" fmla="*/ 56 w 10221"/>
                <a:gd name="connsiteY0" fmla="*/ 1928 h 71550"/>
                <a:gd name="connsiteX1" fmla="*/ 14774 w 10221"/>
                <a:gd name="connsiteY1" fmla="*/ 75216 h 71550"/>
                <a:gd name="connsiteX2" fmla="*/ 18045 w 10221"/>
                <a:gd name="connsiteY2" fmla="*/ 75216 h 71550"/>
                <a:gd name="connsiteX3" fmla="*/ 3224 w 10221"/>
                <a:gd name="connsiteY3" fmla="*/ 1111 h 71550"/>
                <a:gd name="connsiteX4" fmla="*/ 56 w 10221"/>
                <a:gd name="connsiteY4" fmla="*/ 1928 h 71550"/>
                <a:gd name="connsiteX5" fmla="*/ 56 w 10221"/>
                <a:gd name="connsiteY5" fmla="*/ 192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71550">
                  <a:moveTo>
                    <a:pt x="56" y="1928"/>
                  </a:moveTo>
                  <a:cubicBezTo>
                    <a:pt x="6393" y="26051"/>
                    <a:pt x="11299" y="50480"/>
                    <a:pt x="14774" y="75216"/>
                  </a:cubicBezTo>
                  <a:cubicBezTo>
                    <a:pt x="15081" y="77158"/>
                    <a:pt x="18352" y="77158"/>
                    <a:pt x="18045" y="75216"/>
                  </a:cubicBezTo>
                  <a:cubicBezTo>
                    <a:pt x="14570" y="50276"/>
                    <a:pt x="9664" y="25540"/>
                    <a:pt x="3224" y="1111"/>
                  </a:cubicBezTo>
                  <a:cubicBezTo>
                    <a:pt x="2713" y="-832"/>
                    <a:pt x="-456" y="-14"/>
                    <a:pt x="56" y="1928"/>
                  </a:cubicBezTo>
                  <a:lnTo>
                    <a:pt x="56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2A4C5EEF-24B3-485D-A87E-BB9A4E0BB51A}"/>
                </a:ext>
              </a:extLst>
            </p:cNvPr>
            <p:cNvSpPr/>
            <p:nvPr/>
          </p:nvSpPr>
          <p:spPr>
            <a:xfrm>
              <a:off x="8595402" y="4253656"/>
              <a:ext cx="7922" cy="39613"/>
            </a:xfrm>
            <a:custGeom>
              <a:avLst/>
              <a:gdLst>
                <a:gd name="connsiteX0" fmla="*/ 57 w 10221"/>
                <a:gd name="connsiteY0" fmla="*/ 1928 h 51107"/>
                <a:gd name="connsiteX1" fmla="*/ 16105 w 10221"/>
                <a:gd name="connsiteY1" fmla="*/ 54977 h 51107"/>
                <a:gd name="connsiteX2" fmla="*/ 19273 w 10221"/>
                <a:gd name="connsiteY2" fmla="*/ 54160 h 51107"/>
                <a:gd name="connsiteX3" fmla="*/ 3226 w 10221"/>
                <a:gd name="connsiteY3" fmla="*/ 1111 h 51107"/>
                <a:gd name="connsiteX4" fmla="*/ 57 w 10221"/>
                <a:gd name="connsiteY4" fmla="*/ 1928 h 51107"/>
                <a:gd name="connsiteX5" fmla="*/ 57 w 10221"/>
                <a:gd name="connsiteY5" fmla="*/ 192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57" y="1928"/>
                  </a:moveTo>
                  <a:cubicBezTo>
                    <a:pt x="5372" y="19611"/>
                    <a:pt x="10790" y="37294"/>
                    <a:pt x="16105" y="54977"/>
                  </a:cubicBezTo>
                  <a:cubicBezTo>
                    <a:pt x="16718" y="56920"/>
                    <a:pt x="19887" y="56102"/>
                    <a:pt x="19273" y="54160"/>
                  </a:cubicBezTo>
                  <a:cubicBezTo>
                    <a:pt x="13958" y="36477"/>
                    <a:pt x="8541" y="18793"/>
                    <a:pt x="3226" y="1111"/>
                  </a:cubicBezTo>
                  <a:cubicBezTo>
                    <a:pt x="2613" y="-832"/>
                    <a:pt x="-454" y="-14"/>
                    <a:pt x="57" y="1928"/>
                  </a:cubicBezTo>
                  <a:lnTo>
                    <a:pt x="57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79AD4E86-A2CB-4B5F-82BD-BF40B411275E}"/>
                </a:ext>
              </a:extLst>
            </p:cNvPr>
            <p:cNvSpPr/>
            <p:nvPr/>
          </p:nvSpPr>
          <p:spPr>
            <a:xfrm>
              <a:off x="8600774" y="4254686"/>
              <a:ext cx="7922" cy="31691"/>
            </a:xfrm>
            <a:custGeom>
              <a:avLst/>
              <a:gdLst>
                <a:gd name="connsiteX0" fmla="*/ 78 w 10221"/>
                <a:gd name="connsiteY0" fmla="*/ 1928 h 40885"/>
                <a:gd name="connsiteX1" fmla="*/ 13264 w 10221"/>
                <a:gd name="connsiteY1" fmla="*/ 40769 h 40885"/>
                <a:gd name="connsiteX2" fmla="*/ 16433 w 10221"/>
                <a:gd name="connsiteY2" fmla="*/ 39952 h 40885"/>
                <a:gd name="connsiteX3" fmla="*/ 3247 w 10221"/>
                <a:gd name="connsiteY3" fmla="*/ 1111 h 40885"/>
                <a:gd name="connsiteX4" fmla="*/ 78 w 10221"/>
                <a:gd name="connsiteY4" fmla="*/ 1928 h 40885"/>
                <a:gd name="connsiteX5" fmla="*/ 78 w 10221"/>
                <a:gd name="connsiteY5" fmla="*/ 192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78" y="1928"/>
                  </a:moveTo>
                  <a:cubicBezTo>
                    <a:pt x="4065" y="15012"/>
                    <a:pt x="8460" y="27993"/>
                    <a:pt x="13264" y="40769"/>
                  </a:cubicBezTo>
                  <a:cubicBezTo>
                    <a:pt x="13979" y="42610"/>
                    <a:pt x="17148" y="41792"/>
                    <a:pt x="16433" y="39952"/>
                  </a:cubicBezTo>
                  <a:cubicBezTo>
                    <a:pt x="11629" y="27175"/>
                    <a:pt x="7131" y="14194"/>
                    <a:pt x="3247" y="1111"/>
                  </a:cubicBezTo>
                  <a:cubicBezTo>
                    <a:pt x="2634" y="-832"/>
                    <a:pt x="-535" y="-14"/>
                    <a:pt x="78" y="1928"/>
                  </a:cubicBezTo>
                  <a:lnTo>
                    <a:pt x="78" y="192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9AE7BA22-C021-44DF-9A1B-60957AE0016F}"/>
                </a:ext>
              </a:extLst>
            </p:cNvPr>
            <p:cNvSpPr/>
            <p:nvPr/>
          </p:nvSpPr>
          <p:spPr>
            <a:xfrm>
              <a:off x="8611211" y="4265756"/>
              <a:ext cx="7922" cy="15845"/>
            </a:xfrm>
            <a:custGeom>
              <a:avLst/>
              <a:gdLst>
                <a:gd name="connsiteX0" fmla="*/ 105 w 10221"/>
                <a:gd name="connsiteY0" fmla="*/ 1855 h 20442"/>
                <a:gd name="connsiteX1" fmla="*/ 11144 w 10221"/>
                <a:gd name="connsiteY1" fmla="*/ 28942 h 20442"/>
                <a:gd name="connsiteX2" fmla="*/ 14312 w 10221"/>
                <a:gd name="connsiteY2" fmla="*/ 28124 h 20442"/>
                <a:gd name="connsiteX3" fmla="*/ 3171 w 10221"/>
                <a:gd name="connsiteY3" fmla="*/ 1037 h 20442"/>
                <a:gd name="connsiteX4" fmla="*/ 105 w 10221"/>
                <a:gd name="connsiteY4" fmla="*/ 1855 h 20442"/>
                <a:gd name="connsiteX5" fmla="*/ 105 w 10221"/>
                <a:gd name="connsiteY5" fmla="*/ 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105" y="1855"/>
                  </a:moveTo>
                  <a:cubicBezTo>
                    <a:pt x="3784" y="10850"/>
                    <a:pt x="7464" y="19947"/>
                    <a:pt x="11144" y="28942"/>
                  </a:cubicBezTo>
                  <a:cubicBezTo>
                    <a:pt x="11859" y="30782"/>
                    <a:pt x="15028" y="29964"/>
                    <a:pt x="14312" y="28124"/>
                  </a:cubicBezTo>
                  <a:cubicBezTo>
                    <a:pt x="10633" y="19129"/>
                    <a:pt x="6953" y="10032"/>
                    <a:pt x="3171" y="1037"/>
                  </a:cubicBezTo>
                  <a:cubicBezTo>
                    <a:pt x="2558" y="-803"/>
                    <a:pt x="-611" y="15"/>
                    <a:pt x="105" y="1855"/>
                  </a:cubicBezTo>
                  <a:lnTo>
                    <a:pt x="105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1CA2DEA3-DC96-4C33-800C-4E4C07F1114F}"/>
                </a:ext>
              </a:extLst>
            </p:cNvPr>
            <p:cNvSpPr/>
            <p:nvPr/>
          </p:nvSpPr>
          <p:spPr>
            <a:xfrm>
              <a:off x="8655859" y="4242552"/>
              <a:ext cx="63381" cy="63381"/>
            </a:xfrm>
            <a:custGeom>
              <a:avLst/>
              <a:gdLst>
                <a:gd name="connsiteX0" fmla="*/ 457 w 81771"/>
                <a:gd name="connsiteY0" fmla="*/ 2661 h 81771"/>
                <a:gd name="connsiteX1" fmla="*/ 80900 w 81771"/>
                <a:gd name="connsiteY1" fmla="*/ 81672 h 81771"/>
                <a:gd name="connsiteX2" fmla="*/ 83251 w 81771"/>
                <a:gd name="connsiteY2" fmla="*/ 79526 h 81771"/>
                <a:gd name="connsiteX3" fmla="*/ 2808 w 81771"/>
                <a:gd name="connsiteY3" fmla="*/ 514 h 81771"/>
                <a:gd name="connsiteX4" fmla="*/ 457 w 81771"/>
                <a:gd name="connsiteY4" fmla="*/ 2661 h 81771"/>
                <a:gd name="connsiteX5" fmla="*/ 457 w 81771"/>
                <a:gd name="connsiteY5" fmla="*/ 266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457" y="2661"/>
                  </a:moveTo>
                  <a:cubicBezTo>
                    <a:pt x="26215" y="29850"/>
                    <a:pt x="53098" y="56221"/>
                    <a:pt x="80900" y="81672"/>
                  </a:cubicBezTo>
                  <a:cubicBezTo>
                    <a:pt x="82433" y="83001"/>
                    <a:pt x="84784" y="80855"/>
                    <a:pt x="83251" y="79526"/>
                  </a:cubicBezTo>
                  <a:cubicBezTo>
                    <a:pt x="55448" y="54075"/>
                    <a:pt x="28668" y="27805"/>
                    <a:pt x="2808" y="514"/>
                  </a:cubicBezTo>
                  <a:cubicBezTo>
                    <a:pt x="1275" y="-1019"/>
                    <a:pt x="-974" y="1230"/>
                    <a:pt x="457" y="2661"/>
                  </a:cubicBezTo>
                  <a:lnTo>
                    <a:pt x="457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588259DA-ECC0-46AE-AF29-421E1EC808F5}"/>
                </a:ext>
              </a:extLst>
            </p:cNvPr>
            <p:cNvSpPr/>
            <p:nvPr/>
          </p:nvSpPr>
          <p:spPr>
            <a:xfrm>
              <a:off x="8666196" y="4236753"/>
              <a:ext cx="47536" cy="47536"/>
            </a:xfrm>
            <a:custGeom>
              <a:avLst/>
              <a:gdLst>
                <a:gd name="connsiteX0" fmla="*/ 307 w 61328"/>
                <a:gd name="connsiteY0" fmla="*/ 2169 h 61328"/>
                <a:gd name="connsiteX1" fmla="*/ 60715 w 61328"/>
                <a:gd name="connsiteY1" fmla="*/ 69630 h 61328"/>
                <a:gd name="connsiteX2" fmla="*/ 63066 w 61328"/>
                <a:gd name="connsiteY2" fmla="*/ 67483 h 61328"/>
                <a:gd name="connsiteX3" fmla="*/ 3169 w 61328"/>
                <a:gd name="connsiteY3" fmla="*/ 635 h 61328"/>
                <a:gd name="connsiteX4" fmla="*/ 307 w 61328"/>
                <a:gd name="connsiteY4" fmla="*/ 2169 h 61328"/>
                <a:gd name="connsiteX5" fmla="*/ 307 w 61328"/>
                <a:gd name="connsiteY5" fmla="*/ 2169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61328">
                  <a:moveTo>
                    <a:pt x="307" y="2169"/>
                  </a:moveTo>
                  <a:cubicBezTo>
                    <a:pt x="19319" y="25575"/>
                    <a:pt x="39455" y="48063"/>
                    <a:pt x="60715" y="69630"/>
                  </a:cubicBezTo>
                  <a:cubicBezTo>
                    <a:pt x="62146" y="71061"/>
                    <a:pt x="64497" y="68915"/>
                    <a:pt x="63066" y="67483"/>
                  </a:cubicBezTo>
                  <a:cubicBezTo>
                    <a:pt x="42010" y="46121"/>
                    <a:pt x="21976" y="23838"/>
                    <a:pt x="3169" y="635"/>
                  </a:cubicBezTo>
                  <a:cubicBezTo>
                    <a:pt x="1840" y="-898"/>
                    <a:pt x="-920" y="635"/>
                    <a:pt x="307" y="2169"/>
                  </a:cubicBezTo>
                  <a:lnTo>
                    <a:pt x="307" y="216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09CEFF89-2AC7-400A-AEEE-91E975B84543}"/>
                </a:ext>
              </a:extLst>
            </p:cNvPr>
            <p:cNvSpPr/>
            <p:nvPr/>
          </p:nvSpPr>
          <p:spPr>
            <a:xfrm>
              <a:off x="8665922" y="4222893"/>
              <a:ext cx="31691" cy="39613"/>
            </a:xfrm>
            <a:custGeom>
              <a:avLst/>
              <a:gdLst>
                <a:gd name="connsiteX0" fmla="*/ 354 w 40885"/>
                <a:gd name="connsiteY0" fmla="*/ 2674 h 51107"/>
                <a:gd name="connsiteX1" fmla="*/ 46351 w 40885"/>
                <a:gd name="connsiteY1" fmla="*/ 52248 h 51107"/>
                <a:gd name="connsiteX2" fmla="*/ 48702 w 40885"/>
                <a:gd name="connsiteY2" fmla="*/ 50102 h 51107"/>
                <a:gd name="connsiteX3" fmla="*/ 2705 w 40885"/>
                <a:gd name="connsiteY3" fmla="*/ 527 h 51107"/>
                <a:gd name="connsiteX4" fmla="*/ 354 w 40885"/>
                <a:gd name="connsiteY4" fmla="*/ 2674 h 51107"/>
                <a:gd name="connsiteX5" fmla="*/ 354 w 40885"/>
                <a:gd name="connsiteY5" fmla="*/ 267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54" y="2674"/>
                  </a:moveTo>
                  <a:cubicBezTo>
                    <a:pt x="14766" y="20050"/>
                    <a:pt x="30098" y="36609"/>
                    <a:pt x="46351" y="52248"/>
                  </a:cubicBezTo>
                  <a:cubicBezTo>
                    <a:pt x="47884" y="53679"/>
                    <a:pt x="50133" y="51532"/>
                    <a:pt x="48702" y="50102"/>
                  </a:cubicBezTo>
                  <a:cubicBezTo>
                    <a:pt x="32347" y="34360"/>
                    <a:pt x="17015" y="17802"/>
                    <a:pt x="2705" y="527"/>
                  </a:cubicBezTo>
                  <a:cubicBezTo>
                    <a:pt x="1376" y="-1006"/>
                    <a:pt x="-872" y="1141"/>
                    <a:pt x="354" y="2674"/>
                  </a:cubicBezTo>
                  <a:lnTo>
                    <a:pt x="35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879FE40D-453A-4E76-979E-FEF64F2F4D2F}"/>
                </a:ext>
              </a:extLst>
            </p:cNvPr>
            <p:cNvSpPr/>
            <p:nvPr/>
          </p:nvSpPr>
          <p:spPr>
            <a:xfrm>
              <a:off x="8665533" y="4209391"/>
              <a:ext cx="31691" cy="31691"/>
            </a:xfrm>
            <a:custGeom>
              <a:avLst/>
              <a:gdLst>
                <a:gd name="connsiteX0" fmla="*/ 344 w 40885"/>
                <a:gd name="connsiteY0" fmla="*/ 2717 h 40885"/>
                <a:gd name="connsiteX1" fmla="*/ 42048 w 40885"/>
                <a:gd name="connsiteY1" fmla="*/ 47180 h 40885"/>
                <a:gd name="connsiteX2" fmla="*/ 44399 w 40885"/>
                <a:gd name="connsiteY2" fmla="*/ 45034 h 40885"/>
                <a:gd name="connsiteX3" fmla="*/ 2695 w 40885"/>
                <a:gd name="connsiteY3" fmla="*/ 570 h 40885"/>
                <a:gd name="connsiteX4" fmla="*/ 344 w 40885"/>
                <a:gd name="connsiteY4" fmla="*/ 2717 h 40885"/>
                <a:gd name="connsiteX5" fmla="*/ 344 w 40885"/>
                <a:gd name="connsiteY5" fmla="*/ 271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344" y="2717"/>
                  </a:moveTo>
                  <a:cubicBezTo>
                    <a:pt x="13223" y="18356"/>
                    <a:pt x="27125" y="33177"/>
                    <a:pt x="42048" y="47180"/>
                  </a:cubicBezTo>
                  <a:cubicBezTo>
                    <a:pt x="43581" y="48611"/>
                    <a:pt x="45830" y="46362"/>
                    <a:pt x="44399" y="45034"/>
                  </a:cubicBezTo>
                  <a:cubicBezTo>
                    <a:pt x="29475" y="31030"/>
                    <a:pt x="15574" y="16209"/>
                    <a:pt x="2695" y="570"/>
                  </a:cubicBezTo>
                  <a:cubicBezTo>
                    <a:pt x="1469" y="-1065"/>
                    <a:pt x="-882" y="1184"/>
                    <a:pt x="344" y="2717"/>
                  </a:cubicBezTo>
                  <a:lnTo>
                    <a:pt x="34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46CAC07C-73F0-447A-960D-B3D341A914DC}"/>
                </a:ext>
              </a:extLst>
            </p:cNvPr>
            <p:cNvSpPr/>
            <p:nvPr/>
          </p:nvSpPr>
          <p:spPr>
            <a:xfrm>
              <a:off x="8694800" y="3994891"/>
              <a:ext cx="79226" cy="71304"/>
            </a:xfrm>
            <a:custGeom>
              <a:avLst/>
              <a:gdLst>
                <a:gd name="connsiteX0" fmla="*/ 2756 w 102214"/>
                <a:gd name="connsiteY0" fmla="*/ 94754 h 91992"/>
                <a:gd name="connsiteX1" fmla="*/ 107423 w 102214"/>
                <a:gd name="connsiteY1" fmla="*/ 2965 h 91992"/>
                <a:gd name="connsiteX2" fmla="*/ 105788 w 102214"/>
                <a:gd name="connsiteY2" fmla="*/ 308 h 91992"/>
                <a:gd name="connsiteX3" fmla="*/ 405 w 102214"/>
                <a:gd name="connsiteY3" fmla="*/ 92607 h 91992"/>
                <a:gd name="connsiteX4" fmla="*/ 2756 w 102214"/>
                <a:gd name="connsiteY4" fmla="*/ 94754 h 91992"/>
                <a:gd name="connsiteX5" fmla="*/ 2756 w 102214"/>
                <a:gd name="connsiteY5" fmla="*/ 94754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4" h="91992">
                  <a:moveTo>
                    <a:pt x="2756" y="94754"/>
                  </a:moveTo>
                  <a:cubicBezTo>
                    <a:pt x="33727" y="60410"/>
                    <a:pt x="68888" y="29644"/>
                    <a:pt x="107423" y="2965"/>
                  </a:cubicBezTo>
                  <a:cubicBezTo>
                    <a:pt x="109161" y="1841"/>
                    <a:pt x="107525" y="-919"/>
                    <a:pt x="105788" y="308"/>
                  </a:cubicBezTo>
                  <a:cubicBezTo>
                    <a:pt x="66946" y="27088"/>
                    <a:pt x="31682" y="58059"/>
                    <a:pt x="405" y="92607"/>
                  </a:cubicBezTo>
                  <a:cubicBezTo>
                    <a:pt x="-924" y="94039"/>
                    <a:pt x="1325" y="96287"/>
                    <a:pt x="2756" y="94754"/>
                  </a:cubicBezTo>
                  <a:lnTo>
                    <a:pt x="2756" y="9475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35690CCC-F410-4B3F-8B3C-BFD13AAB89E9}"/>
                </a:ext>
              </a:extLst>
            </p:cNvPr>
            <p:cNvSpPr/>
            <p:nvPr/>
          </p:nvSpPr>
          <p:spPr>
            <a:xfrm>
              <a:off x="8685102" y="3995553"/>
              <a:ext cx="63381" cy="63381"/>
            </a:xfrm>
            <a:custGeom>
              <a:avLst/>
              <a:gdLst>
                <a:gd name="connsiteX0" fmla="*/ 3104 w 81771"/>
                <a:gd name="connsiteY0" fmla="*/ 81941 h 81771"/>
                <a:gd name="connsiteX1" fmla="*/ 90497 w 81771"/>
                <a:gd name="connsiteY1" fmla="*/ 2929 h 81771"/>
                <a:gd name="connsiteX2" fmla="*/ 88862 w 81771"/>
                <a:gd name="connsiteY2" fmla="*/ 272 h 81771"/>
                <a:gd name="connsiteX3" fmla="*/ 344 w 81771"/>
                <a:gd name="connsiteY3" fmla="*/ 80408 h 81771"/>
                <a:gd name="connsiteX4" fmla="*/ 3104 w 81771"/>
                <a:gd name="connsiteY4" fmla="*/ 81941 h 81771"/>
                <a:gd name="connsiteX5" fmla="*/ 3104 w 81771"/>
                <a:gd name="connsiteY5" fmla="*/ 81941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771" h="81771">
                  <a:moveTo>
                    <a:pt x="3104" y="81941"/>
                  </a:moveTo>
                  <a:cubicBezTo>
                    <a:pt x="27738" y="51481"/>
                    <a:pt x="57175" y="24803"/>
                    <a:pt x="90497" y="2929"/>
                  </a:cubicBezTo>
                  <a:cubicBezTo>
                    <a:pt x="92235" y="1805"/>
                    <a:pt x="90600" y="-853"/>
                    <a:pt x="88862" y="272"/>
                  </a:cubicBezTo>
                  <a:cubicBezTo>
                    <a:pt x="55131" y="22554"/>
                    <a:pt x="25284" y="49437"/>
                    <a:pt x="344" y="80408"/>
                  </a:cubicBezTo>
                  <a:cubicBezTo>
                    <a:pt x="-985" y="81941"/>
                    <a:pt x="1877" y="83474"/>
                    <a:pt x="3104" y="81941"/>
                  </a:cubicBezTo>
                  <a:lnTo>
                    <a:pt x="3104" y="819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AFAB66F8-69D0-464E-8F35-F0E39F04DA3F}"/>
                </a:ext>
              </a:extLst>
            </p:cNvPr>
            <p:cNvSpPr/>
            <p:nvPr/>
          </p:nvSpPr>
          <p:spPr>
            <a:xfrm>
              <a:off x="8682760" y="4003397"/>
              <a:ext cx="47536" cy="39613"/>
            </a:xfrm>
            <a:custGeom>
              <a:avLst/>
              <a:gdLst>
                <a:gd name="connsiteX0" fmla="*/ 3161 w 61328"/>
                <a:gd name="connsiteY0" fmla="*/ 56183 h 51107"/>
                <a:gd name="connsiteX1" fmla="*/ 63263 w 61328"/>
                <a:gd name="connsiteY1" fmla="*/ 2929 h 51107"/>
                <a:gd name="connsiteX2" fmla="*/ 61628 w 61328"/>
                <a:gd name="connsiteY2" fmla="*/ 272 h 51107"/>
                <a:gd name="connsiteX3" fmla="*/ 299 w 61328"/>
                <a:gd name="connsiteY3" fmla="*/ 54650 h 51107"/>
                <a:gd name="connsiteX4" fmla="*/ 3161 w 61328"/>
                <a:gd name="connsiteY4" fmla="*/ 56183 h 51107"/>
                <a:gd name="connsiteX5" fmla="*/ 3161 w 61328"/>
                <a:gd name="connsiteY5" fmla="*/ 5618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3161" y="56183"/>
                  </a:moveTo>
                  <a:cubicBezTo>
                    <a:pt x="19720" y="35127"/>
                    <a:pt x="40061" y="17239"/>
                    <a:pt x="63263" y="2929"/>
                  </a:cubicBezTo>
                  <a:cubicBezTo>
                    <a:pt x="65001" y="1805"/>
                    <a:pt x="63365" y="-853"/>
                    <a:pt x="61628" y="272"/>
                  </a:cubicBezTo>
                  <a:cubicBezTo>
                    <a:pt x="37914" y="14888"/>
                    <a:pt x="17267" y="33185"/>
                    <a:pt x="299" y="54650"/>
                  </a:cubicBezTo>
                  <a:cubicBezTo>
                    <a:pt x="-927" y="56183"/>
                    <a:pt x="1935" y="57716"/>
                    <a:pt x="3161" y="56183"/>
                  </a:cubicBezTo>
                  <a:lnTo>
                    <a:pt x="3161" y="5618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08F4F8FD-7F7C-4824-9795-E72A168AF7A3}"/>
                </a:ext>
              </a:extLst>
            </p:cNvPr>
            <p:cNvSpPr/>
            <p:nvPr/>
          </p:nvSpPr>
          <p:spPr>
            <a:xfrm>
              <a:off x="8680856" y="4009421"/>
              <a:ext cx="31691" cy="31691"/>
            </a:xfrm>
            <a:custGeom>
              <a:avLst/>
              <a:gdLst>
                <a:gd name="connsiteX0" fmla="*/ 2756 w 40885"/>
                <a:gd name="connsiteY0" fmla="*/ 40949 h 40885"/>
                <a:gd name="connsiteX1" fmla="*/ 42824 w 40885"/>
                <a:gd name="connsiteY1" fmla="*/ 2618 h 40885"/>
                <a:gd name="connsiteX2" fmla="*/ 40473 w 40885"/>
                <a:gd name="connsiteY2" fmla="*/ 472 h 40885"/>
                <a:gd name="connsiteX3" fmla="*/ 405 w 40885"/>
                <a:gd name="connsiteY3" fmla="*/ 38802 h 40885"/>
                <a:gd name="connsiteX4" fmla="*/ 2756 w 40885"/>
                <a:gd name="connsiteY4" fmla="*/ 40949 h 40885"/>
                <a:gd name="connsiteX5" fmla="*/ 2756 w 40885"/>
                <a:gd name="connsiteY5" fmla="*/ 4094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56" y="40949"/>
                  </a:moveTo>
                  <a:cubicBezTo>
                    <a:pt x="15737" y="27763"/>
                    <a:pt x="29127" y="14986"/>
                    <a:pt x="42824" y="2618"/>
                  </a:cubicBezTo>
                  <a:cubicBezTo>
                    <a:pt x="44357" y="1187"/>
                    <a:pt x="42006" y="-959"/>
                    <a:pt x="40473" y="472"/>
                  </a:cubicBezTo>
                  <a:cubicBezTo>
                    <a:pt x="26776" y="12942"/>
                    <a:pt x="13386" y="25719"/>
                    <a:pt x="405" y="38802"/>
                  </a:cubicBezTo>
                  <a:cubicBezTo>
                    <a:pt x="-924" y="40233"/>
                    <a:pt x="1325" y="42482"/>
                    <a:pt x="2756" y="40949"/>
                  </a:cubicBezTo>
                  <a:lnTo>
                    <a:pt x="2756" y="409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65D703CC-ADC4-4673-9AAD-630567ED65B6}"/>
                </a:ext>
              </a:extLst>
            </p:cNvPr>
            <p:cNvSpPr/>
            <p:nvPr/>
          </p:nvSpPr>
          <p:spPr>
            <a:xfrm>
              <a:off x="8865174" y="3972266"/>
              <a:ext cx="55458" cy="39613"/>
            </a:xfrm>
            <a:custGeom>
              <a:avLst/>
              <a:gdLst>
                <a:gd name="connsiteX0" fmla="*/ 2707 w 71550"/>
                <a:gd name="connsiteY0" fmla="*/ 57913 h 51107"/>
                <a:gd name="connsiteX1" fmla="*/ 73746 w 71550"/>
                <a:gd name="connsiteY1" fmla="*/ 2922 h 51107"/>
                <a:gd name="connsiteX2" fmla="*/ 72111 w 71550"/>
                <a:gd name="connsiteY2" fmla="*/ 265 h 51107"/>
                <a:gd name="connsiteX3" fmla="*/ 458 w 71550"/>
                <a:gd name="connsiteY3" fmla="*/ 55767 h 51107"/>
                <a:gd name="connsiteX4" fmla="*/ 2707 w 71550"/>
                <a:gd name="connsiteY4" fmla="*/ 57913 h 51107"/>
                <a:gd name="connsiteX5" fmla="*/ 2707 w 71550"/>
                <a:gd name="connsiteY5" fmla="*/ 57913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51107">
                  <a:moveTo>
                    <a:pt x="2707" y="57913"/>
                  </a:moveTo>
                  <a:cubicBezTo>
                    <a:pt x="23763" y="36653"/>
                    <a:pt x="47579" y="18254"/>
                    <a:pt x="73746" y="2922"/>
                  </a:cubicBezTo>
                  <a:cubicBezTo>
                    <a:pt x="75484" y="1900"/>
                    <a:pt x="73848" y="-860"/>
                    <a:pt x="72111" y="265"/>
                  </a:cubicBezTo>
                  <a:cubicBezTo>
                    <a:pt x="45739" y="15699"/>
                    <a:pt x="21719" y="34302"/>
                    <a:pt x="458" y="55767"/>
                  </a:cubicBezTo>
                  <a:cubicBezTo>
                    <a:pt x="-973" y="57198"/>
                    <a:pt x="1276" y="59447"/>
                    <a:pt x="2707" y="57913"/>
                  </a:cubicBezTo>
                  <a:lnTo>
                    <a:pt x="2707" y="579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43AAF1C2-FA39-4853-ABF7-62161F248A23}"/>
                </a:ext>
              </a:extLst>
            </p:cNvPr>
            <p:cNvSpPr/>
            <p:nvPr/>
          </p:nvSpPr>
          <p:spPr>
            <a:xfrm>
              <a:off x="8880073" y="3972372"/>
              <a:ext cx="47536" cy="31691"/>
            </a:xfrm>
            <a:custGeom>
              <a:avLst/>
              <a:gdLst>
                <a:gd name="connsiteX0" fmla="*/ 2804 w 61328"/>
                <a:gd name="connsiteY0" fmla="*/ 47657 h 40885"/>
                <a:gd name="connsiteX1" fmla="*/ 69550 w 61328"/>
                <a:gd name="connsiteY1" fmla="*/ 2887 h 40885"/>
                <a:gd name="connsiteX2" fmla="*/ 67914 w 61328"/>
                <a:gd name="connsiteY2" fmla="*/ 230 h 40885"/>
                <a:gd name="connsiteX3" fmla="*/ 555 w 61328"/>
                <a:gd name="connsiteY3" fmla="*/ 45511 h 40885"/>
                <a:gd name="connsiteX4" fmla="*/ 2804 w 61328"/>
                <a:gd name="connsiteY4" fmla="*/ 47657 h 40885"/>
                <a:gd name="connsiteX5" fmla="*/ 2804 w 61328"/>
                <a:gd name="connsiteY5" fmla="*/ 476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40885">
                  <a:moveTo>
                    <a:pt x="2804" y="47657"/>
                  </a:moveTo>
                  <a:cubicBezTo>
                    <a:pt x="23962" y="31201"/>
                    <a:pt x="46143" y="16277"/>
                    <a:pt x="69550" y="2887"/>
                  </a:cubicBezTo>
                  <a:cubicBezTo>
                    <a:pt x="71390" y="1865"/>
                    <a:pt x="69652" y="-792"/>
                    <a:pt x="67914" y="230"/>
                  </a:cubicBezTo>
                  <a:cubicBezTo>
                    <a:pt x="44303" y="13824"/>
                    <a:pt x="21816" y="28952"/>
                    <a:pt x="555" y="45511"/>
                  </a:cubicBezTo>
                  <a:cubicBezTo>
                    <a:pt x="-1080" y="46737"/>
                    <a:pt x="1271" y="48884"/>
                    <a:pt x="2804" y="47657"/>
                  </a:cubicBezTo>
                  <a:lnTo>
                    <a:pt x="2804" y="476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9036300D-266C-4FF9-9169-DFEBF7F5B5BE}"/>
                </a:ext>
              </a:extLst>
            </p:cNvPr>
            <p:cNvSpPr/>
            <p:nvPr/>
          </p:nvSpPr>
          <p:spPr>
            <a:xfrm>
              <a:off x="8895003" y="3984415"/>
              <a:ext cx="31691" cy="15845"/>
            </a:xfrm>
            <a:custGeom>
              <a:avLst/>
              <a:gdLst>
                <a:gd name="connsiteX0" fmla="*/ 2860 w 40885"/>
                <a:gd name="connsiteY0" fmla="*/ 28441 h 20442"/>
                <a:gd name="connsiteX1" fmla="*/ 43542 w 40885"/>
                <a:gd name="connsiteY1" fmla="*/ 2888 h 20442"/>
                <a:gd name="connsiteX2" fmla="*/ 41906 w 40885"/>
                <a:gd name="connsiteY2" fmla="*/ 230 h 20442"/>
                <a:gd name="connsiteX3" fmla="*/ 612 w 40885"/>
                <a:gd name="connsiteY3" fmla="*/ 26294 h 20442"/>
                <a:gd name="connsiteX4" fmla="*/ 2860 w 40885"/>
                <a:gd name="connsiteY4" fmla="*/ 28441 h 20442"/>
                <a:gd name="connsiteX5" fmla="*/ 2860 w 40885"/>
                <a:gd name="connsiteY5" fmla="*/ 28441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20442">
                  <a:moveTo>
                    <a:pt x="2860" y="28441"/>
                  </a:moveTo>
                  <a:cubicBezTo>
                    <a:pt x="15739" y="18935"/>
                    <a:pt x="29334" y="10451"/>
                    <a:pt x="43542" y="2888"/>
                  </a:cubicBezTo>
                  <a:cubicBezTo>
                    <a:pt x="45382" y="1865"/>
                    <a:pt x="43746" y="-792"/>
                    <a:pt x="41906" y="230"/>
                  </a:cubicBezTo>
                  <a:cubicBezTo>
                    <a:pt x="27494" y="7998"/>
                    <a:pt x="13695" y="16686"/>
                    <a:pt x="612" y="26294"/>
                  </a:cubicBezTo>
                  <a:cubicBezTo>
                    <a:pt x="-1126" y="27419"/>
                    <a:pt x="1225" y="29668"/>
                    <a:pt x="2860" y="28441"/>
                  </a:cubicBezTo>
                  <a:lnTo>
                    <a:pt x="2860" y="2844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BD5B438A-92CD-4E23-B1B9-A1FB3792984B}"/>
                </a:ext>
              </a:extLst>
            </p:cNvPr>
            <p:cNvSpPr/>
            <p:nvPr/>
          </p:nvSpPr>
          <p:spPr>
            <a:xfrm>
              <a:off x="8920276" y="3983340"/>
              <a:ext cx="23768" cy="15845"/>
            </a:xfrm>
            <a:custGeom>
              <a:avLst/>
              <a:gdLst>
                <a:gd name="connsiteX0" fmla="*/ 2860 w 30664"/>
                <a:gd name="connsiteY0" fmla="*/ 21855 h 20442"/>
                <a:gd name="connsiteX1" fmla="*/ 35467 w 30664"/>
                <a:gd name="connsiteY1" fmla="*/ 2843 h 20442"/>
                <a:gd name="connsiteX2" fmla="*/ 33831 w 30664"/>
                <a:gd name="connsiteY2" fmla="*/ 185 h 20442"/>
                <a:gd name="connsiteX3" fmla="*/ 612 w 30664"/>
                <a:gd name="connsiteY3" fmla="*/ 19606 h 20442"/>
                <a:gd name="connsiteX4" fmla="*/ 2860 w 30664"/>
                <a:gd name="connsiteY4" fmla="*/ 21855 h 20442"/>
                <a:gd name="connsiteX5" fmla="*/ 2860 w 30664"/>
                <a:gd name="connsiteY5" fmla="*/ 2185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60" y="21855"/>
                  </a:moveTo>
                  <a:cubicBezTo>
                    <a:pt x="12980" y="14393"/>
                    <a:pt x="23917" y="8158"/>
                    <a:pt x="35467" y="2843"/>
                  </a:cubicBezTo>
                  <a:cubicBezTo>
                    <a:pt x="37409" y="2026"/>
                    <a:pt x="35671" y="-734"/>
                    <a:pt x="33831" y="185"/>
                  </a:cubicBezTo>
                  <a:cubicBezTo>
                    <a:pt x="21974" y="5603"/>
                    <a:pt x="10935" y="12042"/>
                    <a:pt x="612" y="19606"/>
                  </a:cubicBezTo>
                  <a:cubicBezTo>
                    <a:pt x="-1126" y="20833"/>
                    <a:pt x="1225" y="23082"/>
                    <a:pt x="2860" y="21855"/>
                  </a:cubicBezTo>
                  <a:lnTo>
                    <a:pt x="2860" y="2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73B24EDB-5B7C-4849-95BC-1CE5A8079D20}"/>
                </a:ext>
              </a:extLst>
            </p:cNvPr>
            <p:cNvSpPr/>
            <p:nvPr/>
          </p:nvSpPr>
          <p:spPr>
            <a:xfrm>
              <a:off x="9071635" y="3973435"/>
              <a:ext cx="23768" cy="39613"/>
            </a:xfrm>
            <a:custGeom>
              <a:avLst/>
              <a:gdLst>
                <a:gd name="connsiteX0" fmla="*/ 257 w 30664"/>
                <a:gd name="connsiteY0" fmla="*/ 2232 h 51107"/>
                <a:gd name="connsiteX1" fmla="*/ 35828 w 30664"/>
                <a:gd name="connsiteY1" fmla="*/ 55179 h 51107"/>
                <a:gd name="connsiteX2" fmla="*/ 38690 w 30664"/>
                <a:gd name="connsiteY2" fmla="*/ 53646 h 51107"/>
                <a:gd name="connsiteX3" fmla="*/ 3119 w 30664"/>
                <a:gd name="connsiteY3" fmla="*/ 699 h 51107"/>
                <a:gd name="connsiteX4" fmla="*/ 257 w 30664"/>
                <a:gd name="connsiteY4" fmla="*/ 2232 h 51107"/>
                <a:gd name="connsiteX5" fmla="*/ 257 w 30664"/>
                <a:gd name="connsiteY5" fmla="*/ 223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57" y="2232"/>
                  </a:moveTo>
                  <a:cubicBezTo>
                    <a:pt x="12114" y="19916"/>
                    <a:pt x="23971" y="37496"/>
                    <a:pt x="35828" y="55179"/>
                  </a:cubicBezTo>
                  <a:cubicBezTo>
                    <a:pt x="36952" y="56917"/>
                    <a:pt x="39814" y="55282"/>
                    <a:pt x="38690" y="53646"/>
                  </a:cubicBezTo>
                  <a:cubicBezTo>
                    <a:pt x="26833" y="35963"/>
                    <a:pt x="14976" y="1838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FD9FBA4D-7873-4CD5-86F8-03B1CBD7E7BB}"/>
                </a:ext>
              </a:extLst>
            </p:cNvPr>
            <p:cNvSpPr/>
            <p:nvPr/>
          </p:nvSpPr>
          <p:spPr>
            <a:xfrm>
              <a:off x="9079030" y="3969423"/>
              <a:ext cx="23768" cy="39613"/>
            </a:xfrm>
            <a:custGeom>
              <a:avLst/>
              <a:gdLst>
                <a:gd name="connsiteX0" fmla="*/ 223 w 30664"/>
                <a:gd name="connsiteY0" fmla="*/ 2298 h 51107"/>
                <a:gd name="connsiteX1" fmla="*/ 36816 w 30664"/>
                <a:gd name="connsiteY1" fmla="*/ 60560 h 51107"/>
                <a:gd name="connsiteX2" fmla="*/ 39678 w 30664"/>
                <a:gd name="connsiteY2" fmla="*/ 59027 h 51107"/>
                <a:gd name="connsiteX3" fmla="*/ 3085 w 30664"/>
                <a:gd name="connsiteY3" fmla="*/ 764 h 51107"/>
                <a:gd name="connsiteX4" fmla="*/ 223 w 30664"/>
                <a:gd name="connsiteY4" fmla="*/ 2298 h 51107"/>
                <a:gd name="connsiteX5" fmla="*/ 223 w 30664"/>
                <a:gd name="connsiteY5" fmla="*/ 2298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223" y="2298"/>
                  </a:moveTo>
                  <a:cubicBezTo>
                    <a:pt x="12387" y="21718"/>
                    <a:pt x="24652" y="41139"/>
                    <a:pt x="36816" y="60560"/>
                  </a:cubicBezTo>
                  <a:cubicBezTo>
                    <a:pt x="37940" y="62297"/>
                    <a:pt x="40700" y="60764"/>
                    <a:pt x="39678" y="59027"/>
                  </a:cubicBezTo>
                  <a:cubicBezTo>
                    <a:pt x="27514" y="39606"/>
                    <a:pt x="15249" y="20185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EEEC527B-10D2-4D2B-BB23-12A3AD1119FF}"/>
                </a:ext>
              </a:extLst>
            </p:cNvPr>
            <p:cNvSpPr/>
            <p:nvPr/>
          </p:nvSpPr>
          <p:spPr>
            <a:xfrm>
              <a:off x="9084675" y="3968235"/>
              <a:ext cx="23768" cy="31691"/>
            </a:xfrm>
            <a:custGeom>
              <a:avLst/>
              <a:gdLst>
                <a:gd name="connsiteX0" fmla="*/ 299 w 30664"/>
                <a:gd name="connsiteY0" fmla="*/ 2298 h 40885"/>
                <a:gd name="connsiteX1" fmla="*/ 31168 w 30664"/>
                <a:gd name="connsiteY1" fmla="*/ 46556 h 40885"/>
                <a:gd name="connsiteX2" fmla="*/ 34030 w 30664"/>
                <a:gd name="connsiteY2" fmla="*/ 45023 h 40885"/>
                <a:gd name="connsiteX3" fmla="*/ 3161 w 30664"/>
                <a:gd name="connsiteY3" fmla="*/ 764 h 40885"/>
                <a:gd name="connsiteX4" fmla="*/ 299 w 30664"/>
                <a:gd name="connsiteY4" fmla="*/ 2298 h 40885"/>
                <a:gd name="connsiteX5" fmla="*/ 299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99" y="2298"/>
                  </a:moveTo>
                  <a:cubicBezTo>
                    <a:pt x="10623" y="17017"/>
                    <a:pt x="20844" y="31837"/>
                    <a:pt x="31168" y="46556"/>
                  </a:cubicBezTo>
                  <a:cubicBezTo>
                    <a:pt x="32292" y="48192"/>
                    <a:pt x="35154" y="46659"/>
                    <a:pt x="34030" y="45023"/>
                  </a:cubicBezTo>
                  <a:cubicBezTo>
                    <a:pt x="23706" y="30304"/>
                    <a:pt x="13383" y="15483"/>
                    <a:pt x="3161" y="764"/>
                  </a:cubicBezTo>
                  <a:cubicBezTo>
                    <a:pt x="1935" y="-973"/>
                    <a:pt x="-927" y="560"/>
                    <a:pt x="299" y="2298"/>
                  </a:cubicBezTo>
                  <a:lnTo>
                    <a:pt x="299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4F95EF2A-3FCC-49CE-B327-25BBB7DFB360}"/>
                </a:ext>
              </a:extLst>
            </p:cNvPr>
            <p:cNvSpPr/>
            <p:nvPr/>
          </p:nvSpPr>
          <p:spPr>
            <a:xfrm>
              <a:off x="9096226" y="3974256"/>
              <a:ext cx="7922" cy="15845"/>
            </a:xfrm>
            <a:custGeom>
              <a:avLst/>
              <a:gdLst>
                <a:gd name="connsiteX0" fmla="*/ 217 w 10221"/>
                <a:gd name="connsiteY0" fmla="*/ 2298 h 20442"/>
                <a:gd name="connsiteX1" fmla="*/ 15345 w 10221"/>
                <a:gd name="connsiteY1" fmla="*/ 23354 h 20442"/>
                <a:gd name="connsiteX2" fmla="*/ 17696 w 10221"/>
                <a:gd name="connsiteY2" fmla="*/ 21207 h 20442"/>
                <a:gd name="connsiteX3" fmla="*/ 3079 w 10221"/>
                <a:gd name="connsiteY3" fmla="*/ 764 h 20442"/>
                <a:gd name="connsiteX4" fmla="*/ 217 w 10221"/>
                <a:gd name="connsiteY4" fmla="*/ 2298 h 20442"/>
                <a:gd name="connsiteX5" fmla="*/ 217 w 10221"/>
                <a:gd name="connsiteY5" fmla="*/ 229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298"/>
                  </a:moveTo>
                  <a:cubicBezTo>
                    <a:pt x="4612" y="9759"/>
                    <a:pt x="9621" y="16710"/>
                    <a:pt x="15345" y="23354"/>
                  </a:cubicBezTo>
                  <a:cubicBezTo>
                    <a:pt x="16674" y="24887"/>
                    <a:pt x="18922" y="22741"/>
                    <a:pt x="17696" y="21207"/>
                  </a:cubicBezTo>
                  <a:cubicBezTo>
                    <a:pt x="12176" y="14768"/>
                    <a:pt x="7372" y="791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65369A5B-171D-4D8B-AFDA-40C3FC9D9236}"/>
                </a:ext>
              </a:extLst>
            </p:cNvPr>
            <p:cNvSpPr/>
            <p:nvPr/>
          </p:nvSpPr>
          <p:spPr>
            <a:xfrm>
              <a:off x="9097269" y="3965259"/>
              <a:ext cx="7922" cy="7922"/>
            </a:xfrm>
            <a:custGeom>
              <a:avLst/>
              <a:gdLst>
                <a:gd name="connsiteX0" fmla="*/ 405 w 10221"/>
                <a:gd name="connsiteY0" fmla="*/ 2661 h 10221"/>
                <a:gd name="connsiteX1" fmla="*/ 15430 w 10221"/>
                <a:gd name="connsiteY1" fmla="*/ 18197 h 10221"/>
                <a:gd name="connsiteX2" fmla="*/ 17781 w 10221"/>
                <a:gd name="connsiteY2" fmla="*/ 16051 h 10221"/>
                <a:gd name="connsiteX3" fmla="*/ 2756 w 10221"/>
                <a:gd name="connsiteY3" fmla="*/ 514 h 10221"/>
                <a:gd name="connsiteX4" fmla="*/ 405 w 10221"/>
                <a:gd name="connsiteY4" fmla="*/ 2661 h 10221"/>
                <a:gd name="connsiteX5" fmla="*/ 405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05" y="2661"/>
                  </a:moveTo>
                  <a:cubicBezTo>
                    <a:pt x="5413" y="7873"/>
                    <a:pt x="10422" y="12984"/>
                    <a:pt x="15430" y="18197"/>
                  </a:cubicBezTo>
                  <a:cubicBezTo>
                    <a:pt x="16861" y="19628"/>
                    <a:pt x="19212" y="17482"/>
                    <a:pt x="17781" y="16051"/>
                  </a:cubicBezTo>
                  <a:cubicBezTo>
                    <a:pt x="12773" y="10838"/>
                    <a:pt x="7764" y="5727"/>
                    <a:pt x="2756" y="514"/>
                  </a:cubicBezTo>
                  <a:cubicBezTo>
                    <a:pt x="1325" y="-1019"/>
                    <a:pt x="-924" y="1230"/>
                    <a:pt x="405" y="2661"/>
                  </a:cubicBezTo>
                  <a:lnTo>
                    <a:pt x="40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38144C97-B661-4264-97FB-718F777011CE}"/>
                </a:ext>
              </a:extLst>
            </p:cNvPr>
            <p:cNvSpPr/>
            <p:nvPr/>
          </p:nvSpPr>
          <p:spPr>
            <a:xfrm>
              <a:off x="9109919" y="3959474"/>
              <a:ext cx="7922" cy="7922"/>
            </a:xfrm>
            <a:custGeom>
              <a:avLst/>
              <a:gdLst>
                <a:gd name="connsiteX0" fmla="*/ 1155 w 10221"/>
                <a:gd name="connsiteY0" fmla="*/ 3072 h 0"/>
                <a:gd name="connsiteX1" fmla="*/ 12194 w 10221"/>
                <a:gd name="connsiteY1" fmla="*/ 6751 h 0"/>
                <a:gd name="connsiteX2" fmla="*/ 13012 w 10221"/>
                <a:gd name="connsiteY2" fmla="*/ 3787 h 0"/>
                <a:gd name="connsiteX3" fmla="*/ 1972 w 10221"/>
                <a:gd name="connsiteY3" fmla="*/ 108 h 0"/>
                <a:gd name="connsiteX4" fmla="*/ 1155 w 10221"/>
                <a:gd name="connsiteY4" fmla="*/ 3072 h 0"/>
                <a:gd name="connsiteX5" fmla="*/ 1155 w 10221"/>
                <a:gd name="connsiteY5" fmla="*/ 3072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>
                  <a:moveTo>
                    <a:pt x="1155" y="3072"/>
                  </a:moveTo>
                  <a:cubicBezTo>
                    <a:pt x="4834" y="4298"/>
                    <a:pt x="8514" y="5525"/>
                    <a:pt x="12194" y="6751"/>
                  </a:cubicBezTo>
                  <a:cubicBezTo>
                    <a:pt x="14136" y="7467"/>
                    <a:pt x="15056" y="4401"/>
                    <a:pt x="13012" y="3787"/>
                  </a:cubicBezTo>
                  <a:cubicBezTo>
                    <a:pt x="9332" y="2561"/>
                    <a:pt x="5652" y="1334"/>
                    <a:pt x="1972" y="108"/>
                  </a:cubicBezTo>
                  <a:cubicBezTo>
                    <a:pt x="30" y="-608"/>
                    <a:pt x="-890" y="2459"/>
                    <a:pt x="1155" y="3072"/>
                  </a:cubicBezTo>
                  <a:lnTo>
                    <a:pt x="1155" y="30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3B2BCA42-3190-4D6A-86C0-2317433AD3A7}"/>
                </a:ext>
              </a:extLst>
            </p:cNvPr>
            <p:cNvSpPr/>
            <p:nvPr/>
          </p:nvSpPr>
          <p:spPr>
            <a:xfrm>
              <a:off x="9156701" y="4119426"/>
              <a:ext cx="55458" cy="102994"/>
            </a:xfrm>
            <a:custGeom>
              <a:avLst/>
              <a:gdLst>
                <a:gd name="connsiteX0" fmla="*/ 185 w 71550"/>
                <a:gd name="connsiteY0" fmla="*/ 2364 h 132878"/>
                <a:gd name="connsiteX1" fmla="*/ 78072 w 71550"/>
                <a:gd name="connsiteY1" fmla="*/ 132789 h 132878"/>
                <a:gd name="connsiteX2" fmla="*/ 80934 w 71550"/>
                <a:gd name="connsiteY2" fmla="*/ 131256 h 132878"/>
                <a:gd name="connsiteX3" fmla="*/ 3047 w 71550"/>
                <a:gd name="connsiteY3" fmla="*/ 831 h 132878"/>
                <a:gd name="connsiteX4" fmla="*/ 185 w 71550"/>
                <a:gd name="connsiteY4" fmla="*/ 2364 h 132878"/>
                <a:gd name="connsiteX5" fmla="*/ 185 w 71550"/>
                <a:gd name="connsiteY5" fmla="*/ 2364 h 132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132878">
                  <a:moveTo>
                    <a:pt x="185" y="2364"/>
                  </a:moveTo>
                  <a:cubicBezTo>
                    <a:pt x="24512" y="46725"/>
                    <a:pt x="50474" y="90268"/>
                    <a:pt x="78072" y="132789"/>
                  </a:cubicBezTo>
                  <a:cubicBezTo>
                    <a:pt x="79197" y="134527"/>
                    <a:pt x="82059" y="132891"/>
                    <a:pt x="80934" y="131256"/>
                  </a:cubicBezTo>
                  <a:cubicBezTo>
                    <a:pt x="53336" y="88633"/>
                    <a:pt x="27374" y="45192"/>
                    <a:pt x="3047" y="831"/>
                  </a:cubicBezTo>
                  <a:cubicBezTo>
                    <a:pt x="2025" y="-1009"/>
                    <a:pt x="-735" y="524"/>
                    <a:pt x="185" y="2364"/>
                  </a:cubicBezTo>
                  <a:lnTo>
                    <a:pt x="185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D8A33750-EC1C-4BBA-A5A8-B408111457CC}"/>
                </a:ext>
              </a:extLst>
            </p:cNvPr>
            <p:cNvSpPr/>
            <p:nvPr/>
          </p:nvSpPr>
          <p:spPr>
            <a:xfrm>
              <a:off x="9167684" y="4119794"/>
              <a:ext cx="39613" cy="63381"/>
            </a:xfrm>
            <a:custGeom>
              <a:avLst/>
              <a:gdLst>
                <a:gd name="connsiteX0" fmla="*/ 223 w 51107"/>
                <a:gd name="connsiteY0" fmla="*/ 2298 h 81771"/>
                <a:gd name="connsiteX1" fmla="*/ 50104 w 51107"/>
                <a:gd name="connsiteY1" fmla="*/ 85909 h 81771"/>
                <a:gd name="connsiteX2" fmla="*/ 52966 w 51107"/>
                <a:gd name="connsiteY2" fmla="*/ 84376 h 81771"/>
                <a:gd name="connsiteX3" fmla="*/ 3085 w 51107"/>
                <a:gd name="connsiteY3" fmla="*/ 764 h 81771"/>
                <a:gd name="connsiteX4" fmla="*/ 223 w 51107"/>
                <a:gd name="connsiteY4" fmla="*/ 2298 h 81771"/>
                <a:gd name="connsiteX5" fmla="*/ 223 w 51107"/>
                <a:gd name="connsiteY5" fmla="*/ 2298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81771">
                  <a:moveTo>
                    <a:pt x="223" y="2298"/>
                  </a:moveTo>
                  <a:cubicBezTo>
                    <a:pt x="16884" y="30202"/>
                    <a:pt x="33545" y="58004"/>
                    <a:pt x="50104" y="85909"/>
                  </a:cubicBezTo>
                  <a:cubicBezTo>
                    <a:pt x="51126" y="87647"/>
                    <a:pt x="53988" y="86113"/>
                    <a:pt x="52966" y="84376"/>
                  </a:cubicBezTo>
                  <a:cubicBezTo>
                    <a:pt x="36305" y="56471"/>
                    <a:pt x="19644" y="28669"/>
                    <a:pt x="3085" y="764"/>
                  </a:cubicBezTo>
                  <a:cubicBezTo>
                    <a:pt x="1961" y="-973"/>
                    <a:pt x="-799" y="560"/>
                    <a:pt x="223" y="2298"/>
                  </a:cubicBezTo>
                  <a:lnTo>
                    <a:pt x="223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144B0CC7-BAEF-47FC-AC37-ACD022ED1657}"/>
                </a:ext>
              </a:extLst>
            </p:cNvPr>
            <p:cNvSpPr/>
            <p:nvPr/>
          </p:nvSpPr>
          <p:spPr>
            <a:xfrm>
              <a:off x="9180929" y="4132521"/>
              <a:ext cx="31691" cy="47536"/>
            </a:xfrm>
            <a:custGeom>
              <a:avLst/>
              <a:gdLst>
                <a:gd name="connsiteX0" fmla="*/ 307 w 40885"/>
                <a:gd name="connsiteY0" fmla="*/ 2232 h 61328"/>
                <a:gd name="connsiteX1" fmla="*/ 46201 w 40885"/>
                <a:gd name="connsiteY1" fmla="*/ 67139 h 61328"/>
                <a:gd name="connsiteX2" fmla="*/ 49063 w 40885"/>
                <a:gd name="connsiteY2" fmla="*/ 65605 h 61328"/>
                <a:gd name="connsiteX3" fmla="*/ 3169 w 40885"/>
                <a:gd name="connsiteY3" fmla="*/ 699 h 61328"/>
                <a:gd name="connsiteX4" fmla="*/ 307 w 40885"/>
                <a:gd name="connsiteY4" fmla="*/ 2232 h 61328"/>
                <a:gd name="connsiteX5" fmla="*/ 307 w 40885"/>
                <a:gd name="connsiteY5" fmla="*/ 2232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307" y="2232"/>
                  </a:moveTo>
                  <a:cubicBezTo>
                    <a:pt x="16354" y="23391"/>
                    <a:pt x="31584" y="45060"/>
                    <a:pt x="46201" y="67139"/>
                  </a:cubicBezTo>
                  <a:cubicBezTo>
                    <a:pt x="47325" y="68876"/>
                    <a:pt x="50187" y="67241"/>
                    <a:pt x="49063" y="65605"/>
                  </a:cubicBezTo>
                  <a:cubicBezTo>
                    <a:pt x="34549" y="43527"/>
                    <a:pt x="19216" y="21858"/>
                    <a:pt x="3169" y="699"/>
                  </a:cubicBezTo>
                  <a:cubicBezTo>
                    <a:pt x="1840" y="-936"/>
                    <a:pt x="-920" y="597"/>
                    <a:pt x="307" y="2232"/>
                  </a:cubicBezTo>
                  <a:lnTo>
                    <a:pt x="30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202A90F-FE9E-4E4C-BC2D-ABE2DBF9634F}"/>
                </a:ext>
              </a:extLst>
            </p:cNvPr>
            <p:cNvSpPr/>
            <p:nvPr/>
          </p:nvSpPr>
          <p:spPr>
            <a:xfrm>
              <a:off x="9193855" y="4139274"/>
              <a:ext cx="31691" cy="39613"/>
            </a:xfrm>
            <a:custGeom>
              <a:avLst/>
              <a:gdLst>
                <a:gd name="connsiteX0" fmla="*/ 394 w 40885"/>
                <a:gd name="connsiteY0" fmla="*/ 2719 h 51107"/>
                <a:gd name="connsiteX1" fmla="*/ 38009 w 40885"/>
                <a:gd name="connsiteY1" fmla="*/ 50453 h 51107"/>
                <a:gd name="connsiteX2" fmla="*/ 40871 w 40885"/>
                <a:gd name="connsiteY2" fmla="*/ 48920 h 51107"/>
                <a:gd name="connsiteX3" fmla="*/ 2745 w 40885"/>
                <a:gd name="connsiteY3" fmla="*/ 471 h 51107"/>
                <a:gd name="connsiteX4" fmla="*/ 394 w 40885"/>
                <a:gd name="connsiteY4" fmla="*/ 2719 h 51107"/>
                <a:gd name="connsiteX5" fmla="*/ 394 w 40885"/>
                <a:gd name="connsiteY5" fmla="*/ 2719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394" y="2719"/>
                  </a:moveTo>
                  <a:cubicBezTo>
                    <a:pt x="13682" y="18052"/>
                    <a:pt x="26254" y="33997"/>
                    <a:pt x="38009" y="50453"/>
                  </a:cubicBezTo>
                  <a:cubicBezTo>
                    <a:pt x="39133" y="52089"/>
                    <a:pt x="41995" y="50556"/>
                    <a:pt x="40871" y="48920"/>
                  </a:cubicBezTo>
                  <a:cubicBezTo>
                    <a:pt x="28912" y="32259"/>
                    <a:pt x="16237" y="16110"/>
                    <a:pt x="2745" y="471"/>
                  </a:cubicBezTo>
                  <a:cubicBezTo>
                    <a:pt x="1416" y="-960"/>
                    <a:pt x="-935" y="1186"/>
                    <a:pt x="394" y="2719"/>
                  </a:cubicBezTo>
                  <a:lnTo>
                    <a:pt x="394" y="27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5EA2B74B-DF46-4220-B307-F709ECE67B0F}"/>
                </a:ext>
              </a:extLst>
            </p:cNvPr>
            <p:cNvSpPr/>
            <p:nvPr/>
          </p:nvSpPr>
          <p:spPr>
            <a:xfrm>
              <a:off x="9207165" y="4143667"/>
              <a:ext cx="23768" cy="23768"/>
            </a:xfrm>
            <a:custGeom>
              <a:avLst/>
              <a:gdLst>
                <a:gd name="connsiteX0" fmla="*/ 394 w 30664"/>
                <a:gd name="connsiteY0" fmla="*/ 2674 h 30664"/>
                <a:gd name="connsiteX1" fmla="*/ 30854 w 30664"/>
                <a:gd name="connsiteY1" fmla="*/ 38551 h 30664"/>
                <a:gd name="connsiteX2" fmla="*/ 33205 w 30664"/>
                <a:gd name="connsiteY2" fmla="*/ 36404 h 30664"/>
                <a:gd name="connsiteX3" fmla="*/ 2745 w 30664"/>
                <a:gd name="connsiteY3" fmla="*/ 527 h 30664"/>
                <a:gd name="connsiteX4" fmla="*/ 394 w 30664"/>
                <a:gd name="connsiteY4" fmla="*/ 2674 h 30664"/>
                <a:gd name="connsiteX5" fmla="*/ 394 w 30664"/>
                <a:gd name="connsiteY5" fmla="*/ 267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94" y="2674"/>
                  </a:moveTo>
                  <a:cubicBezTo>
                    <a:pt x="10513" y="14633"/>
                    <a:pt x="20734" y="26592"/>
                    <a:pt x="30854" y="38551"/>
                  </a:cubicBezTo>
                  <a:cubicBezTo>
                    <a:pt x="32183" y="40084"/>
                    <a:pt x="34431" y="37938"/>
                    <a:pt x="33205" y="36404"/>
                  </a:cubicBezTo>
                  <a:cubicBezTo>
                    <a:pt x="22983" y="24446"/>
                    <a:pt x="12864" y="12486"/>
                    <a:pt x="2745" y="527"/>
                  </a:cubicBezTo>
                  <a:cubicBezTo>
                    <a:pt x="1416" y="-1006"/>
                    <a:pt x="-935" y="1141"/>
                    <a:pt x="394" y="2674"/>
                  </a:cubicBezTo>
                  <a:lnTo>
                    <a:pt x="394" y="2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734BC53E-B559-4D77-BF1E-7E3016F9F16D}"/>
                </a:ext>
              </a:extLst>
            </p:cNvPr>
            <p:cNvSpPr/>
            <p:nvPr/>
          </p:nvSpPr>
          <p:spPr>
            <a:xfrm>
              <a:off x="9215839" y="4145535"/>
              <a:ext cx="15845" cy="15845"/>
            </a:xfrm>
            <a:custGeom>
              <a:avLst/>
              <a:gdLst>
                <a:gd name="connsiteX0" fmla="*/ 445 w 20442"/>
                <a:gd name="connsiteY0" fmla="*/ 2717 h 20442"/>
                <a:gd name="connsiteX1" fmla="*/ 19662 w 20442"/>
                <a:gd name="connsiteY1" fmla="*/ 23262 h 20442"/>
                <a:gd name="connsiteX2" fmla="*/ 22013 w 20442"/>
                <a:gd name="connsiteY2" fmla="*/ 21115 h 20442"/>
                <a:gd name="connsiteX3" fmla="*/ 2796 w 20442"/>
                <a:gd name="connsiteY3" fmla="*/ 570 h 20442"/>
                <a:gd name="connsiteX4" fmla="*/ 445 w 20442"/>
                <a:gd name="connsiteY4" fmla="*/ 2717 h 20442"/>
                <a:gd name="connsiteX5" fmla="*/ 445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717"/>
                  </a:moveTo>
                  <a:cubicBezTo>
                    <a:pt x="6885" y="9565"/>
                    <a:pt x="13325" y="16414"/>
                    <a:pt x="19662" y="23262"/>
                  </a:cubicBezTo>
                  <a:cubicBezTo>
                    <a:pt x="21093" y="24795"/>
                    <a:pt x="23341" y="22546"/>
                    <a:pt x="22013" y="21115"/>
                  </a:cubicBezTo>
                  <a:cubicBezTo>
                    <a:pt x="15573" y="14267"/>
                    <a:pt x="9134" y="7419"/>
                    <a:pt x="2796" y="570"/>
                  </a:cubicBezTo>
                  <a:cubicBezTo>
                    <a:pt x="1365" y="-1065"/>
                    <a:pt x="-986" y="1184"/>
                    <a:pt x="445" y="2717"/>
                  </a:cubicBezTo>
                  <a:lnTo>
                    <a:pt x="44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B8C59FF3-C579-42D6-AA30-893CCAD91257}"/>
                </a:ext>
              </a:extLst>
            </p:cNvPr>
            <p:cNvSpPr/>
            <p:nvPr/>
          </p:nvSpPr>
          <p:spPr>
            <a:xfrm>
              <a:off x="9166152" y="4158536"/>
              <a:ext cx="31691" cy="55458"/>
            </a:xfrm>
            <a:custGeom>
              <a:avLst/>
              <a:gdLst>
                <a:gd name="connsiteX0" fmla="*/ 257 w 40885"/>
                <a:gd name="connsiteY0" fmla="*/ 2298 h 71550"/>
                <a:gd name="connsiteX1" fmla="*/ 45436 w 40885"/>
                <a:gd name="connsiteY1" fmla="*/ 72008 h 71550"/>
                <a:gd name="connsiteX2" fmla="*/ 48298 w 40885"/>
                <a:gd name="connsiteY2" fmla="*/ 70475 h 71550"/>
                <a:gd name="connsiteX3" fmla="*/ 3119 w 40885"/>
                <a:gd name="connsiteY3" fmla="*/ 764 h 71550"/>
                <a:gd name="connsiteX4" fmla="*/ 257 w 40885"/>
                <a:gd name="connsiteY4" fmla="*/ 2298 h 71550"/>
                <a:gd name="connsiteX5" fmla="*/ 257 w 40885"/>
                <a:gd name="connsiteY5" fmla="*/ 2298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71550">
                  <a:moveTo>
                    <a:pt x="257" y="2298"/>
                  </a:moveTo>
                  <a:cubicBezTo>
                    <a:pt x="14158" y="26216"/>
                    <a:pt x="29184" y="49419"/>
                    <a:pt x="45436" y="72008"/>
                  </a:cubicBezTo>
                  <a:cubicBezTo>
                    <a:pt x="46662" y="73643"/>
                    <a:pt x="49422" y="72110"/>
                    <a:pt x="48298" y="70475"/>
                  </a:cubicBezTo>
                  <a:cubicBezTo>
                    <a:pt x="32046" y="47885"/>
                    <a:pt x="17020" y="24683"/>
                    <a:pt x="3119" y="764"/>
                  </a:cubicBezTo>
                  <a:cubicBezTo>
                    <a:pt x="1995" y="-973"/>
                    <a:pt x="-867" y="560"/>
                    <a:pt x="257" y="2298"/>
                  </a:cubicBezTo>
                  <a:lnTo>
                    <a:pt x="25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0450494A-B5E2-43F9-8FFE-F5A597C4B647}"/>
                </a:ext>
              </a:extLst>
            </p:cNvPr>
            <p:cNvSpPr/>
            <p:nvPr/>
          </p:nvSpPr>
          <p:spPr>
            <a:xfrm>
              <a:off x="9176495" y="4191724"/>
              <a:ext cx="15845" cy="23768"/>
            </a:xfrm>
            <a:custGeom>
              <a:avLst/>
              <a:gdLst>
                <a:gd name="connsiteX0" fmla="*/ 405 w 20442"/>
                <a:gd name="connsiteY0" fmla="*/ 2717 h 30664"/>
                <a:gd name="connsiteX1" fmla="*/ 19825 w 20442"/>
                <a:gd name="connsiteY1" fmla="*/ 30417 h 30664"/>
                <a:gd name="connsiteX2" fmla="*/ 22687 w 20442"/>
                <a:gd name="connsiteY2" fmla="*/ 28884 h 30664"/>
                <a:gd name="connsiteX3" fmla="*/ 2756 w 20442"/>
                <a:gd name="connsiteY3" fmla="*/ 570 h 30664"/>
                <a:gd name="connsiteX4" fmla="*/ 405 w 20442"/>
                <a:gd name="connsiteY4" fmla="*/ 2717 h 30664"/>
                <a:gd name="connsiteX5" fmla="*/ 405 w 20442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05" y="2717"/>
                  </a:moveTo>
                  <a:cubicBezTo>
                    <a:pt x="7764" y="11405"/>
                    <a:pt x="14204" y="20604"/>
                    <a:pt x="19825" y="30417"/>
                  </a:cubicBezTo>
                  <a:cubicBezTo>
                    <a:pt x="20847" y="32155"/>
                    <a:pt x="23710" y="30621"/>
                    <a:pt x="22687" y="28884"/>
                  </a:cubicBezTo>
                  <a:cubicBezTo>
                    <a:pt x="16963" y="18866"/>
                    <a:pt x="10319" y="9463"/>
                    <a:pt x="2756" y="570"/>
                  </a:cubicBezTo>
                  <a:cubicBezTo>
                    <a:pt x="1325" y="-1065"/>
                    <a:pt x="-924" y="1184"/>
                    <a:pt x="405" y="2717"/>
                  </a:cubicBezTo>
                  <a:lnTo>
                    <a:pt x="40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D65FD38D-0AC1-4F86-94E8-149376D175FF}"/>
                </a:ext>
              </a:extLst>
            </p:cNvPr>
            <p:cNvSpPr/>
            <p:nvPr/>
          </p:nvSpPr>
          <p:spPr>
            <a:xfrm>
              <a:off x="9181919" y="4363451"/>
              <a:ext cx="23768" cy="23768"/>
            </a:xfrm>
            <a:custGeom>
              <a:avLst/>
              <a:gdLst>
                <a:gd name="connsiteX0" fmla="*/ 3119 w 30664"/>
                <a:gd name="connsiteY0" fmla="*/ 37618 h 30664"/>
                <a:gd name="connsiteX1" fmla="*/ 31126 w 30664"/>
                <a:gd name="connsiteY1" fmla="*/ 2660 h 30664"/>
                <a:gd name="connsiteX2" fmla="*/ 28775 w 30664"/>
                <a:gd name="connsiteY2" fmla="*/ 514 h 30664"/>
                <a:gd name="connsiteX3" fmla="*/ 257 w 30664"/>
                <a:gd name="connsiteY3" fmla="*/ 36085 h 30664"/>
                <a:gd name="connsiteX4" fmla="*/ 3119 w 30664"/>
                <a:gd name="connsiteY4" fmla="*/ 37618 h 30664"/>
                <a:gd name="connsiteX5" fmla="*/ 3119 w 30664"/>
                <a:gd name="connsiteY5" fmla="*/ 3761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3119" y="37618"/>
                  </a:moveTo>
                  <a:cubicBezTo>
                    <a:pt x="11398" y="25148"/>
                    <a:pt x="20700" y="13597"/>
                    <a:pt x="31126" y="2660"/>
                  </a:cubicBezTo>
                  <a:cubicBezTo>
                    <a:pt x="32557" y="1230"/>
                    <a:pt x="30206" y="-1019"/>
                    <a:pt x="28775" y="514"/>
                  </a:cubicBezTo>
                  <a:cubicBezTo>
                    <a:pt x="18145" y="11553"/>
                    <a:pt x="8638" y="23410"/>
                    <a:pt x="257" y="36085"/>
                  </a:cubicBezTo>
                  <a:cubicBezTo>
                    <a:pt x="-867" y="37822"/>
                    <a:pt x="1995" y="39356"/>
                    <a:pt x="3119" y="37618"/>
                  </a:cubicBezTo>
                  <a:lnTo>
                    <a:pt x="3119" y="37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5B4C3369-E54B-4295-84EC-599C9834DD8B}"/>
                </a:ext>
              </a:extLst>
            </p:cNvPr>
            <p:cNvSpPr/>
            <p:nvPr/>
          </p:nvSpPr>
          <p:spPr>
            <a:xfrm>
              <a:off x="9165961" y="4362119"/>
              <a:ext cx="23768" cy="31691"/>
            </a:xfrm>
            <a:custGeom>
              <a:avLst/>
              <a:gdLst>
                <a:gd name="connsiteX0" fmla="*/ 3161 w 30664"/>
                <a:gd name="connsiteY0" fmla="*/ 49660 h 40885"/>
                <a:gd name="connsiteX1" fmla="*/ 37812 w 30664"/>
                <a:gd name="connsiteY1" fmla="*/ 2232 h 40885"/>
                <a:gd name="connsiteX2" fmla="*/ 34950 w 30664"/>
                <a:gd name="connsiteY2" fmla="*/ 699 h 40885"/>
                <a:gd name="connsiteX3" fmla="*/ 299 w 30664"/>
                <a:gd name="connsiteY3" fmla="*/ 48229 h 40885"/>
                <a:gd name="connsiteX4" fmla="*/ 3161 w 30664"/>
                <a:gd name="connsiteY4" fmla="*/ 49660 h 40885"/>
                <a:gd name="connsiteX5" fmla="*/ 3161 w 30664"/>
                <a:gd name="connsiteY5" fmla="*/ 49660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61" y="49660"/>
                  </a:moveTo>
                  <a:cubicBezTo>
                    <a:pt x="14711" y="33817"/>
                    <a:pt x="26262" y="17973"/>
                    <a:pt x="37812" y="2232"/>
                  </a:cubicBezTo>
                  <a:cubicBezTo>
                    <a:pt x="39039" y="597"/>
                    <a:pt x="36177" y="-936"/>
                    <a:pt x="34950" y="699"/>
                  </a:cubicBezTo>
                  <a:cubicBezTo>
                    <a:pt x="23400" y="16542"/>
                    <a:pt x="11849" y="32386"/>
                    <a:pt x="299" y="48229"/>
                  </a:cubicBezTo>
                  <a:cubicBezTo>
                    <a:pt x="-927" y="49762"/>
                    <a:pt x="1935" y="51295"/>
                    <a:pt x="3161" y="49660"/>
                  </a:cubicBezTo>
                  <a:lnTo>
                    <a:pt x="3161" y="49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F445706D-E305-4227-A2AD-A57EF8C3E6F9}"/>
                </a:ext>
              </a:extLst>
            </p:cNvPr>
            <p:cNvSpPr/>
            <p:nvPr/>
          </p:nvSpPr>
          <p:spPr>
            <a:xfrm>
              <a:off x="9155134" y="4367823"/>
              <a:ext cx="23768" cy="31691"/>
            </a:xfrm>
            <a:custGeom>
              <a:avLst/>
              <a:gdLst>
                <a:gd name="connsiteX0" fmla="*/ 3126 w 30664"/>
                <a:gd name="connsiteY0" fmla="*/ 47309 h 40885"/>
                <a:gd name="connsiteX1" fmla="*/ 34710 w 30664"/>
                <a:gd name="connsiteY1" fmla="*/ 2232 h 40885"/>
                <a:gd name="connsiteX2" fmla="*/ 31848 w 30664"/>
                <a:gd name="connsiteY2" fmla="*/ 699 h 40885"/>
                <a:gd name="connsiteX3" fmla="*/ 264 w 30664"/>
                <a:gd name="connsiteY3" fmla="*/ 45776 h 40885"/>
                <a:gd name="connsiteX4" fmla="*/ 3126 w 30664"/>
                <a:gd name="connsiteY4" fmla="*/ 47309 h 40885"/>
                <a:gd name="connsiteX5" fmla="*/ 3126 w 30664"/>
                <a:gd name="connsiteY5" fmla="*/ 47309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26" y="47309"/>
                  </a:moveTo>
                  <a:cubicBezTo>
                    <a:pt x="13654" y="32283"/>
                    <a:pt x="24182" y="17258"/>
                    <a:pt x="34710" y="2232"/>
                  </a:cubicBezTo>
                  <a:cubicBezTo>
                    <a:pt x="35834" y="597"/>
                    <a:pt x="33074" y="-936"/>
                    <a:pt x="31848" y="699"/>
                  </a:cubicBezTo>
                  <a:cubicBezTo>
                    <a:pt x="21320" y="15725"/>
                    <a:pt x="10792" y="30750"/>
                    <a:pt x="264" y="45776"/>
                  </a:cubicBezTo>
                  <a:cubicBezTo>
                    <a:pt x="-861" y="47411"/>
                    <a:pt x="1899" y="48944"/>
                    <a:pt x="3126" y="47309"/>
                  </a:cubicBezTo>
                  <a:lnTo>
                    <a:pt x="3126" y="4730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3955AB72-5746-401A-9A68-C58B0DE8663E}"/>
                </a:ext>
              </a:extLst>
            </p:cNvPr>
            <p:cNvSpPr/>
            <p:nvPr/>
          </p:nvSpPr>
          <p:spPr>
            <a:xfrm>
              <a:off x="9158638" y="4347937"/>
              <a:ext cx="23768" cy="31691"/>
            </a:xfrm>
            <a:custGeom>
              <a:avLst/>
              <a:gdLst>
                <a:gd name="connsiteX0" fmla="*/ 3206 w 30664"/>
                <a:gd name="connsiteY0" fmla="*/ 48638 h 40885"/>
                <a:gd name="connsiteX1" fmla="*/ 40207 w 30664"/>
                <a:gd name="connsiteY1" fmla="*/ 2232 h 40885"/>
                <a:gd name="connsiteX2" fmla="*/ 37345 w 30664"/>
                <a:gd name="connsiteY2" fmla="*/ 699 h 40885"/>
                <a:gd name="connsiteX3" fmla="*/ 344 w 30664"/>
                <a:gd name="connsiteY3" fmla="*/ 47105 h 40885"/>
                <a:gd name="connsiteX4" fmla="*/ 3206 w 30664"/>
                <a:gd name="connsiteY4" fmla="*/ 48638 h 40885"/>
                <a:gd name="connsiteX5" fmla="*/ 3206 w 30664"/>
                <a:gd name="connsiteY5" fmla="*/ 4863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206" y="48638"/>
                  </a:moveTo>
                  <a:cubicBezTo>
                    <a:pt x="15574" y="33203"/>
                    <a:pt x="27839" y="17667"/>
                    <a:pt x="40207" y="2232"/>
                  </a:cubicBezTo>
                  <a:cubicBezTo>
                    <a:pt x="41434" y="597"/>
                    <a:pt x="38674" y="-936"/>
                    <a:pt x="37345" y="699"/>
                  </a:cubicBezTo>
                  <a:cubicBezTo>
                    <a:pt x="24977" y="16134"/>
                    <a:pt x="12712" y="31670"/>
                    <a:pt x="344" y="47105"/>
                  </a:cubicBezTo>
                  <a:cubicBezTo>
                    <a:pt x="-985" y="48740"/>
                    <a:pt x="1877" y="50273"/>
                    <a:pt x="3206" y="48638"/>
                  </a:cubicBezTo>
                  <a:lnTo>
                    <a:pt x="3206" y="4863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806C67F3-F8C1-4FC4-946B-39BF1EA109C7}"/>
                </a:ext>
              </a:extLst>
            </p:cNvPr>
            <p:cNvSpPr/>
            <p:nvPr/>
          </p:nvSpPr>
          <p:spPr>
            <a:xfrm>
              <a:off x="9085620" y="4402908"/>
              <a:ext cx="7922" cy="55458"/>
            </a:xfrm>
            <a:custGeom>
              <a:avLst/>
              <a:gdLst>
                <a:gd name="connsiteX0" fmla="*/ 0 w 0"/>
                <a:gd name="connsiteY0" fmla="*/ 1533 h 71550"/>
                <a:gd name="connsiteX1" fmla="*/ 0 w 0"/>
                <a:gd name="connsiteY1" fmla="*/ 79012 h 71550"/>
                <a:gd name="connsiteX2" fmla="*/ 3271 w 0"/>
                <a:gd name="connsiteY2" fmla="*/ 79012 h 71550"/>
                <a:gd name="connsiteX3" fmla="*/ 3271 w 0"/>
                <a:gd name="connsiteY3" fmla="*/ 1533 h 71550"/>
                <a:gd name="connsiteX4" fmla="*/ 0 w 0"/>
                <a:gd name="connsiteY4" fmla="*/ 1533 h 71550"/>
                <a:gd name="connsiteX5" fmla="*/ 0 w 0"/>
                <a:gd name="connsiteY5" fmla="*/ 1533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71550">
                  <a:moveTo>
                    <a:pt x="0" y="1533"/>
                  </a:moveTo>
                  <a:cubicBezTo>
                    <a:pt x="0" y="27394"/>
                    <a:pt x="0" y="53254"/>
                    <a:pt x="0" y="79012"/>
                  </a:cubicBezTo>
                  <a:cubicBezTo>
                    <a:pt x="0" y="81056"/>
                    <a:pt x="3271" y="81056"/>
                    <a:pt x="3271" y="79012"/>
                  </a:cubicBezTo>
                  <a:cubicBezTo>
                    <a:pt x="3271" y="53151"/>
                    <a:pt x="3271" y="27291"/>
                    <a:pt x="3271" y="1533"/>
                  </a:cubicBezTo>
                  <a:cubicBezTo>
                    <a:pt x="3271" y="-511"/>
                    <a:pt x="0" y="-511"/>
                    <a:pt x="0" y="1533"/>
                  </a:cubicBezTo>
                  <a:lnTo>
                    <a:pt x="0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BD2D2677-D10D-4789-B7BD-13B12562D061}"/>
                </a:ext>
              </a:extLst>
            </p:cNvPr>
            <p:cNvSpPr/>
            <p:nvPr/>
          </p:nvSpPr>
          <p:spPr>
            <a:xfrm>
              <a:off x="9076084" y="4443898"/>
              <a:ext cx="15845" cy="15845"/>
            </a:xfrm>
            <a:custGeom>
              <a:avLst/>
              <a:gdLst>
                <a:gd name="connsiteX0" fmla="*/ 445 w 20442"/>
                <a:gd name="connsiteY0" fmla="*/ 2619 h 20442"/>
                <a:gd name="connsiteX1" fmla="*/ 23853 w 20442"/>
                <a:gd name="connsiteY1" fmla="*/ 25719 h 20442"/>
                <a:gd name="connsiteX2" fmla="*/ 26203 w 20442"/>
                <a:gd name="connsiteY2" fmla="*/ 23572 h 20442"/>
                <a:gd name="connsiteX3" fmla="*/ 2796 w 20442"/>
                <a:gd name="connsiteY3" fmla="*/ 472 h 20442"/>
                <a:gd name="connsiteX4" fmla="*/ 445 w 20442"/>
                <a:gd name="connsiteY4" fmla="*/ 2619 h 20442"/>
                <a:gd name="connsiteX5" fmla="*/ 445 w 20442"/>
                <a:gd name="connsiteY5" fmla="*/ 2619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445" y="2619"/>
                  </a:moveTo>
                  <a:cubicBezTo>
                    <a:pt x="8214" y="10285"/>
                    <a:pt x="16084" y="18053"/>
                    <a:pt x="23853" y="25719"/>
                  </a:cubicBezTo>
                  <a:cubicBezTo>
                    <a:pt x="25284" y="27150"/>
                    <a:pt x="27634" y="25004"/>
                    <a:pt x="26203" y="23572"/>
                  </a:cubicBezTo>
                  <a:cubicBezTo>
                    <a:pt x="18435" y="15906"/>
                    <a:pt x="10565" y="8138"/>
                    <a:pt x="2796" y="472"/>
                  </a:cubicBezTo>
                  <a:cubicBezTo>
                    <a:pt x="1365" y="-959"/>
                    <a:pt x="-986" y="1187"/>
                    <a:pt x="445" y="2619"/>
                  </a:cubicBezTo>
                  <a:lnTo>
                    <a:pt x="445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3A3A225B-40B6-48AD-B48D-61A9DA198D0A}"/>
                </a:ext>
              </a:extLst>
            </p:cNvPr>
            <p:cNvSpPr/>
            <p:nvPr/>
          </p:nvSpPr>
          <p:spPr>
            <a:xfrm>
              <a:off x="9073945" y="4432932"/>
              <a:ext cx="23768" cy="23768"/>
            </a:xfrm>
            <a:custGeom>
              <a:avLst/>
              <a:gdLst>
                <a:gd name="connsiteX0" fmla="*/ 445 w 30664"/>
                <a:gd name="connsiteY0" fmla="*/ 2661 h 30664"/>
                <a:gd name="connsiteX1" fmla="*/ 30599 w 30664"/>
                <a:gd name="connsiteY1" fmla="*/ 33529 h 30664"/>
                <a:gd name="connsiteX2" fmla="*/ 32950 w 30664"/>
                <a:gd name="connsiteY2" fmla="*/ 31383 h 30664"/>
                <a:gd name="connsiteX3" fmla="*/ 2796 w 30664"/>
                <a:gd name="connsiteY3" fmla="*/ 514 h 30664"/>
                <a:gd name="connsiteX4" fmla="*/ 445 w 30664"/>
                <a:gd name="connsiteY4" fmla="*/ 2661 h 30664"/>
                <a:gd name="connsiteX5" fmla="*/ 445 w 30664"/>
                <a:gd name="connsiteY5" fmla="*/ 26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1"/>
                  </a:moveTo>
                  <a:cubicBezTo>
                    <a:pt x="10462" y="12984"/>
                    <a:pt x="20582" y="23308"/>
                    <a:pt x="30599" y="33529"/>
                  </a:cubicBezTo>
                  <a:cubicBezTo>
                    <a:pt x="32030" y="34961"/>
                    <a:pt x="34381" y="32814"/>
                    <a:pt x="32950" y="31383"/>
                  </a:cubicBezTo>
                  <a:cubicBezTo>
                    <a:pt x="22933" y="21059"/>
                    <a:pt x="12813" y="10735"/>
                    <a:pt x="2796" y="514"/>
                  </a:cubicBezTo>
                  <a:cubicBezTo>
                    <a:pt x="1365" y="-1019"/>
                    <a:pt x="-986" y="1230"/>
                    <a:pt x="445" y="2661"/>
                  </a:cubicBezTo>
                  <a:lnTo>
                    <a:pt x="445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34BC5573-DF46-4477-AB1F-7EEFAD7E34F7}"/>
                </a:ext>
              </a:extLst>
            </p:cNvPr>
            <p:cNvSpPr/>
            <p:nvPr/>
          </p:nvSpPr>
          <p:spPr>
            <a:xfrm>
              <a:off x="9075920" y="4425014"/>
              <a:ext cx="15845" cy="15845"/>
            </a:xfrm>
            <a:custGeom>
              <a:avLst/>
              <a:gdLst>
                <a:gd name="connsiteX0" fmla="*/ 555 w 20442"/>
                <a:gd name="connsiteY0" fmla="*/ 2553 h 20442"/>
                <a:gd name="connsiteX1" fmla="*/ 25291 w 20442"/>
                <a:gd name="connsiteY1" fmla="*/ 25654 h 20442"/>
                <a:gd name="connsiteX2" fmla="*/ 27642 w 20442"/>
                <a:gd name="connsiteY2" fmla="*/ 23507 h 20442"/>
                <a:gd name="connsiteX3" fmla="*/ 2804 w 20442"/>
                <a:gd name="connsiteY3" fmla="*/ 407 h 20442"/>
                <a:gd name="connsiteX4" fmla="*/ 555 w 20442"/>
                <a:gd name="connsiteY4" fmla="*/ 2553 h 20442"/>
                <a:gd name="connsiteX5" fmla="*/ 555 w 20442"/>
                <a:gd name="connsiteY5" fmla="*/ 25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55" y="2553"/>
                  </a:moveTo>
                  <a:cubicBezTo>
                    <a:pt x="9346" y="9810"/>
                    <a:pt x="17625" y="17476"/>
                    <a:pt x="25291" y="25654"/>
                  </a:cubicBezTo>
                  <a:cubicBezTo>
                    <a:pt x="26722" y="27085"/>
                    <a:pt x="29073" y="24938"/>
                    <a:pt x="27642" y="23507"/>
                  </a:cubicBezTo>
                  <a:cubicBezTo>
                    <a:pt x="19874" y="15330"/>
                    <a:pt x="11594" y="7664"/>
                    <a:pt x="2804" y="407"/>
                  </a:cubicBezTo>
                  <a:cubicBezTo>
                    <a:pt x="1271" y="-922"/>
                    <a:pt x="-1080" y="1327"/>
                    <a:pt x="555" y="2553"/>
                  </a:cubicBezTo>
                  <a:lnTo>
                    <a:pt x="555" y="25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5A2385C8-3968-4337-852C-CB7AE96069C8}"/>
                </a:ext>
              </a:extLst>
            </p:cNvPr>
            <p:cNvSpPr/>
            <p:nvPr/>
          </p:nvSpPr>
          <p:spPr>
            <a:xfrm>
              <a:off x="9091889" y="4425960"/>
              <a:ext cx="7922" cy="7922"/>
            </a:xfrm>
            <a:custGeom>
              <a:avLst/>
              <a:gdLst>
                <a:gd name="connsiteX0" fmla="*/ 499 w 10221"/>
                <a:gd name="connsiteY0" fmla="*/ 2661 h 10221"/>
                <a:gd name="connsiteX1" fmla="*/ 12765 w 10221"/>
                <a:gd name="connsiteY1" fmla="*/ 14313 h 10221"/>
                <a:gd name="connsiteX2" fmla="*/ 15115 w 10221"/>
                <a:gd name="connsiteY2" fmla="*/ 12166 h 10221"/>
                <a:gd name="connsiteX3" fmla="*/ 2850 w 10221"/>
                <a:gd name="connsiteY3" fmla="*/ 514 h 10221"/>
                <a:gd name="connsiteX4" fmla="*/ 499 w 10221"/>
                <a:gd name="connsiteY4" fmla="*/ 2661 h 10221"/>
                <a:gd name="connsiteX5" fmla="*/ 499 w 10221"/>
                <a:gd name="connsiteY5" fmla="*/ 2661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99" y="2661"/>
                  </a:moveTo>
                  <a:cubicBezTo>
                    <a:pt x="4587" y="6545"/>
                    <a:pt x="8676" y="10429"/>
                    <a:pt x="12765" y="14313"/>
                  </a:cubicBezTo>
                  <a:cubicBezTo>
                    <a:pt x="14298" y="15744"/>
                    <a:pt x="16546" y="13495"/>
                    <a:pt x="15115" y="12166"/>
                  </a:cubicBezTo>
                  <a:cubicBezTo>
                    <a:pt x="11027" y="8282"/>
                    <a:pt x="6938" y="4398"/>
                    <a:pt x="2850" y="514"/>
                  </a:cubicBezTo>
                  <a:cubicBezTo>
                    <a:pt x="1316" y="-1019"/>
                    <a:pt x="-1034" y="1229"/>
                    <a:pt x="499" y="2661"/>
                  </a:cubicBezTo>
                  <a:lnTo>
                    <a:pt x="499" y="26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D455F63F-0418-4383-97F4-FBB7F739CA5B}"/>
                </a:ext>
              </a:extLst>
            </p:cNvPr>
            <p:cNvSpPr/>
            <p:nvPr/>
          </p:nvSpPr>
          <p:spPr>
            <a:xfrm>
              <a:off x="9106656" y="4419982"/>
              <a:ext cx="23768" cy="15845"/>
            </a:xfrm>
            <a:custGeom>
              <a:avLst/>
              <a:gdLst>
                <a:gd name="connsiteX0" fmla="*/ 458 w 30664"/>
                <a:gd name="connsiteY0" fmla="*/ 2606 h 20442"/>
                <a:gd name="connsiteX1" fmla="*/ 29589 w 30664"/>
                <a:gd name="connsiteY1" fmla="*/ 25911 h 20442"/>
                <a:gd name="connsiteX2" fmla="*/ 31225 w 30664"/>
                <a:gd name="connsiteY2" fmla="*/ 23253 h 20442"/>
                <a:gd name="connsiteX3" fmla="*/ 2707 w 30664"/>
                <a:gd name="connsiteY3" fmla="*/ 460 h 20442"/>
                <a:gd name="connsiteX4" fmla="*/ 458 w 30664"/>
                <a:gd name="connsiteY4" fmla="*/ 2606 h 20442"/>
                <a:gd name="connsiteX5" fmla="*/ 458 w 30664"/>
                <a:gd name="connsiteY5" fmla="*/ 2606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458" y="2606"/>
                  </a:moveTo>
                  <a:cubicBezTo>
                    <a:pt x="9555" y="11192"/>
                    <a:pt x="19266" y="18960"/>
                    <a:pt x="29589" y="25911"/>
                  </a:cubicBezTo>
                  <a:cubicBezTo>
                    <a:pt x="31327" y="27035"/>
                    <a:pt x="32963" y="24378"/>
                    <a:pt x="31225" y="23253"/>
                  </a:cubicBezTo>
                  <a:cubicBezTo>
                    <a:pt x="21003" y="16405"/>
                    <a:pt x="11600" y="8739"/>
                    <a:pt x="2707" y="460"/>
                  </a:cubicBezTo>
                  <a:cubicBezTo>
                    <a:pt x="1276" y="-972"/>
                    <a:pt x="-973" y="1277"/>
                    <a:pt x="458" y="2606"/>
                  </a:cubicBezTo>
                  <a:lnTo>
                    <a:pt x="458" y="260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F472112F-FC6F-4B7D-8653-D8AE29349192}"/>
                </a:ext>
              </a:extLst>
            </p:cNvPr>
            <p:cNvSpPr/>
            <p:nvPr/>
          </p:nvSpPr>
          <p:spPr>
            <a:xfrm>
              <a:off x="8956255" y="4478245"/>
              <a:ext cx="39613" cy="39613"/>
            </a:xfrm>
            <a:custGeom>
              <a:avLst/>
              <a:gdLst>
                <a:gd name="connsiteX0" fmla="*/ 2745 w 51107"/>
                <a:gd name="connsiteY0" fmla="*/ 53672 h 51107"/>
                <a:gd name="connsiteX1" fmla="*/ 55283 w 51107"/>
                <a:gd name="connsiteY1" fmla="*/ 2565 h 51107"/>
                <a:gd name="connsiteX2" fmla="*/ 52932 w 51107"/>
                <a:gd name="connsiteY2" fmla="*/ 418 h 51107"/>
                <a:gd name="connsiteX3" fmla="*/ 394 w 51107"/>
                <a:gd name="connsiteY3" fmla="*/ 51525 h 51107"/>
                <a:gd name="connsiteX4" fmla="*/ 2745 w 51107"/>
                <a:gd name="connsiteY4" fmla="*/ 53672 h 51107"/>
                <a:gd name="connsiteX5" fmla="*/ 2745 w 51107"/>
                <a:gd name="connsiteY5" fmla="*/ 536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51107">
                  <a:moveTo>
                    <a:pt x="2745" y="53672"/>
                  </a:moveTo>
                  <a:cubicBezTo>
                    <a:pt x="18588" y="35069"/>
                    <a:pt x="36067" y="17999"/>
                    <a:pt x="55283" y="2565"/>
                  </a:cubicBezTo>
                  <a:cubicBezTo>
                    <a:pt x="56918" y="1236"/>
                    <a:pt x="54567" y="-911"/>
                    <a:pt x="52932" y="418"/>
                  </a:cubicBezTo>
                  <a:cubicBezTo>
                    <a:pt x="33716" y="15852"/>
                    <a:pt x="16237" y="32922"/>
                    <a:pt x="394" y="51525"/>
                  </a:cubicBezTo>
                  <a:cubicBezTo>
                    <a:pt x="-935" y="53059"/>
                    <a:pt x="1416" y="55307"/>
                    <a:pt x="2745" y="53672"/>
                  </a:cubicBezTo>
                  <a:lnTo>
                    <a:pt x="2745" y="536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3F493B36-13DB-4D7F-A0CA-808897CF3E0F}"/>
                </a:ext>
              </a:extLst>
            </p:cNvPr>
            <p:cNvSpPr/>
            <p:nvPr/>
          </p:nvSpPr>
          <p:spPr>
            <a:xfrm>
              <a:off x="8946904" y="4484868"/>
              <a:ext cx="31691" cy="23768"/>
            </a:xfrm>
            <a:custGeom>
              <a:avLst/>
              <a:gdLst>
                <a:gd name="connsiteX0" fmla="*/ 2850 w 40885"/>
                <a:gd name="connsiteY0" fmla="*/ 36337 h 30664"/>
                <a:gd name="connsiteX1" fmla="*/ 40976 w 40885"/>
                <a:gd name="connsiteY1" fmla="*/ 2606 h 30664"/>
                <a:gd name="connsiteX2" fmla="*/ 38625 w 40885"/>
                <a:gd name="connsiteY2" fmla="*/ 460 h 30664"/>
                <a:gd name="connsiteX3" fmla="*/ 499 w 40885"/>
                <a:gd name="connsiteY3" fmla="*/ 34190 h 30664"/>
                <a:gd name="connsiteX4" fmla="*/ 2850 w 40885"/>
                <a:gd name="connsiteY4" fmla="*/ 36337 h 30664"/>
                <a:gd name="connsiteX5" fmla="*/ 2850 w 40885"/>
                <a:gd name="connsiteY5" fmla="*/ 3633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37"/>
                  </a:moveTo>
                  <a:cubicBezTo>
                    <a:pt x="15524" y="25093"/>
                    <a:pt x="28199" y="13850"/>
                    <a:pt x="40976" y="2606"/>
                  </a:cubicBezTo>
                  <a:cubicBezTo>
                    <a:pt x="42509" y="1277"/>
                    <a:pt x="40158" y="-972"/>
                    <a:pt x="38625" y="460"/>
                  </a:cubicBezTo>
                  <a:cubicBezTo>
                    <a:pt x="25950" y="11703"/>
                    <a:pt x="13173" y="22947"/>
                    <a:pt x="499" y="34190"/>
                  </a:cubicBezTo>
                  <a:cubicBezTo>
                    <a:pt x="-1035" y="35519"/>
                    <a:pt x="1316" y="37768"/>
                    <a:pt x="2850" y="36337"/>
                  </a:cubicBezTo>
                  <a:lnTo>
                    <a:pt x="2850" y="3633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D31156C1-67AF-4298-A855-7EDBA30631DB}"/>
                </a:ext>
              </a:extLst>
            </p:cNvPr>
            <p:cNvSpPr/>
            <p:nvPr/>
          </p:nvSpPr>
          <p:spPr>
            <a:xfrm>
              <a:off x="8798027" y="4402738"/>
              <a:ext cx="15845" cy="55458"/>
            </a:xfrm>
            <a:custGeom>
              <a:avLst/>
              <a:gdLst>
                <a:gd name="connsiteX0" fmla="*/ 104 w 20442"/>
                <a:gd name="connsiteY0" fmla="*/ 1855 h 71550"/>
                <a:gd name="connsiteX1" fmla="*/ 24023 w 20442"/>
                <a:gd name="connsiteY1" fmla="*/ 73200 h 71550"/>
                <a:gd name="connsiteX2" fmla="*/ 27191 w 20442"/>
                <a:gd name="connsiteY2" fmla="*/ 72383 h 71550"/>
                <a:gd name="connsiteX3" fmla="*/ 3273 w 20442"/>
                <a:gd name="connsiteY3" fmla="*/ 1037 h 71550"/>
                <a:gd name="connsiteX4" fmla="*/ 104 w 20442"/>
                <a:gd name="connsiteY4" fmla="*/ 1855 h 71550"/>
                <a:gd name="connsiteX5" fmla="*/ 104 w 20442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71550">
                  <a:moveTo>
                    <a:pt x="104" y="1855"/>
                  </a:moveTo>
                  <a:cubicBezTo>
                    <a:pt x="10122" y="24955"/>
                    <a:pt x="18094" y="48771"/>
                    <a:pt x="24023" y="73200"/>
                  </a:cubicBezTo>
                  <a:cubicBezTo>
                    <a:pt x="24534" y="75143"/>
                    <a:pt x="27702" y="74325"/>
                    <a:pt x="27191" y="72383"/>
                  </a:cubicBezTo>
                  <a:cubicBezTo>
                    <a:pt x="21365" y="47953"/>
                    <a:pt x="13290" y="24240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A5CCD2E4-DD96-47BB-8220-F9939EEB34F5}"/>
                </a:ext>
              </a:extLst>
            </p:cNvPr>
            <p:cNvSpPr/>
            <p:nvPr/>
          </p:nvSpPr>
          <p:spPr>
            <a:xfrm>
              <a:off x="8749988" y="4448100"/>
              <a:ext cx="23768" cy="31691"/>
            </a:xfrm>
            <a:custGeom>
              <a:avLst/>
              <a:gdLst>
                <a:gd name="connsiteX0" fmla="*/ 2695 w 30664"/>
                <a:gd name="connsiteY0" fmla="*/ 42376 h 40885"/>
                <a:gd name="connsiteX1" fmla="*/ 36017 w 30664"/>
                <a:gd name="connsiteY1" fmla="*/ 2717 h 40885"/>
                <a:gd name="connsiteX2" fmla="*/ 33666 w 30664"/>
                <a:gd name="connsiteY2" fmla="*/ 570 h 40885"/>
                <a:gd name="connsiteX3" fmla="*/ 344 w 30664"/>
                <a:gd name="connsiteY3" fmla="*/ 40230 h 40885"/>
                <a:gd name="connsiteX4" fmla="*/ 2695 w 30664"/>
                <a:gd name="connsiteY4" fmla="*/ 42376 h 40885"/>
                <a:gd name="connsiteX5" fmla="*/ 2695 w 30664"/>
                <a:gd name="connsiteY5" fmla="*/ 4237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695" y="42376"/>
                  </a:moveTo>
                  <a:cubicBezTo>
                    <a:pt x="13837" y="29190"/>
                    <a:pt x="24876" y="15902"/>
                    <a:pt x="36017" y="2717"/>
                  </a:cubicBezTo>
                  <a:cubicBezTo>
                    <a:pt x="37346" y="1184"/>
                    <a:pt x="34995" y="-1065"/>
                    <a:pt x="33666" y="570"/>
                  </a:cubicBezTo>
                  <a:cubicBezTo>
                    <a:pt x="22525" y="13756"/>
                    <a:pt x="11486" y="27044"/>
                    <a:pt x="344" y="40230"/>
                  </a:cubicBezTo>
                  <a:cubicBezTo>
                    <a:pt x="-882" y="41763"/>
                    <a:pt x="1469" y="44011"/>
                    <a:pt x="2695" y="42376"/>
                  </a:cubicBezTo>
                  <a:lnTo>
                    <a:pt x="2695" y="4237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738B46E9-FE02-454A-B5BB-5FED00F82A1A}"/>
                </a:ext>
              </a:extLst>
            </p:cNvPr>
            <p:cNvSpPr/>
            <p:nvPr/>
          </p:nvSpPr>
          <p:spPr>
            <a:xfrm>
              <a:off x="8744879" y="4450793"/>
              <a:ext cx="15845" cy="15845"/>
            </a:xfrm>
            <a:custGeom>
              <a:avLst/>
              <a:gdLst>
                <a:gd name="connsiteX0" fmla="*/ 2644 w 20442"/>
                <a:gd name="connsiteY0" fmla="*/ 27453 h 20442"/>
                <a:gd name="connsiteX1" fmla="*/ 22984 w 20442"/>
                <a:gd name="connsiteY1" fmla="*/ 2717 h 20442"/>
                <a:gd name="connsiteX2" fmla="*/ 20633 w 20442"/>
                <a:gd name="connsiteY2" fmla="*/ 570 h 20442"/>
                <a:gd name="connsiteX3" fmla="*/ 395 w 20442"/>
                <a:gd name="connsiteY3" fmla="*/ 25306 h 20442"/>
                <a:gd name="connsiteX4" fmla="*/ 2644 w 20442"/>
                <a:gd name="connsiteY4" fmla="*/ 27453 h 20442"/>
                <a:gd name="connsiteX5" fmla="*/ 2644 w 20442"/>
                <a:gd name="connsiteY5" fmla="*/ 27453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2644" y="27453"/>
                  </a:moveTo>
                  <a:cubicBezTo>
                    <a:pt x="9390" y="19173"/>
                    <a:pt x="16136" y="10996"/>
                    <a:pt x="22984" y="2717"/>
                  </a:cubicBezTo>
                  <a:cubicBezTo>
                    <a:pt x="24211" y="1184"/>
                    <a:pt x="21962" y="-1065"/>
                    <a:pt x="20633" y="570"/>
                  </a:cubicBezTo>
                  <a:cubicBezTo>
                    <a:pt x="13887" y="8850"/>
                    <a:pt x="7141" y="17027"/>
                    <a:pt x="395" y="25306"/>
                  </a:cubicBezTo>
                  <a:cubicBezTo>
                    <a:pt x="-934" y="26839"/>
                    <a:pt x="1417" y="28986"/>
                    <a:pt x="2644" y="27453"/>
                  </a:cubicBezTo>
                  <a:lnTo>
                    <a:pt x="2644" y="2745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9FBE1B20-ACE8-41DA-9077-FC8E01D15DA2}"/>
                </a:ext>
              </a:extLst>
            </p:cNvPr>
            <p:cNvSpPr/>
            <p:nvPr/>
          </p:nvSpPr>
          <p:spPr>
            <a:xfrm>
              <a:off x="8743562" y="4445245"/>
              <a:ext cx="7922" cy="7922"/>
            </a:xfrm>
            <a:custGeom>
              <a:avLst/>
              <a:gdLst>
                <a:gd name="connsiteX0" fmla="*/ 2808 w 10221"/>
                <a:gd name="connsiteY0" fmla="*/ 17644 h 10221"/>
                <a:gd name="connsiteX1" fmla="*/ 18345 w 10221"/>
                <a:gd name="connsiteY1" fmla="*/ 2618 h 10221"/>
                <a:gd name="connsiteX2" fmla="*/ 15994 w 10221"/>
                <a:gd name="connsiteY2" fmla="*/ 472 h 10221"/>
                <a:gd name="connsiteX3" fmla="*/ 457 w 10221"/>
                <a:gd name="connsiteY3" fmla="*/ 15498 h 10221"/>
                <a:gd name="connsiteX4" fmla="*/ 2808 w 10221"/>
                <a:gd name="connsiteY4" fmla="*/ 17644 h 10221"/>
                <a:gd name="connsiteX5" fmla="*/ 2808 w 10221"/>
                <a:gd name="connsiteY5" fmla="*/ 17644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2808" y="17644"/>
                  </a:moveTo>
                  <a:cubicBezTo>
                    <a:pt x="8021" y="12636"/>
                    <a:pt x="13132" y="7627"/>
                    <a:pt x="18345" y="2618"/>
                  </a:cubicBezTo>
                  <a:cubicBezTo>
                    <a:pt x="19776" y="1188"/>
                    <a:pt x="17527" y="-959"/>
                    <a:pt x="15994" y="472"/>
                  </a:cubicBezTo>
                  <a:cubicBezTo>
                    <a:pt x="10781" y="5480"/>
                    <a:pt x="5670" y="10489"/>
                    <a:pt x="457" y="15498"/>
                  </a:cubicBezTo>
                  <a:cubicBezTo>
                    <a:pt x="-974" y="16826"/>
                    <a:pt x="1275" y="19075"/>
                    <a:pt x="2808" y="17644"/>
                  </a:cubicBezTo>
                  <a:lnTo>
                    <a:pt x="2808" y="1764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C99F6B8D-6F8F-4BFA-81FD-D8BC846B5E91}"/>
                </a:ext>
              </a:extLst>
            </p:cNvPr>
            <p:cNvSpPr/>
            <p:nvPr/>
          </p:nvSpPr>
          <p:spPr>
            <a:xfrm>
              <a:off x="8693934" y="4411762"/>
              <a:ext cx="23768" cy="7922"/>
            </a:xfrm>
            <a:custGeom>
              <a:avLst/>
              <a:gdLst>
                <a:gd name="connsiteX0" fmla="*/ 2442 w 30664"/>
                <a:gd name="connsiteY0" fmla="*/ 19957 h 10221"/>
                <a:gd name="connsiteX1" fmla="*/ 35048 w 30664"/>
                <a:gd name="connsiteY1" fmla="*/ 2888 h 10221"/>
                <a:gd name="connsiteX2" fmla="*/ 33413 w 30664"/>
                <a:gd name="connsiteY2" fmla="*/ 230 h 10221"/>
                <a:gd name="connsiteX3" fmla="*/ 807 w 30664"/>
                <a:gd name="connsiteY3" fmla="*/ 17300 h 10221"/>
                <a:gd name="connsiteX4" fmla="*/ 2442 w 30664"/>
                <a:gd name="connsiteY4" fmla="*/ 19957 h 10221"/>
                <a:gd name="connsiteX5" fmla="*/ 2442 w 30664"/>
                <a:gd name="connsiteY5" fmla="*/ 19957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10221">
                  <a:moveTo>
                    <a:pt x="2442" y="19957"/>
                  </a:moveTo>
                  <a:cubicBezTo>
                    <a:pt x="13277" y="14233"/>
                    <a:pt x="24214" y="8612"/>
                    <a:pt x="35048" y="2888"/>
                  </a:cubicBezTo>
                  <a:cubicBezTo>
                    <a:pt x="36888" y="1865"/>
                    <a:pt x="35253" y="-792"/>
                    <a:pt x="33413" y="230"/>
                  </a:cubicBezTo>
                  <a:cubicBezTo>
                    <a:pt x="22578" y="5954"/>
                    <a:pt x="11641" y="11576"/>
                    <a:pt x="807" y="17300"/>
                  </a:cubicBezTo>
                  <a:cubicBezTo>
                    <a:pt x="-1033" y="18220"/>
                    <a:pt x="602" y="20979"/>
                    <a:pt x="2442" y="19957"/>
                  </a:cubicBezTo>
                  <a:lnTo>
                    <a:pt x="2442" y="199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22E3DEB9-D593-4A63-A6BE-0D89FA371211}"/>
                </a:ext>
              </a:extLst>
            </p:cNvPr>
            <p:cNvSpPr/>
            <p:nvPr/>
          </p:nvSpPr>
          <p:spPr>
            <a:xfrm>
              <a:off x="9144682" y="4631267"/>
              <a:ext cx="31691" cy="47536"/>
            </a:xfrm>
            <a:custGeom>
              <a:avLst/>
              <a:gdLst>
                <a:gd name="connsiteX0" fmla="*/ 257 w 40885"/>
                <a:gd name="connsiteY0" fmla="*/ 2313 h 61328"/>
                <a:gd name="connsiteX1" fmla="*/ 47480 w 40885"/>
                <a:gd name="connsiteY1" fmla="*/ 64255 h 61328"/>
                <a:gd name="connsiteX2" fmla="*/ 49831 w 40885"/>
                <a:gd name="connsiteY2" fmla="*/ 62108 h 61328"/>
                <a:gd name="connsiteX3" fmla="*/ 3119 w 40885"/>
                <a:gd name="connsiteY3" fmla="*/ 677 h 61328"/>
                <a:gd name="connsiteX4" fmla="*/ 257 w 40885"/>
                <a:gd name="connsiteY4" fmla="*/ 2313 h 61328"/>
                <a:gd name="connsiteX5" fmla="*/ 257 w 40885"/>
                <a:gd name="connsiteY5" fmla="*/ 2313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61328">
                  <a:moveTo>
                    <a:pt x="257" y="2313"/>
                  </a:moveTo>
                  <a:cubicBezTo>
                    <a:pt x="14567" y="23880"/>
                    <a:pt x="30308" y="44630"/>
                    <a:pt x="47480" y="64255"/>
                  </a:cubicBezTo>
                  <a:cubicBezTo>
                    <a:pt x="48809" y="65788"/>
                    <a:pt x="51160" y="63642"/>
                    <a:pt x="49831" y="62108"/>
                  </a:cubicBezTo>
                  <a:cubicBezTo>
                    <a:pt x="32863" y="42585"/>
                    <a:pt x="17327" y="22143"/>
                    <a:pt x="3119" y="677"/>
                  </a:cubicBezTo>
                  <a:cubicBezTo>
                    <a:pt x="1995" y="-958"/>
                    <a:pt x="-867" y="677"/>
                    <a:pt x="257" y="2313"/>
                  </a:cubicBezTo>
                  <a:lnTo>
                    <a:pt x="257" y="23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241E618F-7BE4-41E5-8422-E1015A7BB613}"/>
                </a:ext>
              </a:extLst>
            </p:cNvPr>
            <p:cNvSpPr/>
            <p:nvPr/>
          </p:nvSpPr>
          <p:spPr>
            <a:xfrm>
              <a:off x="9157608" y="4614187"/>
              <a:ext cx="15845" cy="23768"/>
            </a:xfrm>
            <a:custGeom>
              <a:avLst/>
              <a:gdLst>
                <a:gd name="connsiteX0" fmla="*/ 344 w 20442"/>
                <a:gd name="connsiteY0" fmla="*/ 2168 h 30664"/>
                <a:gd name="connsiteX1" fmla="*/ 25182 w 20442"/>
                <a:gd name="connsiteY1" fmla="*/ 33037 h 30664"/>
                <a:gd name="connsiteX2" fmla="*/ 28044 w 20442"/>
                <a:gd name="connsiteY2" fmla="*/ 31504 h 30664"/>
                <a:gd name="connsiteX3" fmla="*/ 3206 w 20442"/>
                <a:gd name="connsiteY3" fmla="*/ 635 h 30664"/>
                <a:gd name="connsiteX4" fmla="*/ 344 w 20442"/>
                <a:gd name="connsiteY4" fmla="*/ 2168 h 30664"/>
                <a:gd name="connsiteX5" fmla="*/ 344 w 20442"/>
                <a:gd name="connsiteY5" fmla="*/ 216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44" y="2168"/>
                  </a:moveTo>
                  <a:cubicBezTo>
                    <a:pt x="8623" y="12492"/>
                    <a:pt x="16902" y="22713"/>
                    <a:pt x="25182" y="33037"/>
                  </a:cubicBezTo>
                  <a:cubicBezTo>
                    <a:pt x="26408" y="34570"/>
                    <a:pt x="29270" y="33037"/>
                    <a:pt x="28044" y="31504"/>
                  </a:cubicBezTo>
                  <a:cubicBezTo>
                    <a:pt x="19764" y="21180"/>
                    <a:pt x="11485" y="10959"/>
                    <a:pt x="3206" y="635"/>
                  </a:cubicBezTo>
                  <a:cubicBezTo>
                    <a:pt x="1877" y="-898"/>
                    <a:pt x="-985" y="635"/>
                    <a:pt x="344" y="2168"/>
                  </a:cubicBezTo>
                  <a:lnTo>
                    <a:pt x="344" y="216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81FDF11D-FF5C-48DF-B2FB-648179A5E2F7}"/>
                </a:ext>
              </a:extLst>
            </p:cNvPr>
            <p:cNvSpPr/>
            <p:nvPr/>
          </p:nvSpPr>
          <p:spPr>
            <a:xfrm>
              <a:off x="9146852" y="4590189"/>
              <a:ext cx="31691" cy="39613"/>
            </a:xfrm>
            <a:custGeom>
              <a:avLst/>
              <a:gdLst>
                <a:gd name="connsiteX0" fmla="*/ 217 w 40885"/>
                <a:gd name="connsiteY0" fmla="*/ 2364 h 51107"/>
                <a:gd name="connsiteX1" fmla="*/ 41205 w 40885"/>
                <a:gd name="connsiteY1" fmla="*/ 58480 h 51107"/>
                <a:gd name="connsiteX2" fmla="*/ 43556 w 40885"/>
                <a:gd name="connsiteY2" fmla="*/ 56333 h 51107"/>
                <a:gd name="connsiteX3" fmla="*/ 3079 w 40885"/>
                <a:gd name="connsiteY3" fmla="*/ 831 h 51107"/>
                <a:gd name="connsiteX4" fmla="*/ 217 w 40885"/>
                <a:gd name="connsiteY4" fmla="*/ 2364 h 51107"/>
                <a:gd name="connsiteX5" fmla="*/ 217 w 40885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51107">
                  <a:moveTo>
                    <a:pt x="217" y="2364"/>
                  </a:moveTo>
                  <a:cubicBezTo>
                    <a:pt x="11665" y="22500"/>
                    <a:pt x="25362" y="41205"/>
                    <a:pt x="41205" y="58480"/>
                  </a:cubicBezTo>
                  <a:cubicBezTo>
                    <a:pt x="42636" y="60013"/>
                    <a:pt x="44885" y="57764"/>
                    <a:pt x="43556" y="56333"/>
                  </a:cubicBezTo>
                  <a:cubicBezTo>
                    <a:pt x="27917" y="39263"/>
                    <a:pt x="14323" y="20762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2F969F07-B044-4909-881F-B1EA98FF03E1}"/>
                </a:ext>
              </a:extLst>
            </p:cNvPr>
            <p:cNvSpPr/>
            <p:nvPr/>
          </p:nvSpPr>
          <p:spPr>
            <a:xfrm>
              <a:off x="9154532" y="4593029"/>
              <a:ext cx="15845" cy="23768"/>
            </a:xfrm>
            <a:custGeom>
              <a:avLst/>
              <a:gdLst>
                <a:gd name="connsiteX0" fmla="*/ 223 w 20442"/>
                <a:gd name="connsiteY0" fmla="*/ 2277 h 30664"/>
                <a:gd name="connsiteX1" fmla="*/ 26083 w 20442"/>
                <a:gd name="connsiteY1" fmla="*/ 36417 h 30664"/>
                <a:gd name="connsiteX2" fmla="*/ 28434 w 20442"/>
                <a:gd name="connsiteY2" fmla="*/ 34271 h 30664"/>
                <a:gd name="connsiteX3" fmla="*/ 3085 w 20442"/>
                <a:gd name="connsiteY3" fmla="*/ 744 h 30664"/>
                <a:gd name="connsiteX4" fmla="*/ 223 w 20442"/>
                <a:gd name="connsiteY4" fmla="*/ 2277 h 30664"/>
                <a:gd name="connsiteX5" fmla="*/ 223 w 20442"/>
                <a:gd name="connsiteY5" fmla="*/ 227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223" y="2277"/>
                  </a:moveTo>
                  <a:cubicBezTo>
                    <a:pt x="7787" y="14339"/>
                    <a:pt x="16373" y="25685"/>
                    <a:pt x="26083" y="36417"/>
                  </a:cubicBezTo>
                  <a:cubicBezTo>
                    <a:pt x="27412" y="37950"/>
                    <a:pt x="29763" y="35702"/>
                    <a:pt x="28434" y="34271"/>
                  </a:cubicBezTo>
                  <a:cubicBezTo>
                    <a:pt x="18928" y="23743"/>
                    <a:pt x="10547" y="12601"/>
                    <a:pt x="3085" y="744"/>
                  </a:cubicBezTo>
                  <a:cubicBezTo>
                    <a:pt x="1961" y="-993"/>
                    <a:pt x="-799" y="642"/>
                    <a:pt x="223" y="2277"/>
                  </a:cubicBezTo>
                  <a:lnTo>
                    <a:pt x="223" y="227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8927E569-AF25-4414-92C7-FEE10E92381E}"/>
                </a:ext>
              </a:extLst>
            </p:cNvPr>
            <p:cNvSpPr/>
            <p:nvPr/>
          </p:nvSpPr>
          <p:spPr>
            <a:xfrm>
              <a:off x="9157437" y="4591241"/>
              <a:ext cx="23768" cy="23768"/>
            </a:xfrm>
            <a:custGeom>
              <a:avLst/>
              <a:gdLst>
                <a:gd name="connsiteX0" fmla="*/ 257 w 30664"/>
                <a:gd name="connsiteY0" fmla="*/ 2232 h 30664"/>
                <a:gd name="connsiteX1" fmla="*/ 28059 w 30664"/>
                <a:gd name="connsiteY1" fmla="*/ 35963 h 30664"/>
                <a:gd name="connsiteX2" fmla="*/ 30410 w 30664"/>
                <a:gd name="connsiteY2" fmla="*/ 33817 h 30664"/>
                <a:gd name="connsiteX3" fmla="*/ 3119 w 30664"/>
                <a:gd name="connsiteY3" fmla="*/ 699 h 30664"/>
                <a:gd name="connsiteX4" fmla="*/ 257 w 30664"/>
                <a:gd name="connsiteY4" fmla="*/ 2232 h 30664"/>
                <a:gd name="connsiteX5" fmla="*/ 257 w 30664"/>
                <a:gd name="connsiteY5" fmla="*/ 223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57" y="2232"/>
                  </a:moveTo>
                  <a:cubicBezTo>
                    <a:pt x="8741" y="14089"/>
                    <a:pt x="17940" y="25333"/>
                    <a:pt x="28059" y="35963"/>
                  </a:cubicBezTo>
                  <a:cubicBezTo>
                    <a:pt x="29490" y="37496"/>
                    <a:pt x="31739" y="35248"/>
                    <a:pt x="30410" y="33817"/>
                  </a:cubicBezTo>
                  <a:cubicBezTo>
                    <a:pt x="20496" y="23391"/>
                    <a:pt x="11501" y="12352"/>
                    <a:pt x="3119" y="699"/>
                  </a:cubicBezTo>
                  <a:cubicBezTo>
                    <a:pt x="1995" y="-936"/>
                    <a:pt x="-867" y="597"/>
                    <a:pt x="257" y="2232"/>
                  </a:cubicBezTo>
                  <a:lnTo>
                    <a:pt x="257" y="223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9C038C1F-FF9A-4ED4-AD44-EB42701040C0}"/>
                </a:ext>
              </a:extLst>
            </p:cNvPr>
            <p:cNvSpPr/>
            <p:nvPr/>
          </p:nvSpPr>
          <p:spPr>
            <a:xfrm>
              <a:off x="9185087" y="4578028"/>
              <a:ext cx="23768" cy="31691"/>
            </a:xfrm>
            <a:custGeom>
              <a:avLst/>
              <a:gdLst>
                <a:gd name="connsiteX0" fmla="*/ 3119 w 30664"/>
                <a:gd name="connsiteY0" fmla="*/ 42482 h 40885"/>
                <a:gd name="connsiteX1" fmla="*/ 38281 w 30664"/>
                <a:gd name="connsiteY1" fmla="*/ 2618 h 40885"/>
                <a:gd name="connsiteX2" fmla="*/ 35930 w 30664"/>
                <a:gd name="connsiteY2" fmla="*/ 472 h 40885"/>
                <a:gd name="connsiteX3" fmla="*/ 257 w 30664"/>
                <a:gd name="connsiteY3" fmla="*/ 40949 h 40885"/>
                <a:gd name="connsiteX4" fmla="*/ 3119 w 30664"/>
                <a:gd name="connsiteY4" fmla="*/ 42482 h 40885"/>
                <a:gd name="connsiteX5" fmla="*/ 3119 w 30664"/>
                <a:gd name="connsiteY5" fmla="*/ 42482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3119" y="42482"/>
                  </a:moveTo>
                  <a:cubicBezTo>
                    <a:pt x="13545" y="28172"/>
                    <a:pt x="25300" y="14986"/>
                    <a:pt x="38281" y="2618"/>
                  </a:cubicBezTo>
                  <a:cubicBezTo>
                    <a:pt x="39814" y="1187"/>
                    <a:pt x="37463" y="-959"/>
                    <a:pt x="35930" y="472"/>
                  </a:cubicBezTo>
                  <a:cubicBezTo>
                    <a:pt x="22744" y="12942"/>
                    <a:pt x="10887" y="26434"/>
                    <a:pt x="257" y="40949"/>
                  </a:cubicBezTo>
                  <a:cubicBezTo>
                    <a:pt x="-867" y="42584"/>
                    <a:pt x="1995" y="44117"/>
                    <a:pt x="3119" y="42482"/>
                  </a:cubicBezTo>
                  <a:lnTo>
                    <a:pt x="3119" y="4248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5731E7BF-467F-40D8-A22C-724C1B778B19}"/>
                </a:ext>
              </a:extLst>
            </p:cNvPr>
            <p:cNvSpPr/>
            <p:nvPr/>
          </p:nvSpPr>
          <p:spPr>
            <a:xfrm>
              <a:off x="9180067" y="4568107"/>
              <a:ext cx="31691" cy="31691"/>
            </a:xfrm>
            <a:custGeom>
              <a:avLst/>
              <a:gdLst>
                <a:gd name="connsiteX0" fmla="*/ 2850 w 40885"/>
                <a:gd name="connsiteY0" fmla="*/ 45674 h 40885"/>
                <a:gd name="connsiteX1" fmla="*/ 43531 w 40885"/>
                <a:gd name="connsiteY1" fmla="*/ 2232 h 40885"/>
                <a:gd name="connsiteX2" fmla="*/ 40669 w 40885"/>
                <a:gd name="connsiteY2" fmla="*/ 699 h 40885"/>
                <a:gd name="connsiteX3" fmla="*/ 499 w 40885"/>
                <a:gd name="connsiteY3" fmla="*/ 43527 h 40885"/>
                <a:gd name="connsiteX4" fmla="*/ 2850 w 40885"/>
                <a:gd name="connsiteY4" fmla="*/ 45674 h 40885"/>
                <a:gd name="connsiteX5" fmla="*/ 2850 w 40885"/>
                <a:gd name="connsiteY5" fmla="*/ 4567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850" y="45674"/>
                  </a:moveTo>
                  <a:cubicBezTo>
                    <a:pt x="18488" y="32999"/>
                    <a:pt x="32083" y="18382"/>
                    <a:pt x="43531" y="2232"/>
                  </a:cubicBezTo>
                  <a:cubicBezTo>
                    <a:pt x="44758" y="597"/>
                    <a:pt x="41896" y="-936"/>
                    <a:pt x="40669" y="699"/>
                  </a:cubicBezTo>
                  <a:cubicBezTo>
                    <a:pt x="29425" y="16747"/>
                    <a:pt x="15933" y="31057"/>
                    <a:pt x="499" y="43527"/>
                  </a:cubicBezTo>
                  <a:cubicBezTo>
                    <a:pt x="-1034" y="44754"/>
                    <a:pt x="1316" y="46900"/>
                    <a:pt x="2850" y="45674"/>
                  </a:cubicBezTo>
                  <a:lnTo>
                    <a:pt x="2850" y="4567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E172CBDD-963C-4605-8C4F-E0953D4AFDD4}"/>
                </a:ext>
              </a:extLst>
            </p:cNvPr>
            <p:cNvSpPr/>
            <p:nvPr/>
          </p:nvSpPr>
          <p:spPr>
            <a:xfrm>
              <a:off x="9181889" y="4561084"/>
              <a:ext cx="31691" cy="23768"/>
            </a:xfrm>
            <a:custGeom>
              <a:avLst/>
              <a:gdLst>
                <a:gd name="connsiteX0" fmla="*/ 2850 w 40885"/>
                <a:gd name="connsiteY0" fmla="*/ 37461 h 30664"/>
                <a:gd name="connsiteX1" fmla="*/ 42509 w 40885"/>
                <a:gd name="connsiteY1" fmla="*/ 2606 h 30664"/>
                <a:gd name="connsiteX2" fmla="*/ 40158 w 40885"/>
                <a:gd name="connsiteY2" fmla="*/ 459 h 30664"/>
                <a:gd name="connsiteX3" fmla="*/ 499 w 40885"/>
                <a:gd name="connsiteY3" fmla="*/ 35315 h 30664"/>
                <a:gd name="connsiteX4" fmla="*/ 2850 w 40885"/>
                <a:gd name="connsiteY4" fmla="*/ 37461 h 30664"/>
                <a:gd name="connsiteX5" fmla="*/ 2850 w 40885"/>
                <a:gd name="connsiteY5" fmla="*/ 37461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7461"/>
                  </a:moveTo>
                  <a:cubicBezTo>
                    <a:pt x="16035" y="25809"/>
                    <a:pt x="29323" y="14258"/>
                    <a:pt x="42509" y="2606"/>
                  </a:cubicBezTo>
                  <a:cubicBezTo>
                    <a:pt x="44042" y="1277"/>
                    <a:pt x="41691" y="-971"/>
                    <a:pt x="40158" y="459"/>
                  </a:cubicBezTo>
                  <a:cubicBezTo>
                    <a:pt x="26972" y="12112"/>
                    <a:pt x="13684" y="23662"/>
                    <a:pt x="499" y="35315"/>
                  </a:cubicBezTo>
                  <a:cubicBezTo>
                    <a:pt x="-1034" y="36643"/>
                    <a:pt x="1316" y="38892"/>
                    <a:pt x="2850" y="37461"/>
                  </a:cubicBezTo>
                  <a:lnTo>
                    <a:pt x="2850" y="37461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01D3A38C-C75D-4060-9CB7-5DC88C4B113D}"/>
                </a:ext>
              </a:extLst>
            </p:cNvPr>
            <p:cNvSpPr/>
            <p:nvPr/>
          </p:nvSpPr>
          <p:spPr>
            <a:xfrm>
              <a:off x="9210711" y="4475063"/>
              <a:ext cx="7922" cy="63381"/>
            </a:xfrm>
            <a:custGeom>
              <a:avLst/>
              <a:gdLst>
                <a:gd name="connsiteX0" fmla="*/ 9 w 10221"/>
                <a:gd name="connsiteY0" fmla="*/ 1457 h 81771"/>
                <a:gd name="connsiteX1" fmla="*/ 14830 w 10221"/>
                <a:gd name="connsiteY1" fmla="*/ 81900 h 81771"/>
                <a:gd name="connsiteX2" fmla="*/ 17999 w 10221"/>
                <a:gd name="connsiteY2" fmla="*/ 81082 h 81771"/>
                <a:gd name="connsiteX3" fmla="*/ 3280 w 10221"/>
                <a:gd name="connsiteY3" fmla="*/ 1457 h 81771"/>
                <a:gd name="connsiteX4" fmla="*/ 9 w 10221"/>
                <a:gd name="connsiteY4" fmla="*/ 1457 h 81771"/>
                <a:gd name="connsiteX5" fmla="*/ 9 w 10221"/>
                <a:gd name="connsiteY5" fmla="*/ 1457 h 8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81771">
                  <a:moveTo>
                    <a:pt x="9" y="1457"/>
                  </a:moveTo>
                  <a:cubicBezTo>
                    <a:pt x="2667" y="28646"/>
                    <a:pt x="7573" y="55528"/>
                    <a:pt x="14830" y="81900"/>
                  </a:cubicBezTo>
                  <a:cubicBezTo>
                    <a:pt x="15341" y="83841"/>
                    <a:pt x="18510" y="83024"/>
                    <a:pt x="17999" y="81082"/>
                  </a:cubicBezTo>
                  <a:cubicBezTo>
                    <a:pt x="10844" y="54915"/>
                    <a:pt x="5937" y="28339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2E96D085-B6AB-4E44-BC91-479F64285D2F}"/>
                </a:ext>
              </a:extLst>
            </p:cNvPr>
            <p:cNvSpPr/>
            <p:nvPr/>
          </p:nvSpPr>
          <p:spPr>
            <a:xfrm>
              <a:off x="9221016" y="4476014"/>
              <a:ext cx="7922" cy="47536"/>
            </a:xfrm>
            <a:custGeom>
              <a:avLst/>
              <a:gdLst>
                <a:gd name="connsiteX0" fmla="*/ 2 w 0"/>
                <a:gd name="connsiteY0" fmla="*/ 1457 h 61328"/>
                <a:gd name="connsiteX1" fmla="*/ 3580 w 0"/>
                <a:gd name="connsiteY1" fmla="*/ 60945 h 61328"/>
                <a:gd name="connsiteX2" fmla="*/ 6851 w 0"/>
                <a:gd name="connsiteY2" fmla="*/ 60945 h 61328"/>
                <a:gd name="connsiteX3" fmla="*/ 3273 w 0"/>
                <a:gd name="connsiteY3" fmla="*/ 1457 h 61328"/>
                <a:gd name="connsiteX4" fmla="*/ 2 w 0"/>
                <a:gd name="connsiteY4" fmla="*/ 1457 h 61328"/>
                <a:gd name="connsiteX5" fmla="*/ 2 w 0"/>
                <a:gd name="connsiteY5" fmla="*/ 1457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61328">
                  <a:moveTo>
                    <a:pt x="2" y="1457"/>
                  </a:moveTo>
                  <a:cubicBezTo>
                    <a:pt x="1229" y="21286"/>
                    <a:pt x="2353" y="41116"/>
                    <a:pt x="3580" y="60945"/>
                  </a:cubicBezTo>
                  <a:cubicBezTo>
                    <a:pt x="3682" y="62887"/>
                    <a:pt x="6953" y="62887"/>
                    <a:pt x="6851" y="60945"/>
                  </a:cubicBezTo>
                  <a:cubicBezTo>
                    <a:pt x="5624" y="41116"/>
                    <a:pt x="4500" y="21286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27C72BBD-F441-4C7C-9972-D31EEFE5AD84}"/>
                </a:ext>
              </a:extLst>
            </p:cNvPr>
            <p:cNvSpPr/>
            <p:nvPr/>
          </p:nvSpPr>
          <p:spPr>
            <a:xfrm>
              <a:off x="9229493" y="4481005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2353 w 0"/>
                <a:gd name="connsiteY1" fmla="*/ 38969 h 30664"/>
                <a:gd name="connsiteX2" fmla="*/ 5624 w 0"/>
                <a:gd name="connsiteY2" fmla="*/ 38969 h 30664"/>
                <a:gd name="connsiteX3" fmla="*/ 3273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820" y="13927"/>
                    <a:pt x="1535" y="26397"/>
                    <a:pt x="2353" y="38969"/>
                  </a:cubicBezTo>
                  <a:cubicBezTo>
                    <a:pt x="2456" y="40912"/>
                    <a:pt x="5726" y="40912"/>
                    <a:pt x="5624" y="38969"/>
                  </a:cubicBezTo>
                  <a:cubicBezTo>
                    <a:pt x="4806" y="26499"/>
                    <a:pt x="4091" y="13927"/>
                    <a:pt x="3273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BCDF8636-1C49-4481-857A-EDC02FF477CD}"/>
                </a:ext>
              </a:extLst>
            </p:cNvPr>
            <p:cNvSpPr/>
            <p:nvPr/>
          </p:nvSpPr>
          <p:spPr>
            <a:xfrm>
              <a:off x="9238050" y="4484016"/>
              <a:ext cx="7922" cy="23768"/>
            </a:xfrm>
            <a:custGeom>
              <a:avLst/>
              <a:gdLst>
                <a:gd name="connsiteX0" fmla="*/ 2 w 0"/>
                <a:gd name="connsiteY0" fmla="*/ 1457 h 30664"/>
                <a:gd name="connsiteX1" fmla="*/ 6237 w 0"/>
                <a:gd name="connsiteY1" fmla="*/ 34370 h 30664"/>
                <a:gd name="connsiteX2" fmla="*/ 9406 w 0"/>
                <a:gd name="connsiteY2" fmla="*/ 33552 h 30664"/>
                <a:gd name="connsiteX3" fmla="*/ 3375 w 0"/>
                <a:gd name="connsiteY3" fmla="*/ 1457 h 30664"/>
                <a:gd name="connsiteX4" fmla="*/ 2 w 0"/>
                <a:gd name="connsiteY4" fmla="*/ 1457 h 30664"/>
                <a:gd name="connsiteX5" fmla="*/ 2 w 0"/>
                <a:gd name="connsiteY5" fmla="*/ 145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30664">
                  <a:moveTo>
                    <a:pt x="2" y="1457"/>
                  </a:moveTo>
                  <a:cubicBezTo>
                    <a:pt x="309" y="12803"/>
                    <a:pt x="2353" y="23739"/>
                    <a:pt x="6237" y="34370"/>
                  </a:cubicBezTo>
                  <a:cubicBezTo>
                    <a:pt x="6953" y="36209"/>
                    <a:pt x="10121" y="35494"/>
                    <a:pt x="9406" y="33552"/>
                  </a:cubicBezTo>
                  <a:cubicBezTo>
                    <a:pt x="5624" y="23126"/>
                    <a:pt x="3580" y="12496"/>
                    <a:pt x="3375" y="1457"/>
                  </a:cubicBezTo>
                  <a:cubicBezTo>
                    <a:pt x="3171" y="-486"/>
                    <a:pt x="-100" y="-486"/>
                    <a:pt x="2" y="1457"/>
                  </a:cubicBezTo>
                  <a:lnTo>
                    <a:pt x="2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BB583AA6-B3D2-4688-B7E7-8AC8DA422D81}"/>
                </a:ext>
              </a:extLst>
            </p:cNvPr>
            <p:cNvSpPr/>
            <p:nvPr/>
          </p:nvSpPr>
          <p:spPr>
            <a:xfrm>
              <a:off x="9227752" y="4469688"/>
              <a:ext cx="31691" cy="23768"/>
            </a:xfrm>
            <a:custGeom>
              <a:avLst/>
              <a:gdLst>
                <a:gd name="connsiteX0" fmla="*/ 511 w 40885"/>
                <a:gd name="connsiteY0" fmla="*/ 2565 h 30664"/>
                <a:gd name="connsiteX1" fmla="*/ 42522 w 40885"/>
                <a:gd name="connsiteY1" fmla="*/ 39157 h 30664"/>
                <a:gd name="connsiteX2" fmla="*/ 44872 w 40885"/>
                <a:gd name="connsiteY2" fmla="*/ 37011 h 30664"/>
                <a:gd name="connsiteX3" fmla="*/ 2862 w 40885"/>
                <a:gd name="connsiteY3" fmla="*/ 418 h 30664"/>
                <a:gd name="connsiteX4" fmla="*/ 511 w 40885"/>
                <a:gd name="connsiteY4" fmla="*/ 2565 h 30664"/>
                <a:gd name="connsiteX5" fmla="*/ 511 w 40885"/>
                <a:gd name="connsiteY5" fmla="*/ 2565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511" y="2565"/>
                  </a:moveTo>
                  <a:cubicBezTo>
                    <a:pt x="14515" y="14728"/>
                    <a:pt x="28518" y="26892"/>
                    <a:pt x="42522" y="39157"/>
                  </a:cubicBezTo>
                  <a:cubicBezTo>
                    <a:pt x="44055" y="40486"/>
                    <a:pt x="46406" y="38340"/>
                    <a:pt x="44872" y="37011"/>
                  </a:cubicBezTo>
                  <a:cubicBezTo>
                    <a:pt x="30869" y="24848"/>
                    <a:pt x="16866" y="12684"/>
                    <a:pt x="2862" y="418"/>
                  </a:cubicBezTo>
                  <a:cubicBezTo>
                    <a:pt x="1227" y="-911"/>
                    <a:pt x="-1022" y="1236"/>
                    <a:pt x="511" y="2565"/>
                  </a:cubicBezTo>
                  <a:lnTo>
                    <a:pt x="511" y="25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DBFDF9CA-8899-4FFA-AF15-761554BFE4F0}"/>
                </a:ext>
              </a:extLst>
            </p:cNvPr>
            <p:cNvSpPr/>
            <p:nvPr/>
          </p:nvSpPr>
          <p:spPr>
            <a:xfrm>
              <a:off x="9241262" y="4467907"/>
              <a:ext cx="31691" cy="23768"/>
            </a:xfrm>
            <a:custGeom>
              <a:avLst/>
              <a:gdLst>
                <a:gd name="connsiteX0" fmla="*/ 355 w 40885"/>
                <a:gd name="connsiteY0" fmla="*/ 2717 h 30664"/>
                <a:gd name="connsiteX1" fmla="*/ 38788 w 40885"/>
                <a:gd name="connsiteY1" fmla="*/ 39923 h 30664"/>
                <a:gd name="connsiteX2" fmla="*/ 41138 w 40885"/>
                <a:gd name="connsiteY2" fmla="*/ 37776 h 30664"/>
                <a:gd name="connsiteX3" fmla="*/ 2604 w 40885"/>
                <a:gd name="connsiteY3" fmla="*/ 570 h 30664"/>
                <a:gd name="connsiteX4" fmla="*/ 355 w 40885"/>
                <a:gd name="connsiteY4" fmla="*/ 2717 h 30664"/>
                <a:gd name="connsiteX5" fmla="*/ 355 w 40885"/>
                <a:gd name="connsiteY5" fmla="*/ 2717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355" y="2717"/>
                  </a:moveTo>
                  <a:cubicBezTo>
                    <a:pt x="11599" y="16516"/>
                    <a:pt x="24478" y="28986"/>
                    <a:pt x="38788" y="39923"/>
                  </a:cubicBezTo>
                  <a:cubicBezTo>
                    <a:pt x="40423" y="41149"/>
                    <a:pt x="42774" y="39003"/>
                    <a:pt x="41138" y="37776"/>
                  </a:cubicBezTo>
                  <a:cubicBezTo>
                    <a:pt x="26829" y="26737"/>
                    <a:pt x="13949" y="14369"/>
                    <a:pt x="2604" y="570"/>
                  </a:cubicBezTo>
                  <a:cubicBezTo>
                    <a:pt x="1377" y="-1065"/>
                    <a:pt x="-872" y="1184"/>
                    <a:pt x="355" y="2717"/>
                  </a:cubicBezTo>
                  <a:lnTo>
                    <a:pt x="355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7D5819A2-EDF5-4F04-85AA-5E2DCC54460E}"/>
                </a:ext>
              </a:extLst>
            </p:cNvPr>
            <p:cNvSpPr/>
            <p:nvPr/>
          </p:nvSpPr>
          <p:spPr>
            <a:xfrm>
              <a:off x="9255018" y="4474958"/>
              <a:ext cx="15845" cy="15845"/>
            </a:xfrm>
            <a:custGeom>
              <a:avLst/>
              <a:gdLst>
                <a:gd name="connsiteX0" fmla="*/ 394 w 20442"/>
                <a:gd name="connsiteY0" fmla="*/ 2717 h 20442"/>
                <a:gd name="connsiteX1" fmla="*/ 25232 w 20442"/>
                <a:gd name="connsiteY1" fmla="*/ 25102 h 20442"/>
                <a:gd name="connsiteX2" fmla="*/ 26867 w 20442"/>
                <a:gd name="connsiteY2" fmla="*/ 22444 h 20442"/>
                <a:gd name="connsiteX3" fmla="*/ 2745 w 20442"/>
                <a:gd name="connsiteY3" fmla="*/ 570 h 20442"/>
                <a:gd name="connsiteX4" fmla="*/ 394 w 20442"/>
                <a:gd name="connsiteY4" fmla="*/ 2717 h 20442"/>
                <a:gd name="connsiteX5" fmla="*/ 394 w 20442"/>
                <a:gd name="connsiteY5" fmla="*/ 2717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394" y="2717"/>
                  </a:moveTo>
                  <a:cubicBezTo>
                    <a:pt x="7651" y="11200"/>
                    <a:pt x="15828" y="18662"/>
                    <a:pt x="25232" y="25102"/>
                  </a:cubicBezTo>
                  <a:cubicBezTo>
                    <a:pt x="26970" y="26328"/>
                    <a:pt x="28605" y="23569"/>
                    <a:pt x="26867" y="22444"/>
                  </a:cubicBezTo>
                  <a:cubicBezTo>
                    <a:pt x="17770" y="16107"/>
                    <a:pt x="9798" y="8850"/>
                    <a:pt x="2745" y="570"/>
                  </a:cubicBezTo>
                  <a:cubicBezTo>
                    <a:pt x="1416" y="-1065"/>
                    <a:pt x="-935" y="1184"/>
                    <a:pt x="394" y="2717"/>
                  </a:cubicBezTo>
                  <a:lnTo>
                    <a:pt x="394" y="271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9DB85CCD-C6C5-442A-A9D9-3649000D2E65}"/>
                </a:ext>
              </a:extLst>
            </p:cNvPr>
            <p:cNvSpPr/>
            <p:nvPr/>
          </p:nvSpPr>
          <p:spPr>
            <a:xfrm>
              <a:off x="9266660" y="4479946"/>
              <a:ext cx="15845" cy="15845"/>
            </a:xfrm>
            <a:custGeom>
              <a:avLst/>
              <a:gdLst>
                <a:gd name="connsiteX0" fmla="*/ 500 w 20442"/>
                <a:gd name="connsiteY0" fmla="*/ 2618 h 20442"/>
                <a:gd name="connsiteX1" fmla="*/ 27893 w 20442"/>
                <a:gd name="connsiteY1" fmla="*/ 22550 h 20442"/>
                <a:gd name="connsiteX2" fmla="*/ 29529 w 20442"/>
                <a:gd name="connsiteY2" fmla="*/ 19893 h 20442"/>
                <a:gd name="connsiteX3" fmla="*/ 2749 w 20442"/>
                <a:gd name="connsiteY3" fmla="*/ 472 h 20442"/>
                <a:gd name="connsiteX4" fmla="*/ 500 w 20442"/>
                <a:gd name="connsiteY4" fmla="*/ 2618 h 20442"/>
                <a:gd name="connsiteX5" fmla="*/ 500 w 20442"/>
                <a:gd name="connsiteY5" fmla="*/ 261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20442">
                  <a:moveTo>
                    <a:pt x="500" y="2618"/>
                  </a:moveTo>
                  <a:cubicBezTo>
                    <a:pt x="8882" y="10285"/>
                    <a:pt x="17876" y="16928"/>
                    <a:pt x="27893" y="22550"/>
                  </a:cubicBezTo>
                  <a:cubicBezTo>
                    <a:pt x="29733" y="23572"/>
                    <a:pt x="31369" y="20915"/>
                    <a:pt x="29529" y="19893"/>
                  </a:cubicBezTo>
                  <a:cubicBezTo>
                    <a:pt x="19716" y="14373"/>
                    <a:pt x="10824" y="7933"/>
                    <a:pt x="2749" y="472"/>
                  </a:cubicBezTo>
                  <a:cubicBezTo>
                    <a:pt x="1318" y="-959"/>
                    <a:pt x="-1033" y="1187"/>
                    <a:pt x="500" y="2618"/>
                  </a:cubicBezTo>
                  <a:lnTo>
                    <a:pt x="500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C2F1E7AD-D90A-4800-BDA0-7241675EBD27}"/>
                </a:ext>
              </a:extLst>
            </p:cNvPr>
            <p:cNvSpPr/>
            <p:nvPr/>
          </p:nvSpPr>
          <p:spPr>
            <a:xfrm>
              <a:off x="9297243" y="4433995"/>
              <a:ext cx="31691" cy="23768"/>
            </a:xfrm>
            <a:custGeom>
              <a:avLst/>
              <a:gdLst>
                <a:gd name="connsiteX0" fmla="*/ 499 w 40885"/>
                <a:gd name="connsiteY0" fmla="*/ 2619 h 30664"/>
                <a:gd name="connsiteX1" fmla="*/ 38522 w 40885"/>
                <a:gd name="connsiteY1" fmla="*/ 37678 h 30664"/>
                <a:gd name="connsiteX2" fmla="*/ 40874 w 40885"/>
                <a:gd name="connsiteY2" fmla="*/ 35532 h 30664"/>
                <a:gd name="connsiteX3" fmla="*/ 2850 w 40885"/>
                <a:gd name="connsiteY3" fmla="*/ 472 h 30664"/>
                <a:gd name="connsiteX4" fmla="*/ 499 w 40885"/>
                <a:gd name="connsiteY4" fmla="*/ 2619 h 30664"/>
                <a:gd name="connsiteX5" fmla="*/ 499 w 40885"/>
                <a:gd name="connsiteY5" fmla="*/ 2619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499" y="2619"/>
                  </a:moveTo>
                  <a:cubicBezTo>
                    <a:pt x="13173" y="14271"/>
                    <a:pt x="25848" y="26025"/>
                    <a:pt x="38522" y="37678"/>
                  </a:cubicBezTo>
                  <a:cubicBezTo>
                    <a:pt x="40056" y="39109"/>
                    <a:pt x="42305" y="36860"/>
                    <a:pt x="40874" y="35532"/>
                  </a:cubicBezTo>
                  <a:cubicBezTo>
                    <a:pt x="28199" y="23777"/>
                    <a:pt x="15524" y="12124"/>
                    <a:pt x="2850" y="472"/>
                  </a:cubicBezTo>
                  <a:cubicBezTo>
                    <a:pt x="1316" y="-959"/>
                    <a:pt x="-1034" y="1187"/>
                    <a:pt x="499" y="2619"/>
                  </a:cubicBezTo>
                  <a:lnTo>
                    <a:pt x="499" y="261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7235D5DF-299E-4861-91D6-66AF0DBEAF2C}"/>
                </a:ext>
              </a:extLst>
            </p:cNvPr>
            <p:cNvSpPr/>
            <p:nvPr/>
          </p:nvSpPr>
          <p:spPr>
            <a:xfrm>
              <a:off x="9303543" y="4429050"/>
              <a:ext cx="23768" cy="23768"/>
            </a:xfrm>
            <a:custGeom>
              <a:avLst/>
              <a:gdLst>
                <a:gd name="connsiteX0" fmla="*/ 445 w 30664"/>
                <a:gd name="connsiteY0" fmla="*/ 2660 h 30664"/>
                <a:gd name="connsiteX1" fmla="*/ 29372 w 30664"/>
                <a:gd name="connsiteY1" fmla="*/ 32201 h 30664"/>
                <a:gd name="connsiteX2" fmla="*/ 31723 w 30664"/>
                <a:gd name="connsiteY2" fmla="*/ 30054 h 30664"/>
                <a:gd name="connsiteX3" fmla="*/ 2796 w 30664"/>
                <a:gd name="connsiteY3" fmla="*/ 514 h 30664"/>
                <a:gd name="connsiteX4" fmla="*/ 445 w 30664"/>
                <a:gd name="connsiteY4" fmla="*/ 2660 h 30664"/>
                <a:gd name="connsiteX5" fmla="*/ 445 w 30664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445" y="2660"/>
                  </a:moveTo>
                  <a:cubicBezTo>
                    <a:pt x="10054" y="12473"/>
                    <a:pt x="19764" y="22388"/>
                    <a:pt x="29372" y="32201"/>
                  </a:cubicBezTo>
                  <a:cubicBezTo>
                    <a:pt x="30803" y="33631"/>
                    <a:pt x="33154" y="31485"/>
                    <a:pt x="31723" y="30054"/>
                  </a:cubicBezTo>
                  <a:cubicBezTo>
                    <a:pt x="22115" y="20241"/>
                    <a:pt x="12404" y="10327"/>
                    <a:pt x="2796" y="514"/>
                  </a:cubicBezTo>
                  <a:cubicBezTo>
                    <a:pt x="1365" y="-1019"/>
                    <a:pt x="-986" y="1230"/>
                    <a:pt x="445" y="2660"/>
                  </a:cubicBezTo>
                  <a:lnTo>
                    <a:pt x="445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638C8808-0401-4221-8963-31303A0CF142}"/>
                </a:ext>
              </a:extLst>
            </p:cNvPr>
            <p:cNvSpPr/>
            <p:nvPr/>
          </p:nvSpPr>
          <p:spPr>
            <a:xfrm>
              <a:off x="9309001" y="4426911"/>
              <a:ext cx="15845" cy="23768"/>
            </a:xfrm>
            <a:custGeom>
              <a:avLst/>
              <a:gdLst>
                <a:gd name="connsiteX0" fmla="*/ 457 w 20442"/>
                <a:gd name="connsiteY0" fmla="*/ 2660 h 30664"/>
                <a:gd name="connsiteX1" fmla="*/ 27953 w 20442"/>
                <a:gd name="connsiteY1" fmla="*/ 32201 h 30664"/>
                <a:gd name="connsiteX2" fmla="*/ 30304 w 20442"/>
                <a:gd name="connsiteY2" fmla="*/ 30054 h 30664"/>
                <a:gd name="connsiteX3" fmla="*/ 2808 w 20442"/>
                <a:gd name="connsiteY3" fmla="*/ 514 h 30664"/>
                <a:gd name="connsiteX4" fmla="*/ 457 w 20442"/>
                <a:gd name="connsiteY4" fmla="*/ 2660 h 30664"/>
                <a:gd name="connsiteX5" fmla="*/ 457 w 20442"/>
                <a:gd name="connsiteY5" fmla="*/ 266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457" y="2660"/>
                  </a:moveTo>
                  <a:cubicBezTo>
                    <a:pt x="10167" y="12064"/>
                    <a:pt x="19367" y="21877"/>
                    <a:pt x="27953" y="32201"/>
                  </a:cubicBezTo>
                  <a:cubicBezTo>
                    <a:pt x="29282" y="33734"/>
                    <a:pt x="31530" y="31587"/>
                    <a:pt x="30304" y="30054"/>
                  </a:cubicBezTo>
                  <a:cubicBezTo>
                    <a:pt x="21615" y="19730"/>
                    <a:pt x="12518" y="9918"/>
                    <a:pt x="2808" y="514"/>
                  </a:cubicBezTo>
                  <a:cubicBezTo>
                    <a:pt x="1275" y="-1019"/>
                    <a:pt x="-974" y="1230"/>
                    <a:pt x="457" y="2660"/>
                  </a:cubicBezTo>
                  <a:lnTo>
                    <a:pt x="457" y="266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85E5385E-4264-4CA1-874A-EC195C29F0AC}"/>
                </a:ext>
              </a:extLst>
            </p:cNvPr>
            <p:cNvSpPr/>
            <p:nvPr/>
          </p:nvSpPr>
          <p:spPr>
            <a:xfrm>
              <a:off x="9318587" y="4426865"/>
              <a:ext cx="7922" cy="7922"/>
            </a:xfrm>
            <a:custGeom>
              <a:avLst/>
              <a:gdLst>
                <a:gd name="connsiteX0" fmla="*/ 457 w 10221"/>
                <a:gd name="connsiteY0" fmla="*/ 2618 h 10221"/>
                <a:gd name="connsiteX1" fmla="*/ 16914 w 10221"/>
                <a:gd name="connsiteY1" fmla="*/ 19382 h 10221"/>
                <a:gd name="connsiteX2" fmla="*/ 19265 w 10221"/>
                <a:gd name="connsiteY2" fmla="*/ 17235 h 10221"/>
                <a:gd name="connsiteX3" fmla="*/ 2808 w 10221"/>
                <a:gd name="connsiteY3" fmla="*/ 472 h 10221"/>
                <a:gd name="connsiteX4" fmla="*/ 457 w 10221"/>
                <a:gd name="connsiteY4" fmla="*/ 2618 h 10221"/>
                <a:gd name="connsiteX5" fmla="*/ 457 w 10221"/>
                <a:gd name="connsiteY5" fmla="*/ 2618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10221">
                  <a:moveTo>
                    <a:pt x="457" y="2618"/>
                  </a:moveTo>
                  <a:cubicBezTo>
                    <a:pt x="5874" y="8240"/>
                    <a:pt x="11394" y="13760"/>
                    <a:pt x="16914" y="19382"/>
                  </a:cubicBezTo>
                  <a:cubicBezTo>
                    <a:pt x="18345" y="20812"/>
                    <a:pt x="20696" y="18666"/>
                    <a:pt x="19265" y="17235"/>
                  </a:cubicBezTo>
                  <a:cubicBezTo>
                    <a:pt x="13745" y="11613"/>
                    <a:pt x="8328" y="6094"/>
                    <a:pt x="2808" y="472"/>
                  </a:cubicBezTo>
                  <a:cubicBezTo>
                    <a:pt x="1275" y="-959"/>
                    <a:pt x="-974" y="1187"/>
                    <a:pt x="457" y="2618"/>
                  </a:cubicBezTo>
                  <a:lnTo>
                    <a:pt x="457" y="261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3A416DB5-D3F3-4C8F-8F7A-E31CEBE057FF}"/>
                </a:ext>
              </a:extLst>
            </p:cNvPr>
            <p:cNvSpPr/>
            <p:nvPr/>
          </p:nvSpPr>
          <p:spPr>
            <a:xfrm>
              <a:off x="9425807" y="4440768"/>
              <a:ext cx="15845" cy="39613"/>
            </a:xfrm>
            <a:custGeom>
              <a:avLst/>
              <a:gdLst>
                <a:gd name="connsiteX0" fmla="*/ 217 w 20442"/>
                <a:gd name="connsiteY0" fmla="*/ 2364 h 51107"/>
                <a:gd name="connsiteX1" fmla="*/ 25873 w 20442"/>
                <a:gd name="connsiteY1" fmla="*/ 51631 h 51107"/>
                <a:gd name="connsiteX2" fmla="*/ 28735 w 20442"/>
                <a:gd name="connsiteY2" fmla="*/ 50098 h 51107"/>
                <a:gd name="connsiteX3" fmla="*/ 3079 w 20442"/>
                <a:gd name="connsiteY3" fmla="*/ 831 h 51107"/>
                <a:gd name="connsiteX4" fmla="*/ 217 w 20442"/>
                <a:gd name="connsiteY4" fmla="*/ 2364 h 51107"/>
                <a:gd name="connsiteX5" fmla="*/ 217 w 20442"/>
                <a:gd name="connsiteY5" fmla="*/ 236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217" y="2364"/>
                  </a:moveTo>
                  <a:cubicBezTo>
                    <a:pt x="8803" y="18820"/>
                    <a:pt x="17287" y="35174"/>
                    <a:pt x="25873" y="51631"/>
                  </a:cubicBezTo>
                  <a:cubicBezTo>
                    <a:pt x="26793" y="53471"/>
                    <a:pt x="29655" y="51835"/>
                    <a:pt x="28735" y="50098"/>
                  </a:cubicBezTo>
                  <a:cubicBezTo>
                    <a:pt x="20149" y="33641"/>
                    <a:pt x="11665" y="17287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50831C76-5B51-4C6C-8C48-4AB029425CF4}"/>
                </a:ext>
              </a:extLst>
            </p:cNvPr>
            <p:cNvSpPr/>
            <p:nvPr/>
          </p:nvSpPr>
          <p:spPr>
            <a:xfrm>
              <a:off x="9443238" y="4463082"/>
              <a:ext cx="23768" cy="31691"/>
            </a:xfrm>
            <a:custGeom>
              <a:avLst/>
              <a:gdLst>
                <a:gd name="connsiteX0" fmla="*/ 217 w 30664"/>
                <a:gd name="connsiteY0" fmla="*/ 2298 h 40885"/>
                <a:gd name="connsiteX1" fmla="*/ 28020 w 30664"/>
                <a:gd name="connsiteY1" fmla="*/ 48498 h 40885"/>
                <a:gd name="connsiteX2" fmla="*/ 30882 w 30664"/>
                <a:gd name="connsiteY2" fmla="*/ 46965 h 40885"/>
                <a:gd name="connsiteX3" fmla="*/ 3079 w 30664"/>
                <a:gd name="connsiteY3" fmla="*/ 764 h 40885"/>
                <a:gd name="connsiteX4" fmla="*/ 217 w 30664"/>
                <a:gd name="connsiteY4" fmla="*/ 2298 h 40885"/>
                <a:gd name="connsiteX5" fmla="*/ 217 w 30664"/>
                <a:gd name="connsiteY5" fmla="*/ 2298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40885">
                  <a:moveTo>
                    <a:pt x="217" y="2298"/>
                  </a:moveTo>
                  <a:cubicBezTo>
                    <a:pt x="9519" y="17732"/>
                    <a:pt x="18820" y="33064"/>
                    <a:pt x="28020" y="48498"/>
                  </a:cubicBezTo>
                  <a:cubicBezTo>
                    <a:pt x="29042" y="50236"/>
                    <a:pt x="31904" y="48703"/>
                    <a:pt x="30882" y="46965"/>
                  </a:cubicBezTo>
                  <a:cubicBezTo>
                    <a:pt x="21580" y="31531"/>
                    <a:pt x="12278" y="16199"/>
                    <a:pt x="3079" y="764"/>
                  </a:cubicBezTo>
                  <a:cubicBezTo>
                    <a:pt x="2057" y="-973"/>
                    <a:pt x="-805" y="560"/>
                    <a:pt x="217" y="2298"/>
                  </a:cubicBezTo>
                  <a:lnTo>
                    <a:pt x="217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AB180ED8-D419-4E66-B7A6-77310079DB7D}"/>
                </a:ext>
              </a:extLst>
            </p:cNvPr>
            <p:cNvSpPr/>
            <p:nvPr/>
          </p:nvSpPr>
          <p:spPr>
            <a:xfrm>
              <a:off x="9449684" y="4456982"/>
              <a:ext cx="23768" cy="47536"/>
            </a:xfrm>
            <a:custGeom>
              <a:avLst/>
              <a:gdLst>
                <a:gd name="connsiteX0" fmla="*/ 180 w 30664"/>
                <a:gd name="connsiteY0" fmla="*/ 2298 h 61328"/>
                <a:gd name="connsiteX1" fmla="*/ 30742 w 30664"/>
                <a:gd name="connsiteY1" fmla="*/ 61480 h 61328"/>
                <a:gd name="connsiteX2" fmla="*/ 33604 w 30664"/>
                <a:gd name="connsiteY2" fmla="*/ 59946 h 61328"/>
                <a:gd name="connsiteX3" fmla="*/ 3042 w 30664"/>
                <a:gd name="connsiteY3" fmla="*/ 764 h 61328"/>
                <a:gd name="connsiteX4" fmla="*/ 180 w 30664"/>
                <a:gd name="connsiteY4" fmla="*/ 2298 h 61328"/>
                <a:gd name="connsiteX5" fmla="*/ 180 w 30664"/>
                <a:gd name="connsiteY5" fmla="*/ 2298 h 613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61328">
                  <a:moveTo>
                    <a:pt x="180" y="2298"/>
                  </a:moveTo>
                  <a:cubicBezTo>
                    <a:pt x="10401" y="22025"/>
                    <a:pt x="20521" y="41752"/>
                    <a:pt x="30742" y="61480"/>
                  </a:cubicBezTo>
                  <a:cubicBezTo>
                    <a:pt x="31662" y="63320"/>
                    <a:pt x="34524" y="61684"/>
                    <a:pt x="33604" y="59946"/>
                  </a:cubicBezTo>
                  <a:cubicBezTo>
                    <a:pt x="23383" y="40219"/>
                    <a:pt x="13263" y="20492"/>
                    <a:pt x="3042" y="764"/>
                  </a:cubicBezTo>
                  <a:cubicBezTo>
                    <a:pt x="2122" y="-973"/>
                    <a:pt x="-740" y="560"/>
                    <a:pt x="180" y="2298"/>
                  </a:cubicBezTo>
                  <a:lnTo>
                    <a:pt x="180" y="22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E0135ABB-849B-4F76-B42F-07AFB6F1A87D}"/>
                </a:ext>
              </a:extLst>
            </p:cNvPr>
            <p:cNvSpPr/>
            <p:nvPr/>
          </p:nvSpPr>
          <p:spPr>
            <a:xfrm>
              <a:off x="9521732" y="4515010"/>
              <a:ext cx="23768" cy="23768"/>
            </a:xfrm>
            <a:custGeom>
              <a:avLst/>
              <a:gdLst>
                <a:gd name="connsiteX0" fmla="*/ 2796 w 30664"/>
                <a:gd name="connsiteY0" fmla="*/ 37413 h 30664"/>
                <a:gd name="connsiteX1" fmla="*/ 37140 w 30664"/>
                <a:gd name="connsiteY1" fmla="*/ 2660 h 30664"/>
                <a:gd name="connsiteX2" fmla="*/ 34789 w 30664"/>
                <a:gd name="connsiteY2" fmla="*/ 514 h 30664"/>
                <a:gd name="connsiteX3" fmla="*/ 445 w 30664"/>
                <a:gd name="connsiteY3" fmla="*/ 35267 h 30664"/>
                <a:gd name="connsiteX4" fmla="*/ 2796 w 30664"/>
                <a:gd name="connsiteY4" fmla="*/ 37413 h 30664"/>
                <a:gd name="connsiteX5" fmla="*/ 2796 w 30664"/>
                <a:gd name="connsiteY5" fmla="*/ 3741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796" y="37413"/>
                  </a:moveTo>
                  <a:cubicBezTo>
                    <a:pt x="14244" y="25863"/>
                    <a:pt x="25692" y="14313"/>
                    <a:pt x="37140" y="2660"/>
                  </a:cubicBezTo>
                  <a:cubicBezTo>
                    <a:pt x="38571" y="1230"/>
                    <a:pt x="36323" y="-1019"/>
                    <a:pt x="34789" y="514"/>
                  </a:cubicBezTo>
                  <a:cubicBezTo>
                    <a:pt x="23341" y="12064"/>
                    <a:pt x="11894" y="23615"/>
                    <a:pt x="445" y="35267"/>
                  </a:cubicBezTo>
                  <a:cubicBezTo>
                    <a:pt x="-986" y="36596"/>
                    <a:pt x="1365" y="38844"/>
                    <a:pt x="2796" y="37413"/>
                  </a:cubicBezTo>
                  <a:lnTo>
                    <a:pt x="2796" y="3741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E604B509-7A19-4507-B048-BA796A1987A2}"/>
                </a:ext>
              </a:extLst>
            </p:cNvPr>
            <p:cNvSpPr/>
            <p:nvPr/>
          </p:nvSpPr>
          <p:spPr>
            <a:xfrm>
              <a:off x="9512305" y="4509930"/>
              <a:ext cx="31691" cy="31691"/>
            </a:xfrm>
            <a:custGeom>
              <a:avLst/>
              <a:gdLst>
                <a:gd name="connsiteX0" fmla="*/ 2796 w 40885"/>
                <a:gd name="connsiteY0" fmla="*/ 45297 h 40885"/>
                <a:gd name="connsiteX1" fmla="*/ 42455 w 40885"/>
                <a:gd name="connsiteY1" fmla="*/ 2674 h 40885"/>
                <a:gd name="connsiteX2" fmla="*/ 40105 w 40885"/>
                <a:gd name="connsiteY2" fmla="*/ 527 h 40885"/>
                <a:gd name="connsiteX3" fmla="*/ 445 w 40885"/>
                <a:gd name="connsiteY3" fmla="*/ 43151 h 40885"/>
                <a:gd name="connsiteX4" fmla="*/ 2796 w 40885"/>
                <a:gd name="connsiteY4" fmla="*/ 45297 h 40885"/>
                <a:gd name="connsiteX5" fmla="*/ 2796 w 40885"/>
                <a:gd name="connsiteY5" fmla="*/ 4529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40885">
                  <a:moveTo>
                    <a:pt x="2796" y="45297"/>
                  </a:moveTo>
                  <a:cubicBezTo>
                    <a:pt x="15982" y="31090"/>
                    <a:pt x="29270" y="16882"/>
                    <a:pt x="42455" y="2674"/>
                  </a:cubicBezTo>
                  <a:cubicBezTo>
                    <a:pt x="43887" y="1141"/>
                    <a:pt x="41536" y="-1006"/>
                    <a:pt x="40105" y="527"/>
                  </a:cubicBezTo>
                  <a:cubicBezTo>
                    <a:pt x="26919" y="14735"/>
                    <a:pt x="13631" y="28943"/>
                    <a:pt x="445" y="43151"/>
                  </a:cubicBezTo>
                  <a:cubicBezTo>
                    <a:pt x="-986" y="44582"/>
                    <a:pt x="1365" y="46831"/>
                    <a:pt x="2796" y="45297"/>
                  </a:cubicBezTo>
                  <a:lnTo>
                    <a:pt x="2796" y="4529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CFF4761E-0529-4991-87AC-FB31B76FCEA0}"/>
                </a:ext>
              </a:extLst>
            </p:cNvPr>
            <p:cNvSpPr/>
            <p:nvPr/>
          </p:nvSpPr>
          <p:spPr>
            <a:xfrm>
              <a:off x="9515507" y="4511079"/>
              <a:ext cx="15845" cy="23768"/>
            </a:xfrm>
            <a:custGeom>
              <a:avLst/>
              <a:gdLst>
                <a:gd name="connsiteX0" fmla="*/ 3161 w 20442"/>
                <a:gd name="connsiteY0" fmla="*/ 30833 h 30664"/>
                <a:gd name="connsiteX1" fmla="*/ 26057 w 20442"/>
                <a:gd name="connsiteY1" fmla="*/ 2213 h 30664"/>
                <a:gd name="connsiteX2" fmla="*/ 23195 w 20442"/>
                <a:gd name="connsiteY2" fmla="*/ 680 h 30664"/>
                <a:gd name="connsiteX3" fmla="*/ 299 w 20442"/>
                <a:gd name="connsiteY3" fmla="*/ 29300 h 30664"/>
                <a:gd name="connsiteX4" fmla="*/ 3161 w 20442"/>
                <a:gd name="connsiteY4" fmla="*/ 30833 h 30664"/>
                <a:gd name="connsiteX5" fmla="*/ 3161 w 20442"/>
                <a:gd name="connsiteY5" fmla="*/ 3083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161" y="30833"/>
                  </a:moveTo>
                  <a:cubicBezTo>
                    <a:pt x="10827" y="21328"/>
                    <a:pt x="18391" y="11719"/>
                    <a:pt x="26057" y="2213"/>
                  </a:cubicBezTo>
                  <a:cubicBezTo>
                    <a:pt x="27386" y="680"/>
                    <a:pt x="24524" y="-955"/>
                    <a:pt x="23195" y="680"/>
                  </a:cubicBezTo>
                  <a:cubicBezTo>
                    <a:pt x="15529" y="10186"/>
                    <a:pt x="7965" y="19794"/>
                    <a:pt x="299" y="29300"/>
                  </a:cubicBezTo>
                  <a:cubicBezTo>
                    <a:pt x="-927" y="30833"/>
                    <a:pt x="1935" y="32367"/>
                    <a:pt x="3161" y="30833"/>
                  </a:cubicBezTo>
                  <a:lnTo>
                    <a:pt x="3161" y="308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6E2FCE44-7757-4C0E-BBE0-AC03408D15A4}"/>
                </a:ext>
              </a:extLst>
            </p:cNvPr>
            <p:cNvSpPr/>
            <p:nvPr/>
          </p:nvSpPr>
          <p:spPr>
            <a:xfrm>
              <a:off x="9578392" y="4551042"/>
              <a:ext cx="7922" cy="39613"/>
            </a:xfrm>
            <a:custGeom>
              <a:avLst/>
              <a:gdLst>
                <a:gd name="connsiteX0" fmla="*/ 20 w 0"/>
                <a:gd name="connsiteY0" fmla="*/ 1456 h 51107"/>
                <a:gd name="connsiteX1" fmla="*/ 3802 w 0"/>
                <a:gd name="connsiteY1" fmla="*/ 51848 h 51107"/>
                <a:gd name="connsiteX2" fmla="*/ 7073 w 0"/>
                <a:gd name="connsiteY2" fmla="*/ 51848 h 51107"/>
                <a:gd name="connsiteX3" fmla="*/ 3291 w 0"/>
                <a:gd name="connsiteY3" fmla="*/ 1456 h 51107"/>
                <a:gd name="connsiteX4" fmla="*/ 20 w 0"/>
                <a:gd name="connsiteY4" fmla="*/ 1456 h 51107"/>
                <a:gd name="connsiteX5" fmla="*/ 20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20" y="1456"/>
                  </a:moveTo>
                  <a:cubicBezTo>
                    <a:pt x="1758" y="18220"/>
                    <a:pt x="3087" y="35085"/>
                    <a:pt x="3802" y="51848"/>
                  </a:cubicBezTo>
                  <a:cubicBezTo>
                    <a:pt x="3904" y="53790"/>
                    <a:pt x="7175" y="53892"/>
                    <a:pt x="7073" y="51848"/>
                  </a:cubicBezTo>
                  <a:cubicBezTo>
                    <a:pt x="6358" y="34983"/>
                    <a:pt x="5029" y="18220"/>
                    <a:pt x="3291" y="1456"/>
                  </a:cubicBezTo>
                  <a:cubicBezTo>
                    <a:pt x="2985" y="-485"/>
                    <a:pt x="-286" y="-485"/>
                    <a:pt x="20" y="1456"/>
                  </a:cubicBezTo>
                  <a:lnTo>
                    <a:pt x="20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680142E8-F418-4C3B-B42A-7FE6DC94B0D6}"/>
                </a:ext>
              </a:extLst>
            </p:cNvPr>
            <p:cNvSpPr/>
            <p:nvPr/>
          </p:nvSpPr>
          <p:spPr>
            <a:xfrm>
              <a:off x="9570557" y="4553101"/>
              <a:ext cx="7922" cy="31691"/>
            </a:xfrm>
            <a:custGeom>
              <a:avLst/>
              <a:gdLst>
                <a:gd name="connsiteX0" fmla="*/ 9 w 10221"/>
                <a:gd name="connsiteY0" fmla="*/ 1457 h 40885"/>
                <a:gd name="connsiteX1" fmla="*/ 7062 w 10221"/>
                <a:gd name="connsiteY1" fmla="*/ 47044 h 40885"/>
                <a:gd name="connsiteX2" fmla="*/ 10231 w 10221"/>
                <a:gd name="connsiteY2" fmla="*/ 46227 h 40885"/>
                <a:gd name="connsiteX3" fmla="*/ 3280 w 10221"/>
                <a:gd name="connsiteY3" fmla="*/ 1457 h 40885"/>
                <a:gd name="connsiteX4" fmla="*/ 9 w 10221"/>
                <a:gd name="connsiteY4" fmla="*/ 1457 h 40885"/>
                <a:gd name="connsiteX5" fmla="*/ 9 w 10221"/>
                <a:gd name="connsiteY5" fmla="*/ 1457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9" y="1457"/>
                  </a:moveTo>
                  <a:cubicBezTo>
                    <a:pt x="1338" y="16789"/>
                    <a:pt x="3689" y="32019"/>
                    <a:pt x="7062" y="47044"/>
                  </a:cubicBezTo>
                  <a:cubicBezTo>
                    <a:pt x="7471" y="48986"/>
                    <a:pt x="10639" y="48169"/>
                    <a:pt x="10231" y="46227"/>
                  </a:cubicBezTo>
                  <a:cubicBezTo>
                    <a:pt x="6858" y="31405"/>
                    <a:pt x="4507" y="16584"/>
                    <a:pt x="3280" y="1457"/>
                  </a:cubicBezTo>
                  <a:cubicBezTo>
                    <a:pt x="3076" y="-486"/>
                    <a:pt x="-195" y="-486"/>
                    <a:pt x="9" y="1457"/>
                  </a:cubicBezTo>
                  <a:lnTo>
                    <a:pt x="9" y="145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D71CA886-9C51-4D55-A661-F9FC9493EBC7}"/>
                </a:ext>
              </a:extLst>
            </p:cNvPr>
            <p:cNvSpPr/>
            <p:nvPr/>
          </p:nvSpPr>
          <p:spPr>
            <a:xfrm>
              <a:off x="9565407" y="4547080"/>
              <a:ext cx="7922" cy="39613"/>
            </a:xfrm>
            <a:custGeom>
              <a:avLst/>
              <a:gdLst>
                <a:gd name="connsiteX0" fmla="*/ 9 w 0"/>
                <a:gd name="connsiteY0" fmla="*/ 1456 h 51107"/>
                <a:gd name="connsiteX1" fmla="*/ 4404 w 0"/>
                <a:gd name="connsiteY1" fmla="*/ 50519 h 51107"/>
                <a:gd name="connsiteX2" fmla="*/ 7675 w 0"/>
                <a:gd name="connsiteY2" fmla="*/ 50519 h 51107"/>
                <a:gd name="connsiteX3" fmla="*/ 3280 w 0"/>
                <a:gd name="connsiteY3" fmla="*/ 1456 h 51107"/>
                <a:gd name="connsiteX4" fmla="*/ 9 w 0"/>
                <a:gd name="connsiteY4" fmla="*/ 1456 h 51107"/>
                <a:gd name="connsiteX5" fmla="*/ 9 w 0"/>
                <a:gd name="connsiteY5" fmla="*/ 1456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51107">
                  <a:moveTo>
                    <a:pt x="9" y="1456"/>
                  </a:moveTo>
                  <a:cubicBezTo>
                    <a:pt x="1440" y="17811"/>
                    <a:pt x="2973" y="34165"/>
                    <a:pt x="4404" y="50519"/>
                  </a:cubicBezTo>
                  <a:cubicBezTo>
                    <a:pt x="4609" y="52462"/>
                    <a:pt x="7880" y="52564"/>
                    <a:pt x="7675" y="50519"/>
                  </a:cubicBezTo>
                  <a:cubicBezTo>
                    <a:pt x="6244" y="34165"/>
                    <a:pt x="4711" y="17811"/>
                    <a:pt x="3280" y="1456"/>
                  </a:cubicBezTo>
                  <a:cubicBezTo>
                    <a:pt x="3076" y="-485"/>
                    <a:pt x="-195" y="-485"/>
                    <a:pt x="9" y="1456"/>
                  </a:cubicBezTo>
                  <a:lnTo>
                    <a:pt x="9" y="145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DBECECFD-98A8-4B9E-8DA9-D0BB52C68515}"/>
                </a:ext>
              </a:extLst>
            </p:cNvPr>
            <p:cNvSpPr/>
            <p:nvPr/>
          </p:nvSpPr>
          <p:spPr>
            <a:xfrm>
              <a:off x="9568388" y="4584980"/>
              <a:ext cx="23768" cy="15845"/>
            </a:xfrm>
            <a:custGeom>
              <a:avLst/>
              <a:gdLst>
                <a:gd name="connsiteX0" fmla="*/ 2808 w 30664"/>
                <a:gd name="connsiteY0" fmla="*/ 27380 h 20442"/>
                <a:gd name="connsiteX1" fmla="*/ 39196 w 30664"/>
                <a:gd name="connsiteY1" fmla="*/ 2848 h 20442"/>
                <a:gd name="connsiteX2" fmla="*/ 37561 w 30664"/>
                <a:gd name="connsiteY2" fmla="*/ 191 h 20442"/>
                <a:gd name="connsiteX3" fmla="*/ 457 w 30664"/>
                <a:gd name="connsiteY3" fmla="*/ 25233 h 20442"/>
                <a:gd name="connsiteX4" fmla="*/ 2808 w 30664"/>
                <a:gd name="connsiteY4" fmla="*/ 27380 h 20442"/>
                <a:gd name="connsiteX5" fmla="*/ 2808 w 30664"/>
                <a:gd name="connsiteY5" fmla="*/ 27380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2808" y="27380"/>
                  </a:moveTo>
                  <a:cubicBezTo>
                    <a:pt x="13847" y="17772"/>
                    <a:pt x="26011" y="9595"/>
                    <a:pt x="39196" y="2848"/>
                  </a:cubicBezTo>
                  <a:cubicBezTo>
                    <a:pt x="41036" y="1928"/>
                    <a:pt x="39401" y="-729"/>
                    <a:pt x="37561" y="191"/>
                  </a:cubicBezTo>
                  <a:cubicBezTo>
                    <a:pt x="24069" y="7039"/>
                    <a:pt x="11803" y="15421"/>
                    <a:pt x="457" y="25233"/>
                  </a:cubicBezTo>
                  <a:cubicBezTo>
                    <a:pt x="-974" y="26460"/>
                    <a:pt x="1275" y="28709"/>
                    <a:pt x="2808" y="27380"/>
                  </a:cubicBezTo>
                  <a:lnTo>
                    <a:pt x="2808" y="2738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79440B5A-98C7-4071-830E-04FD49BD4A67}"/>
                </a:ext>
              </a:extLst>
            </p:cNvPr>
            <p:cNvSpPr/>
            <p:nvPr/>
          </p:nvSpPr>
          <p:spPr>
            <a:xfrm>
              <a:off x="9567203" y="4592340"/>
              <a:ext cx="23768" cy="23768"/>
            </a:xfrm>
            <a:custGeom>
              <a:avLst/>
              <a:gdLst>
                <a:gd name="connsiteX0" fmla="*/ 2905 w 30664"/>
                <a:gd name="connsiteY0" fmla="*/ 30662 h 30664"/>
                <a:gd name="connsiteX1" fmla="*/ 40111 w 30664"/>
                <a:gd name="connsiteY1" fmla="*/ 2553 h 30664"/>
                <a:gd name="connsiteX2" fmla="*/ 37760 w 30664"/>
                <a:gd name="connsiteY2" fmla="*/ 407 h 30664"/>
                <a:gd name="connsiteX3" fmla="*/ 554 w 30664"/>
                <a:gd name="connsiteY3" fmla="*/ 28516 h 30664"/>
                <a:gd name="connsiteX4" fmla="*/ 2905 w 30664"/>
                <a:gd name="connsiteY4" fmla="*/ 30662 h 30664"/>
                <a:gd name="connsiteX5" fmla="*/ 2905 w 30664"/>
                <a:gd name="connsiteY5" fmla="*/ 3066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30664">
                  <a:moveTo>
                    <a:pt x="2905" y="30662"/>
                  </a:moveTo>
                  <a:cubicBezTo>
                    <a:pt x="15273" y="21259"/>
                    <a:pt x="27641" y="11957"/>
                    <a:pt x="40111" y="2553"/>
                  </a:cubicBezTo>
                  <a:cubicBezTo>
                    <a:pt x="41746" y="1327"/>
                    <a:pt x="39395" y="-922"/>
                    <a:pt x="37760" y="407"/>
                  </a:cubicBezTo>
                  <a:cubicBezTo>
                    <a:pt x="25392" y="9811"/>
                    <a:pt x="13024" y="19112"/>
                    <a:pt x="554" y="28516"/>
                  </a:cubicBezTo>
                  <a:cubicBezTo>
                    <a:pt x="-1082" y="29640"/>
                    <a:pt x="1269" y="31889"/>
                    <a:pt x="2905" y="30662"/>
                  </a:cubicBezTo>
                  <a:lnTo>
                    <a:pt x="2905" y="3066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7F05D347-7761-4DCE-B704-C16F9DE9843C}"/>
                </a:ext>
              </a:extLst>
            </p:cNvPr>
            <p:cNvSpPr/>
            <p:nvPr/>
          </p:nvSpPr>
          <p:spPr>
            <a:xfrm>
              <a:off x="9571525" y="4606104"/>
              <a:ext cx="15845" cy="7922"/>
            </a:xfrm>
            <a:custGeom>
              <a:avLst/>
              <a:gdLst>
                <a:gd name="connsiteX0" fmla="*/ 2850 w 20442"/>
                <a:gd name="connsiteY0" fmla="*/ 19446 h 10221"/>
                <a:gd name="connsiteX1" fmla="*/ 27074 w 20442"/>
                <a:gd name="connsiteY1" fmla="*/ 2888 h 10221"/>
                <a:gd name="connsiteX2" fmla="*/ 25439 w 20442"/>
                <a:gd name="connsiteY2" fmla="*/ 230 h 10221"/>
                <a:gd name="connsiteX3" fmla="*/ 499 w 20442"/>
                <a:gd name="connsiteY3" fmla="*/ 17198 h 10221"/>
                <a:gd name="connsiteX4" fmla="*/ 2850 w 20442"/>
                <a:gd name="connsiteY4" fmla="*/ 19446 h 10221"/>
                <a:gd name="connsiteX5" fmla="*/ 2850 w 20442"/>
                <a:gd name="connsiteY5" fmla="*/ 19446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850" y="19446"/>
                  </a:moveTo>
                  <a:cubicBezTo>
                    <a:pt x="10311" y="13007"/>
                    <a:pt x="18284" y="7589"/>
                    <a:pt x="27074" y="2888"/>
                  </a:cubicBezTo>
                  <a:cubicBezTo>
                    <a:pt x="28914" y="1865"/>
                    <a:pt x="27279" y="-792"/>
                    <a:pt x="25439" y="230"/>
                  </a:cubicBezTo>
                  <a:cubicBezTo>
                    <a:pt x="16342" y="4932"/>
                    <a:pt x="8165" y="10656"/>
                    <a:pt x="499" y="17198"/>
                  </a:cubicBezTo>
                  <a:cubicBezTo>
                    <a:pt x="-1035" y="18628"/>
                    <a:pt x="1316" y="20775"/>
                    <a:pt x="2850" y="19446"/>
                  </a:cubicBezTo>
                  <a:lnTo>
                    <a:pt x="2850" y="1944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90B6C298-006D-4000-AC27-13FEF52B8ABC}"/>
                </a:ext>
              </a:extLst>
            </p:cNvPr>
            <p:cNvSpPr/>
            <p:nvPr/>
          </p:nvSpPr>
          <p:spPr>
            <a:xfrm>
              <a:off x="9573705" y="4613134"/>
              <a:ext cx="15845" cy="7922"/>
            </a:xfrm>
            <a:custGeom>
              <a:avLst/>
              <a:gdLst>
                <a:gd name="connsiteX0" fmla="*/ 2796 w 20442"/>
                <a:gd name="connsiteY0" fmla="*/ 16815 h 10221"/>
                <a:gd name="connsiteX1" fmla="*/ 24261 w 20442"/>
                <a:gd name="connsiteY1" fmla="*/ 2812 h 10221"/>
                <a:gd name="connsiteX2" fmla="*/ 22626 w 20442"/>
                <a:gd name="connsiteY2" fmla="*/ 154 h 10221"/>
                <a:gd name="connsiteX3" fmla="*/ 445 w 20442"/>
                <a:gd name="connsiteY3" fmla="*/ 14669 h 10221"/>
                <a:gd name="connsiteX4" fmla="*/ 2796 w 20442"/>
                <a:gd name="connsiteY4" fmla="*/ 16815 h 10221"/>
                <a:gd name="connsiteX5" fmla="*/ 2796 w 20442"/>
                <a:gd name="connsiteY5" fmla="*/ 16815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10221">
                  <a:moveTo>
                    <a:pt x="2796" y="16815"/>
                  </a:moveTo>
                  <a:cubicBezTo>
                    <a:pt x="9031" y="10785"/>
                    <a:pt x="16186" y="6185"/>
                    <a:pt x="24261" y="2812"/>
                  </a:cubicBezTo>
                  <a:cubicBezTo>
                    <a:pt x="26203" y="1994"/>
                    <a:pt x="24568" y="-663"/>
                    <a:pt x="22626" y="154"/>
                  </a:cubicBezTo>
                  <a:cubicBezTo>
                    <a:pt x="14142" y="3732"/>
                    <a:pt x="6885" y="8434"/>
                    <a:pt x="445" y="14669"/>
                  </a:cubicBezTo>
                  <a:cubicBezTo>
                    <a:pt x="-986" y="16100"/>
                    <a:pt x="1365" y="18246"/>
                    <a:pt x="2796" y="16815"/>
                  </a:cubicBezTo>
                  <a:lnTo>
                    <a:pt x="2796" y="168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84FDB707-4DE6-454F-8D94-5692385D8165}"/>
                </a:ext>
              </a:extLst>
            </p:cNvPr>
            <p:cNvSpPr/>
            <p:nvPr/>
          </p:nvSpPr>
          <p:spPr>
            <a:xfrm>
              <a:off x="9529025" y="4719405"/>
              <a:ext cx="23768" cy="55458"/>
            </a:xfrm>
            <a:custGeom>
              <a:avLst/>
              <a:gdLst>
                <a:gd name="connsiteX0" fmla="*/ 134 w 30664"/>
                <a:gd name="connsiteY0" fmla="*/ 1855 h 71550"/>
                <a:gd name="connsiteX1" fmla="*/ 34376 w 30664"/>
                <a:gd name="connsiteY1" fmla="*/ 79333 h 71550"/>
                <a:gd name="connsiteX2" fmla="*/ 37544 w 30664"/>
                <a:gd name="connsiteY2" fmla="*/ 78515 h 71550"/>
                <a:gd name="connsiteX3" fmla="*/ 3302 w 30664"/>
                <a:gd name="connsiteY3" fmla="*/ 1037 h 71550"/>
                <a:gd name="connsiteX4" fmla="*/ 134 w 30664"/>
                <a:gd name="connsiteY4" fmla="*/ 1855 h 71550"/>
                <a:gd name="connsiteX5" fmla="*/ 134 w 30664"/>
                <a:gd name="connsiteY5" fmla="*/ 1855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71550">
                  <a:moveTo>
                    <a:pt x="134" y="1855"/>
                  </a:moveTo>
                  <a:cubicBezTo>
                    <a:pt x="11582" y="27715"/>
                    <a:pt x="22928" y="53473"/>
                    <a:pt x="34376" y="79333"/>
                  </a:cubicBezTo>
                  <a:cubicBezTo>
                    <a:pt x="35193" y="81173"/>
                    <a:pt x="38362" y="80355"/>
                    <a:pt x="37544" y="78515"/>
                  </a:cubicBezTo>
                  <a:cubicBezTo>
                    <a:pt x="26096" y="52655"/>
                    <a:pt x="14750" y="26897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7812FD65-C42B-448E-80E3-E8AB44CAAF56}"/>
                </a:ext>
              </a:extLst>
            </p:cNvPr>
            <p:cNvSpPr/>
            <p:nvPr/>
          </p:nvSpPr>
          <p:spPr>
            <a:xfrm>
              <a:off x="9538951" y="4726275"/>
              <a:ext cx="15845" cy="39613"/>
            </a:xfrm>
            <a:custGeom>
              <a:avLst/>
              <a:gdLst>
                <a:gd name="connsiteX0" fmla="*/ 104 w 20442"/>
                <a:gd name="connsiteY0" fmla="*/ 1884 h 51107"/>
                <a:gd name="connsiteX1" fmla="*/ 23205 w 20442"/>
                <a:gd name="connsiteY1" fmla="*/ 54013 h 51107"/>
                <a:gd name="connsiteX2" fmla="*/ 26067 w 20442"/>
                <a:gd name="connsiteY2" fmla="*/ 52480 h 51107"/>
                <a:gd name="connsiteX3" fmla="*/ 3273 w 20442"/>
                <a:gd name="connsiteY3" fmla="*/ 1066 h 51107"/>
                <a:gd name="connsiteX4" fmla="*/ 104 w 20442"/>
                <a:gd name="connsiteY4" fmla="*/ 1884 h 51107"/>
                <a:gd name="connsiteX5" fmla="*/ 104 w 20442"/>
                <a:gd name="connsiteY5" fmla="*/ 1884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51107">
                  <a:moveTo>
                    <a:pt x="104" y="1884"/>
                  </a:moveTo>
                  <a:cubicBezTo>
                    <a:pt x="7260" y="19465"/>
                    <a:pt x="14926" y="36841"/>
                    <a:pt x="23205" y="54013"/>
                  </a:cubicBezTo>
                  <a:cubicBezTo>
                    <a:pt x="24125" y="55853"/>
                    <a:pt x="26885" y="54218"/>
                    <a:pt x="26067" y="52480"/>
                  </a:cubicBezTo>
                  <a:cubicBezTo>
                    <a:pt x="17890" y="35615"/>
                    <a:pt x="10326" y="18443"/>
                    <a:pt x="3273" y="1066"/>
                  </a:cubicBezTo>
                  <a:cubicBezTo>
                    <a:pt x="2558" y="-773"/>
                    <a:pt x="-611" y="-58"/>
                    <a:pt x="104" y="1884"/>
                  </a:cubicBezTo>
                  <a:lnTo>
                    <a:pt x="104" y="188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08183E4E-BA37-4895-8BE1-8E438417DA33}"/>
                </a:ext>
              </a:extLst>
            </p:cNvPr>
            <p:cNvSpPr/>
            <p:nvPr/>
          </p:nvSpPr>
          <p:spPr>
            <a:xfrm>
              <a:off x="9545187" y="4728279"/>
              <a:ext cx="15845" cy="31691"/>
            </a:xfrm>
            <a:custGeom>
              <a:avLst/>
              <a:gdLst>
                <a:gd name="connsiteX0" fmla="*/ 134 w 20442"/>
                <a:gd name="connsiteY0" fmla="*/ 1855 h 40885"/>
                <a:gd name="connsiteX1" fmla="*/ 17306 w 20442"/>
                <a:gd name="connsiteY1" fmla="*/ 43456 h 40885"/>
                <a:gd name="connsiteX2" fmla="*/ 20474 w 20442"/>
                <a:gd name="connsiteY2" fmla="*/ 42638 h 40885"/>
                <a:gd name="connsiteX3" fmla="*/ 3302 w 20442"/>
                <a:gd name="connsiteY3" fmla="*/ 1037 h 40885"/>
                <a:gd name="connsiteX4" fmla="*/ 134 w 20442"/>
                <a:gd name="connsiteY4" fmla="*/ 1855 h 40885"/>
                <a:gd name="connsiteX5" fmla="*/ 134 w 20442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34" y="1855"/>
                  </a:moveTo>
                  <a:cubicBezTo>
                    <a:pt x="5858" y="15756"/>
                    <a:pt x="11582" y="29555"/>
                    <a:pt x="17306" y="43456"/>
                  </a:cubicBezTo>
                  <a:cubicBezTo>
                    <a:pt x="18021" y="45296"/>
                    <a:pt x="21190" y="44478"/>
                    <a:pt x="20474" y="42638"/>
                  </a:cubicBezTo>
                  <a:cubicBezTo>
                    <a:pt x="14750" y="28737"/>
                    <a:pt x="9026" y="14938"/>
                    <a:pt x="3302" y="1037"/>
                  </a:cubicBezTo>
                  <a:cubicBezTo>
                    <a:pt x="2485" y="-803"/>
                    <a:pt x="-684" y="15"/>
                    <a:pt x="134" y="1855"/>
                  </a:cubicBezTo>
                  <a:lnTo>
                    <a:pt x="13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1FEE7AC1-CE1B-4CC0-BD57-6724A145D1CA}"/>
                </a:ext>
              </a:extLst>
            </p:cNvPr>
            <p:cNvSpPr/>
            <p:nvPr/>
          </p:nvSpPr>
          <p:spPr>
            <a:xfrm>
              <a:off x="9555926" y="4732178"/>
              <a:ext cx="7922" cy="7922"/>
            </a:xfrm>
            <a:custGeom>
              <a:avLst/>
              <a:gdLst>
                <a:gd name="connsiteX0" fmla="*/ 180 w 0"/>
                <a:gd name="connsiteY0" fmla="*/ 2343 h 10221"/>
                <a:gd name="connsiteX1" fmla="*/ 6926 w 0"/>
                <a:gd name="connsiteY1" fmla="*/ 16551 h 10221"/>
                <a:gd name="connsiteX2" fmla="*/ 9788 w 0"/>
                <a:gd name="connsiteY2" fmla="*/ 15017 h 10221"/>
                <a:gd name="connsiteX3" fmla="*/ 3042 w 0"/>
                <a:gd name="connsiteY3" fmla="*/ 810 h 10221"/>
                <a:gd name="connsiteX4" fmla="*/ 180 w 0"/>
                <a:gd name="connsiteY4" fmla="*/ 2343 h 10221"/>
                <a:gd name="connsiteX5" fmla="*/ 180 w 0"/>
                <a:gd name="connsiteY5" fmla="*/ 2343 h 10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h="10221">
                  <a:moveTo>
                    <a:pt x="180" y="2343"/>
                  </a:moveTo>
                  <a:cubicBezTo>
                    <a:pt x="2429" y="7045"/>
                    <a:pt x="4677" y="11849"/>
                    <a:pt x="6926" y="16551"/>
                  </a:cubicBezTo>
                  <a:cubicBezTo>
                    <a:pt x="7744" y="18390"/>
                    <a:pt x="10606" y="16755"/>
                    <a:pt x="9788" y="15017"/>
                  </a:cubicBezTo>
                  <a:cubicBezTo>
                    <a:pt x="7539" y="10315"/>
                    <a:pt x="5291" y="5511"/>
                    <a:pt x="3042" y="810"/>
                  </a:cubicBezTo>
                  <a:cubicBezTo>
                    <a:pt x="2122" y="-1030"/>
                    <a:pt x="-740" y="605"/>
                    <a:pt x="180" y="2343"/>
                  </a:cubicBezTo>
                  <a:lnTo>
                    <a:pt x="180" y="234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190AB25B-7524-4B92-8693-2E60FE489BDD}"/>
                </a:ext>
              </a:extLst>
            </p:cNvPr>
            <p:cNvSpPr/>
            <p:nvPr/>
          </p:nvSpPr>
          <p:spPr>
            <a:xfrm>
              <a:off x="9560017" y="4727250"/>
              <a:ext cx="7922" cy="15845"/>
            </a:xfrm>
            <a:custGeom>
              <a:avLst/>
              <a:gdLst>
                <a:gd name="connsiteX0" fmla="*/ 217 w 10221"/>
                <a:gd name="connsiteY0" fmla="*/ 2364 h 20442"/>
                <a:gd name="connsiteX1" fmla="*/ 14527 w 10221"/>
                <a:gd name="connsiteY1" fmla="*/ 28531 h 20442"/>
                <a:gd name="connsiteX2" fmla="*/ 17389 w 10221"/>
                <a:gd name="connsiteY2" fmla="*/ 26998 h 20442"/>
                <a:gd name="connsiteX3" fmla="*/ 3079 w 10221"/>
                <a:gd name="connsiteY3" fmla="*/ 831 h 20442"/>
                <a:gd name="connsiteX4" fmla="*/ 217 w 10221"/>
                <a:gd name="connsiteY4" fmla="*/ 2364 h 20442"/>
                <a:gd name="connsiteX5" fmla="*/ 217 w 10221"/>
                <a:gd name="connsiteY5" fmla="*/ 2364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20442">
                  <a:moveTo>
                    <a:pt x="217" y="2364"/>
                  </a:moveTo>
                  <a:cubicBezTo>
                    <a:pt x="5021" y="11052"/>
                    <a:pt x="9723" y="19842"/>
                    <a:pt x="14527" y="28531"/>
                  </a:cubicBezTo>
                  <a:cubicBezTo>
                    <a:pt x="15447" y="30268"/>
                    <a:pt x="18309" y="28735"/>
                    <a:pt x="17389" y="26998"/>
                  </a:cubicBezTo>
                  <a:cubicBezTo>
                    <a:pt x="12585" y="18309"/>
                    <a:pt x="7883" y="9519"/>
                    <a:pt x="3079" y="831"/>
                  </a:cubicBezTo>
                  <a:cubicBezTo>
                    <a:pt x="2057" y="-1009"/>
                    <a:pt x="-805" y="524"/>
                    <a:pt x="217" y="2364"/>
                  </a:cubicBezTo>
                  <a:lnTo>
                    <a:pt x="217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59A9EBF2-287D-44F6-B694-CCFB6E299B85}"/>
                </a:ext>
              </a:extLst>
            </p:cNvPr>
            <p:cNvSpPr/>
            <p:nvPr/>
          </p:nvSpPr>
          <p:spPr>
            <a:xfrm>
              <a:off x="9423170" y="4805569"/>
              <a:ext cx="39613" cy="23768"/>
            </a:xfrm>
            <a:custGeom>
              <a:avLst/>
              <a:gdLst>
                <a:gd name="connsiteX0" fmla="*/ 554 w 51107"/>
                <a:gd name="connsiteY0" fmla="*/ 2614 h 30664"/>
                <a:gd name="connsiteX1" fmla="*/ 57180 w 51107"/>
                <a:gd name="connsiteY1" fmla="*/ 39922 h 30664"/>
                <a:gd name="connsiteX2" fmla="*/ 58816 w 51107"/>
                <a:gd name="connsiteY2" fmla="*/ 37265 h 30664"/>
                <a:gd name="connsiteX3" fmla="*/ 2905 w 51107"/>
                <a:gd name="connsiteY3" fmla="*/ 365 h 30664"/>
                <a:gd name="connsiteX4" fmla="*/ 554 w 51107"/>
                <a:gd name="connsiteY4" fmla="*/ 2614 h 30664"/>
                <a:gd name="connsiteX5" fmla="*/ 554 w 51107"/>
                <a:gd name="connsiteY5" fmla="*/ 2614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30664">
                  <a:moveTo>
                    <a:pt x="554" y="2614"/>
                  </a:moveTo>
                  <a:cubicBezTo>
                    <a:pt x="18339" y="16515"/>
                    <a:pt x="37249" y="28985"/>
                    <a:pt x="57180" y="39922"/>
                  </a:cubicBezTo>
                  <a:cubicBezTo>
                    <a:pt x="59020" y="40944"/>
                    <a:pt x="60656" y="38287"/>
                    <a:pt x="58816" y="37265"/>
                  </a:cubicBezTo>
                  <a:cubicBezTo>
                    <a:pt x="39089" y="26430"/>
                    <a:pt x="20485" y="14164"/>
                    <a:pt x="2905" y="365"/>
                  </a:cubicBezTo>
                  <a:cubicBezTo>
                    <a:pt x="1269" y="-861"/>
                    <a:pt x="-1082" y="1285"/>
                    <a:pt x="554" y="2614"/>
                  </a:cubicBezTo>
                  <a:lnTo>
                    <a:pt x="554" y="261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1F25208D-89F4-4103-9762-2049EEDBC91A}"/>
                </a:ext>
              </a:extLst>
            </p:cNvPr>
            <p:cNvSpPr/>
            <p:nvPr/>
          </p:nvSpPr>
          <p:spPr>
            <a:xfrm>
              <a:off x="9439345" y="4808302"/>
              <a:ext cx="31691" cy="23768"/>
            </a:xfrm>
            <a:custGeom>
              <a:avLst/>
              <a:gdLst>
                <a:gd name="connsiteX0" fmla="*/ 741 w 40885"/>
                <a:gd name="connsiteY0" fmla="*/ 2973 h 30664"/>
                <a:gd name="connsiteX1" fmla="*/ 45716 w 40885"/>
                <a:gd name="connsiteY1" fmla="*/ 32821 h 30664"/>
                <a:gd name="connsiteX2" fmla="*/ 47351 w 40885"/>
                <a:gd name="connsiteY2" fmla="*/ 30163 h 30664"/>
                <a:gd name="connsiteX3" fmla="*/ 2377 w 40885"/>
                <a:gd name="connsiteY3" fmla="*/ 316 h 30664"/>
                <a:gd name="connsiteX4" fmla="*/ 741 w 40885"/>
                <a:gd name="connsiteY4" fmla="*/ 2973 h 30664"/>
                <a:gd name="connsiteX5" fmla="*/ 741 w 40885"/>
                <a:gd name="connsiteY5" fmla="*/ 2973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741" y="2973"/>
                  </a:moveTo>
                  <a:cubicBezTo>
                    <a:pt x="15767" y="12889"/>
                    <a:pt x="30690" y="22905"/>
                    <a:pt x="45716" y="32821"/>
                  </a:cubicBezTo>
                  <a:cubicBezTo>
                    <a:pt x="47454" y="33945"/>
                    <a:pt x="49089" y="31287"/>
                    <a:pt x="47351" y="30163"/>
                  </a:cubicBezTo>
                  <a:cubicBezTo>
                    <a:pt x="32326" y="20145"/>
                    <a:pt x="17402" y="10231"/>
                    <a:pt x="2377" y="316"/>
                  </a:cubicBezTo>
                  <a:cubicBezTo>
                    <a:pt x="639" y="-911"/>
                    <a:pt x="-996" y="1747"/>
                    <a:pt x="741" y="2973"/>
                  </a:cubicBezTo>
                  <a:lnTo>
                    <a:pt x="741" y="297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07FAC826-E3DB-44E5-9DC4-39552E1D9EB6}"/>
                </a:ext>
              </a:extLst>
            </p:cNvPr>
            <p:cNvSpPr/>
            <p:nvPr/>
          </p:nvSpPr>
          <p:spPr>
            <a:xfrm>
              <a:off x="9455026" y="4811568"/>
              <a:ext cx="23768" cy="15845"/>
            </a:xfrm>
            <a:custGeom>
              <a:avLst/>
              <a:gdLst>
                <a:gd name="connsiteX0" fmla="*/ 852 w 30664"/>
                <a:gd name="connsiteY0" fmla="*/ 2848 h 20442"/>
                <a:gd name="connsiteX1" fmla="*/ 38058 w 30664"/>
                <a:gd name="connsiteY1" fmla="*/ 25540 h 20442"/>
                <a:gd name="connsiteX2" fmla="*/ 39693 w 30664"/>
                <a:gd name="connsiteY2" fmla="*/ 22883 h 20442"/>
                <a:gd name="connsiteX3" fmla="*/ 2487 w 30664"/>
                <a:gd name="connsiteY3" fmla="*/ 191 h 20442"/>
                <a:gd name="connsiteX4" fmla="*/ 852 w 30664"/>
                <a:gd name="connsiteY4" fmla="*/ 2848 h 20442"/>
                <a:gd name="connsiteX5" fmla="*/ 852 w 30664"/>
                <a:gd name="connsiteY5" fmla="*/ 2848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852" y="2848"/>
                  </a:moveTo>
                  <a:cubicBezTo>
                    <a:pt x="13731" y="9696"/>
                    <a:pt x="26201" y="17260"/>
                    <a:pt x="38058" y="25540"/>
                  </a:cubicBezTo>
                  <a:cubicBezTo>
                    <a:pt x="39796" y="26766"/>
                    <a:pt x="41431" y="24007"/>
                    <a:pt x="39693" y="22883"/>
                  </a:cubicBezTo>
                  <a:cubicBezTo>
                    <a:pt x="27734" y="14603"/>
                    <a:pt x="15366" y="7039"/>
                    <a:pt x="2487" y="191"/>
                  </a:cubicBezTo>
                  <a:cubicBezTo>
                    <a:pt x="647" y="-729"/>
                    <a:pt x="-1090" y="1928"/>
                    <a:pt x="852" y="2848"/>
                  </a:cubicBezTo>
                  <a:lnTo>
                    <a:pt x="852" y="284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17C3F27F-258D-482B-A4E9-7A0D3DFCE78D}"/>
                </a:ext>
              </a:extLst>
            </p:cNvPr>
            <p:cNvSpPr/>
            <p:nvPr/>
          </p:nvSpPr>
          <p:spPr>
            <a:xfrm>
              <a:off x="9467995" y="4810209"/>
              <a:ext cx="23768" cy="15845"/>
            </a:xfrm>
            <a:custGeom>
              <a:avLst/>
              <a:gdLst>
                <a:gd name="connsiteX0" fmla="*/ 677 w 30664"/>
                <a:gd name="connsiteY0" fmla="*/ 2965 h 20442"/>
                <a:gd name="connsiteX1" fmla="*/ 35328 w 30664"/>
                <a:gd name="connsiteY1" fmla="*/ 20852 h 20442"/>
                <a:gd name="connsiteX2" fmla="*/ 36146 w 30664"/>
                <a:gd name="connsiteY2" fmla="*/ 17888 h 20442"/>
                <a:gd name="connsiteX3" fmla="*/ 2313 w 30664"/>
                <a:gd name="connsiteY3" fmla="*/ 308 h 20442"/>
                <a:gd name="connsiteX4" fmla="*/ 677 w 30664"/>
                <a:gd name="connsiteY4" fmla="*/ 2965 h 20442"/>
                <a:gd name="connsiteX5" fmla="*/ 677 w 30664"/>
                <a:gd name="connsiteY5" fmla="*/ 2965 h 20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20442">
                  <a:moveTo>
                    <a:pt x="677" y="2965"/>
                  </a:moveTo>
                  <a:cubicBezTo>
                    <a:pt x="11410" y="10325"/>
                    <a:pt x="22960" y="16253"/>
                    <a:pt x="35328" y="20852"/>
                  </a:cubicBezTo>
                  <a:cubicBezTo>
                    <a:pt x="37270" y="21568"/>
                    <a:pt x="38190" y="18604"/>
                    <a:pt x="36146" y="17888"/>
                  </a:cubicBezTo>
                  <a:cubicBezTo>
                    <a:pt x="24084" y="13391"/>
                    <a:pt x="12841" y="7565"/>
                    <a:pt x="2313" y="308"/>
                  </a:cubicBezTo>
                  <a:cubicBezTo>
                    <a:pt x="677" y="-919"/>
                    <a:pt x="-958" y="1841"/>
                    <a:pt x="677" y="2965"/>
                  </a:cubicBezTo>
                  <a:lnTo>
                    <a:pt x="677" y="296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7DFC8B50-76A6-43C2-87C1-879D689CF4D6}"/>
                </a:ext>
              </a:extLst>
            </p:cNvPr>
            <p:cNvSpPr/>
            <p:nvPr/>
          </p:nvSpPr>
          <p:spPr>
            <a:xfrm>
              <a:off x="9246851" y="4814719"/>
              <a:ext cx="55458" cy="55458"/>
            </a:xfrm>
            <a:custGeom>
              <a:avLst/>
              <a:gdLst>
                <a:gd name="connsiteX0" fmla="*/ 3161 w 71550"/>
                <a:gd name="connsiteY0" fmla="*/ 71049 h 71550"/>
                <a:gd name="connsiteX1" fmla="*/ 71032 w 71550"/>
                <a:gd name="connsiteY1" fmla="*/ 2565 h 71550"/>
                <a:gd name="connsiteX2" fmla="*/ 68681 w 71550"/>
                <a:gd name="connsiteY2" fmla="*/ 418 h 71550"/>
                <a:gd name="connsiteX3" fmla="*/ 299 w 71550"/>
                <a:gd name="connsiteY3" fmla="*/ 69515 h 71550"/>
                <a:gd name="connsiteX4" fmla="*/ 3161 w 71550"/>
                <a:gd name="connsiteY4" fmla="*/ 71049 h 71550"/>
                <a:gd name="connsiteX5" fmla="*/ 3161 w 71550"/>
                <a:gd name="connsiteY5" fmla="*/ 71049 h 7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550" h="71550">
                  <a:moveTo>
                    <a:pt x="3161" y="71049"/>
                  </a:moveTo>
                  <a:cubicBezTo>
                    <a:pt x="22786" y="45699"/>
                    <a:pt x="45478" y="22701"/>
                    <a:pt x="71032" y="2565"/>
                  </a:cubicBezTo>
                  <a:cubicBezTo>
                    <a:pt x="72667" y="1236"/>
                    <a:pt x="70316" y="-911"/>
                    <a:pt x="68681" y="418"/>
                  </a:cubicBezTo>
                  <a:cubicBezTo>
                    <a:pt x="43025" y="20861"/>
                    <a:pt x="20129" y="43962"/>
                    <a:pt x="299" y="69515"/>
                  </a:cubicBezTo>
                  <a:cubicBezTo>
                    <a:pt x="-927" y="71151"/>
                    <a:pt x="1935" y="72684"/>
                    <a:pt x="3161" y="71049"/>
                  </a:cubicBezTo>
                  <a:lnTo>
                    <a:pt x="3161" y="71049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7D18D150-F4B9-4474-990B-FAD78A974D16}"/>
                </a:ext>
              </a:extLst>
            </p:cNvPr>
            <p:cNvSpPr/>
            <p:nvPr/>
          </p:nvSpPr>
          <p:spPr>
            <a:xfrm>
              <a:off x="9258105" y="4817421"/>
              <a:ext cx="47536" cy="39613"/>
            </a:xfrm>
            <a:custGeom>
              <a:avLst/>
              <a:gdLst>
                <a:gd name="connsiteX0" fmla="*/ 2850 w 61328"/>
                <a:gd name="connsiteY0" fmla="*/ 54172 h 51107"/>
                <a:gd name="connsiteX1" fmla="*/ 63054 w 61328"/>
                <a:gd name="connsiteY1" fmla="*/ 2553 h 51107"/>
                <a:gd name="connsiteX2" fmla="*/ 60703 w 61328"/>
                <a:gd name="connsiteY2" fmla="*/ 407 h 51107"/>
                <a:gd name="connsiteX3" fmla="*/ 499 w 61328"/>
                <a:gd name="connsiteY3" fmla="*/ 52025 h 51107"/>
                <a:gd name="connsiteX4" fmla="*/ 2850 w 61328"/>
                <a:gd name="connsiteY4" fmla="*/ 54172 h 51107"/>
                <a:gd name="connsiteX5" fmla="*/ 2850 w 61328"/>
                <a:gd name="connsiteY5" fmla="*/ 5417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1328" h="51107">
                  <a:moveTo>
                    <a:pt x="2850" y="54172"/>
                  </a:moveTo>
                  <a:cubicBezTo>
                    <a:pt x="22066" y="36079"/>
                    <a:pt x="42100" y="18805"/>
                    <a:pt x="63054" y="2553"/>
                  </a:cubicBezTo>
                  <a:cubicBezTo>
                    <a:pt x="64689" y="1326"/>
                    <a:pt x="62338" y="-922"/>
                    <a:pt x="60703" y="407"/>
                  </a:cubicBezTo>
                  <a:cubicBezTo>
                    <a:pt x="39749" y="16658"/>
                    <a:pt x="19715" y="33933"/>
                    <a:pt x="499" y="52025"/>
                  </a:cubicBezTo>
                  <a:cubicBezTo>
                    <a:pt x="-1035" y="53456"/>
                    <a:pt x="1316" y="55603"/>
                    <a:pt x="2850" y="54172"/>
                  </a:cubicBezTo>
                  <a:lnTo>
                    <a:pt x="2850" y="5417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4443EAC7-BC1F-4C0B-848B-712C3040D7E7}"/>
                </a:ext>
              </a:extLst>
            </p:cNvPr>
            <p:cNvSpPr/>
            <p:nvPr/>
          </p:nvSpPr>
          <p:spPr>
            <a:xfrm>
              <a:off x="9259012" y="4827316"/>
              <a:ext cx="39613" cy="31691"/>
            </a:xfrm>
            <a:custGeom>
              <a:avLst/>
              <a:gdLst>
                <a:gd name="connsiteX0" fmla="*/ 2804 w 51107"/>
                <a:gd name="connsiteY0" fmla="*/ 46415 h 40885"/>
                <a:gd name="connsiteX1" fmla="*/ 57591 w 51107"/>
                <a:gd name="connsiteY1" fmla="*/ 2565 h 40885"/>
                <a:gd name="connsiteX2" fmla="*/ 55240 w 51107"/>
                <a:gd name="connsiteY2" fmla="*/ 418 h 40885"/>
                <a:gd name="connsiteX3" fmla="*/ 555 w 51107"/>
                <a:gd name="connsiteY3" fmla="*/ 44268 h 40885"/>
                <a:gd name="connsiteX4" fmla="*/ 2804 w 51107"/>
                <a:gd name="connsiteY4" fmla="*/ 46415 h 40885"/>
                <a:gd name="connsiteX5" fmla="*/ 2804 w 51107"/>
                <a:gd name="connsiteY5" fmla="*/ 46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804" y="46415"/>
                  </a:moveTo>
                  <a:cubicBezTo>
                    <a:pt x="21100" y="31798"/>
                    <a:pt x="39294" y="17181"/>
                    <a:pt x="57591" y="2565"/>
                  </a:cubicBezTo>
                  <a:cubicBezTo>
                    <a:pt x="59226" y="1236"/>
                    <a:pt x="56875" y="-911"/>
                    <a:pt x="55240" y="418"/>
                  </a:cubicBezTo>
                  <a:cubicBezTo>
                    <a:pt x="37046" y="15035"/>
                    <a:pt x="18749" y="29651"/>
                    <a:pt x="555" y="44268"/>
                  </a:cubicBezTo>
                  <a:cubicBezTo>
                    <a:pt x="-1080" y="45494"/>
                    <a:pt x="1271" y="47641"/>
                    <a:pt x="2804" y="46415"/>
                  </a:cubicBezTo>
                  <a:lnTo>
                    <a:pt x="2804" y="46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DB5C6CBF-0F32-4A72-96DF-1447166FA777}"/>
                </a:ext>
              </a:extLst>
            </p:cNvPr>
            <p:cNvSpPr/>
            <p:nvPr/>
          </p:nvSpPr>
          <p:spPr>
            <a:xfrm>
              <a:off x="9274980" y="4829218"/>
              <a:ext cx="31691" cy="23768"/>
            </a:xfrm>
            <a:custGeom>
              <a:avLst/>
              <a:gdLst>
                <a:gd name="connsiteX0" fmla="*/ 2850 w 40885"/>
                <a:gd name="connsiteY0" fmla="*/ 36398 h 30664"/>
                <a:gd name="connsiteX1" fmla="*/ 45064 w 40885"/>
                <a:gd name="connsiteY1" fmla="*/ 2565 h 30664"/>
                <a:gd name="connsiteX2" fmla="*/ 42713 w 40885"/>
                <a:gd name="connsiteY2" fmla="*/ 418 h 30664"/>
                <a:gd name="connsiteX3" fmla="*/ 499 w 40885"/>
                <a:gd name="connsiteY3" fmla="*/ 34251 h 30664"/>
                <a:gd name="connsiteX4" fmla="*/ 2850 w 40885"/>
                <a:gd name="connsiteY4" fmla="*/ 36398 h 30664"/>
                <a:gd name="connsiteX5" fmla="*/ 2850 w 40885"/>
                <a:gd name="connsiteY5" fmla="*/ 36398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850" y="36398"/>
                  </a:moveTo>
                  <a:cubicBezTo>
                    <a:pt x="16955" y="25154"/>
                    <a:pt x="30959" y="13910"/>
                    <a:pt x="45064" y="2565"/>
                  </a:cubicBezTo>
                  <a:cubicBezTo>
                    <a:pt x="46700" y="1236"/>
                    <a:pt x="44349" y="-911"/>
                    <a:pt x="42713" y="418"/>
                  </a:cubicBezTo>
                  <a:cubicBezTo>
                    <a:pt x="28608" y="11661"/>
                    <a:pt x="14604" y="22905"/>
                    <a:pt x="499" y="34251"/>
                  </a:cubicBezTo>
                  <a:cubicBezTo>
                    <a:pt x="-1034" y="35478"/>
                    <a:pt x="1316" y="37624"/>
                    <a:pt x="2850" y="36398"/>
                  </a:cubicBezTo>
                  <a:lnTo>
                    <a:pt x="2850" y="36398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F2860D4C-F52D-411A-8736-746C55F692AA}"/>
                </a:ext>
              </a:extLst>
            </p:cNvPr>
            <p:cNvSpPr/>
            <p:nvPr/>
          </p:nvSpPr>
          <p:spPr>
            <a:xfrm>
              <a:off x="9286821" y="4828592"/>
              <a:ext cx="31691" cy="23768"/>
            </a:xfrm>
            <a:custGeom>
              <a:avLst/>
              <a:gdLst>
                <a:gd name="connsiteX0" fmla="*/ 2905 w 40885"/>
                <a:gd name="connsiteY0" fmla="*/ 33626 h 30664"/>
                <a:gd name="connsiteX1" fmla="*/ 42462 w 40885"/>
                <a:gd name="connsiteY1" fmla="*/ 2553 h 30664"/>
                <a:gd name="connsiteX2" fmla="*/ 40111 w 40885"/>
                <a:gd name="connsiteY2" fmla="*/ 407 h 30664"/>
                <a:gd name="connsiteX3" fmla="*/ 554 w 40885"/>
                <a:gd name="connsiteY3" fmla="*/ 31480 h 30664"/>
                <a:gd name="connsiteX4" fmla="*/ 2905 w 40885"/>
                <a:gd name="connsiteY4" fmla="*/ 33626 h 30664"/>
                <a:gd name="connsiteX5" fmla="*/ 2905 w 40885"/>
                <a:gd name="connsiteY5" fmla="*/ 33626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3626"/>
                  </a:moveTo>
                  <a:cubicBezTo>
                    <a:pt x="16090" y="23303"/>
                    <a:pt x="29276" y="12877"/>
                    <a:pt x="42462" y="2553"/>
                  </a:cubicBezTo>
                  <a:cubicBezTo>
                    <a:pt x="44097" y="1327"/>
                    <a:pt x="41746" y="-922"/>
                    <a:pt x="40111" y="407"/>
                  </a:cubicBezTo>
                  <a:cubicBezTo>
                    <a:pt x="26925" y="10730"/>
                    <a:pt x="13739" y="21156"/>
                    <a:pt x="554" y="31480"/>
                  </a:cubicBezTo>
                  <a:cubicBezTo>
                    <a:pt x="-1082" y="32707"/>
                    <a:pt x="1269" y="34853"/>
                    <a:pt x="2905" y="33626"/>
                  </a:cubicBezTo>
                  <a:lnTo>
                    <a:pt x="2905" y="336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F87EB501-4A51-4368-ABA9-7D0E27B97832}"/>
                </a:ext>
              </a:extLst>
            </p:cNvPr>
            <p:cNvSpPr/>
            <p:nvPr/>
          </p:nvSpPr>
          <p:spPr>
            <a:xfrm>
              <a:off x="9258226" y="4793996"/>
              <a:ext cx="39613" cy="31691"/>
            </a:xfrm>
            <a:custGeom>
              <a:avLst/>
              <a:gdLst>
                <a:gd name="connsiteX0" fmla="*/ 2796 w 51107"/>
                <a:gd name="connsiteY0" fmla="*/ 48415 h 40885"/>
                <a:gd name="connsiteX1" fmla="*/ 59423 w 51107"/>
                <a:gd name="connsiteY1" fmla="*/ 2929 h 40885"/>
                <a:gd name="connsiteX2" fmla="*/ 57788 w 51107"/>
                <a:gd name="connsiteY2" fmla="*/ 272 h 40885"/>
                <a:gd name="connsiteX3" fmla="*/ 445 w 51107"/>
                <a:gd name="connsiteY3" fmla="*/ 46268 h 40885"/>
                <a:gd name="connsiteX4" fmla="*/ 2796 w 51107"/>
                <a:gd name="connsiteY4" fmla="*/ 48415 h 40885"/>
                <a:gd name="connsiteX5" fmla="*/ 2796 w 51107"/>
                <a:gd name="connsiteY5" fmla="*/ 4841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1107" h="40885">
                  <a:moveTo>
                    <a:pt x="2796" y="48415"/>
                  </a:moveTo>
                  <a:cubicBezTo>
                    <a:pt x="20173" y="31651"/>
                    <a:pt x="39082" y="16422"/>
                    <a:pt x="59423" y="2929"/>
                  </a:cubicBezTo>
                  <a:cubicBezTo>
                    <a:pt x="61161" y="1805"/>
                    <a:pt x="59525" y="-853"/>
                    <a:pt x="57788" y="272"/>
                  </a:cubicBezTo>
                  <a:cubicBezTo>
                    <a:pt x="37243" y="13969"/>
                    <a:pt x="18026" y="29301"/>
                    <a:pt x="445" y="46268"/>
                  </a:cubicBezTo>
                  <a:cubicBezTo>
                    <a:pt x="-986" y="47597"/>
                    <a:pt x="1365" y="49846"/>
                    <a:pt x="2796" y="48415"/>
                  </a:cubicBezTo>
                  <a:lnTo>
                    <a:pt x="2796" y="4841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AB0FDFB6-887D-466C-899B-2F6BAE2B0F59}"/>
                </a:ext>
              </a:extLst>
            </p:cNvPr>
            <p:cNvSpPr/>
            <p:nvPr/>
          </p:nvSpPr>
          <p:spPr>
            <a:xfrm>
              <a:off x="9260281" y="4795105"/>
              <a:ext cx="31691" cy="23768"/>
            </a:xfrm>
            <a:custGeom>
              <a:avLst/>
              <a:gdLst>
                <a:gd name="connsiteX0" fmla="*/ 2905 w 40885"/>
                <a:gd name="connsiteY0" fmla="*/ 34002 h 30664"/>
                <a:gd name="connsiteX1" fmla="*/ 46039 w 40885"/>
                <a:gd name="connsiteY1" fmla="*/ 2929 h 30664"/>
                <a:gd name="connsiteX2" fmla="*/ 44404 w 40885"/>
                <a:gd name="connsiteY2" fmla="*/ 272 h 30664"/>
                <a:gd name="connsiteX3" fmla="*/ 554 w 40885"/>
                <a:gd name="connsiteY3" fmla="*/ 31754 h 30664"/>
                <a:gd name="connsiteX4" fmla="*/ 2905 w 40885"/>
                <a:gd name="connsiteY4" fmla="*/ 34002 h 30664"/>
                <a:gd name="connsiteX5" fmla="*/ 2905 w 40885"/>
                <a:gd name="connsiteY5" fmla="*/ 34002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85" h="30664">
                  <a:moveTo>
                    <a:pt x="2905" y="34002"/>
                  </a:moveTo>
                  <a:cubicBezTo>
                    <a:pt x="16806" y="23066"/>
                    <a:pt x="31116" y="12640"/>
                    <a:pt x="46039" y="2929"/>
                  </a:cubicBezTo>
                  <a:cubicBezTo>
                    <a:pt x="47777" y="1805"/>
                    <a:pt x="46141" y="-853"/>
                    <a:pt x="44404" y="272"/>
                  </a:cubicBezTo>
                  <a:cubicBezTo>
                    <a:pt x="29276" y="10187"/>
                    <a:pt x="14659" y="20612"/>
                    <a:pt x="554" y="31754"/>
                  </a:cubicBezTo>
                  <a:cubicBezTo>
                    <a:pt x="-1082" y="33083"/>
                    <a:pt x="1269" y="35331"/>
                    <a:pt x="2905" y="34002"/>
                  </a:cubicBezTo>
                  <a:lnTo>
                    <a:pt x="2905" y="34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0C03157A-2F2B-4E90-BDD2-D07D11B1F2BC}"/>
                </a:ext>
              </a:extLst>
            </p:cNvPr>
            <p:cNvSpPr/>
            <p:nvPr/>
          </p:nvSpPr>
          <p:spPr>
            <a:xfrm>
              <a:off x="9180682" y="4724212"/>
              <a:ext cx="23768" cy="39613"/>
            </a:xfrm>
            <a:custGeom>
              <a:avLst/>
              <a:gdLst>
                <a:gd name="connsiteX0" fmla="*/ 3079 w 30664"/>
                <a:gd name="connsiteY0" fmla="*/ 52587 h 51107"/>
                <a:gd name="connsiteX1" fmla="*/ 33232 w 30664"/>
                <a:gd name="connsiteY1" fmla="*/ 2297 h 51107"/>
                <a:gd name="connsiteX2" fmla="*/ 30370 w 30664"/>
                <a:gd name="connsiteY2" fmla="*/ 764 h 51107"/>
                <a:gd name="connsiteX3" fmla="*/ 217 w 30664"/>
                <a:gd name="connsiteY3" fmla="*/ 51054 h 51107"/>
                <a:gd name="connsiteX4" fmla="*/ 3079 w 30664"/>
                <a:gd name="connsiteY4" fmla="*/ 52587 h 51107"/>
                <a:gd name="connsiteX5" fmla="*/ 3079 w 30664"/>
                <a:gd name="connsiteY5" fmla="*/ 52587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79" y="52587"/>
                  </a:moveTo>
                  <a:cubicBezTo>
                    <a:pt x="13096" y="35824"/>
                    <a:pt x="23215" y="19061"/>
                    <a:pt x="33232" y="2297"/>
                  </a:cubicBezTo>
                  <a:cubicBezTo>
                    <a:pt x="34255" y="560"/>
                    <a:pt x="31393" y="-973"/>
                    <a:pt x="30370" y="764"/>
                  </a:cubicBezTo>
                  <a:cubicBezTo>
                    <a:pt x="20353" y="17528"/>
                    <a:pt x="10336" y="34291"/>
                    <a:pt x="217" y="51054"/>
                  </a:cubicBezTo>
                  <a:cubicBezTo>
                    <a:pt x="-805" y="52791"/>
                    <a:pt x="2057" y="54325"/>
                    <a:pt x="3079" y="52587"/>
                  </a:cubicBezTo>
                  <a:lnTo>
                    <a:pt x="3079" y="52587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B2CDA440-BC56-425B-9B28-3C3D99C1BDD0}"/>
                </a:ext>
              </a:extLst>
            </p:cNvPr>
            <p:cNvSpPr/>
            <p:nvPr/>
          </p:nvSpPr>
          <p:spPr>
            <a:xfrm>
              <a:off x="9182692" y="4732185"/>
              <a:ext cx="23768" cy="39613"/>
            </a:xfrm>
            <a:custGeom>
              <a:avLst/>
              <a:gdLst>
                <a:gd name="connsiteX0" fmla="*/ 3042 w 30664"/>
                <a:gd name="connsiteY0" fmla="*/ 51295 h 51107"/>
                <a:gd name="connsiteX1" fmla="*/ 33195 w 30664"/>
                <a:gd name="connsiteY1" fmla="*/ 2232 h 51107"/>
                <a:gd name="connsiteX2" fmla="*/ 30333 w 30664"/>
                <a:gd name="connsiteY2" fmla="*/ 699 h 51107"/>
                <a:gd name="connsiteX3" fmla="*/ 180 w 30664"/>
                <a:gd name="connsiteY3" fmla="*/ 49762 h 51107"/>
                <a:gd name="connsiteX4" fmla="*/ 3042 w 30664"/>
                <a:gd name="connsiteY4" fmla="*/ 51295 h 51107"/>
                <a:gd name="connsiteX5" fmla="*/ 3042 w 30664"/>
                <a:gd name="connsiteY5" fmla="*/ 51295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664" h="51107">
                  <a:moveTo>
                    <a:pt x="3042" y="51295"/>
                  </a:moveTo>
                  <a:cubicBezTo>
                    <a:pt x="12037" y="34328"/>
                    <a:pt x="22156" y="17973"/>
                    <a:pt x="33195" y="2232"/>
                  </a:cubicBezTo>
                  <a:cubicBezTo>
                    <a:pt x="34319" y="597"/>
                    <a:pt x="31560" y="-936"/>
                    <a:pt x="30333" y="699"/>
                  </a:cubicBezTo>
                  <a:cubicBezTo>
                    <a:pt x="19294" y="16543"/>
                    <a:pt x="9175" y="32897"/>
                    <a:pt x="180" y="49762"/>
                  </a:cubicBezTo>
                  <a:cubicBezTo>
                    <a:pt x="-740" y="51500"/>
                    <a:pt x="2122" y="53135"/>
                    <a:pt x="3042" y="51295"/>
                  </a:cubicBezTo>
                  <a:lnTo>
                    <a:pt x="3042" y="5129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59862935-F17F-4257-BCAC-1BF53A98CEBD}"/>
                </a:ext>
              </a:extLst>
            </p:cNvPr>
            <p:cNvSpPr/>
            <p:nvPr/>
          </p:nvSpPr>
          <p:spPr>
            <a:xfrm>
              <a:off x="9191611" y="4740374"/>
              <a:ext cx="15845" cy="23768"/>
            </a:xfrm>
            <a:custGeom>
              <a:avLst/>
              <a:gdLst>
                <a:gd name="connsiteX0" fmla="*/ 3085 w 20442"/>
                <a:gd name="connsiteY0" fmla="*/ 39810 h 30664"/>
                <a:gd name="connsiteX1" fmla="*/ 27616 w 20442"/>
                <a:gd name="connsiteY1" fmla="*/ 2298 h 30664"/>
                <a:gd name="connsiteX2" fmla="*/ 24754 w 20442"/>
                <a:gd name="connsiteY2" fmla="*/ 764 h 30664"/>
                <a:gd name="connsiteX3" fmla="*/ 223 w 20442"/>
                <a:gd name="connsiteY3" fmla="*/ 38277 h 30664"/>
                <a:gd name="connsiteX4" fmla="*/ 3085 w 20442"/>
                <a:gd name="connsiteY4" fmla="*/ 39810 h 30664"/>
                <a:gd name="connsiteX5" fmla="*/ 3085 w 20442"/>
                <a:gd name="connsiteY5" fmla="*/ 39810 h 30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30664">
                  <a:moveTo>
                    <a:pt x="3085" y="39810"/>
                  </a:moveTo>
                  <a:cubicBezTo>
                    <a:pt x="11262" y="27340"/>
                    <a:pt x="19439" y="14768"/>
                    <a:pt x="27616" y="2298"/>
                  </a:cubicBezTo>
                  <a:cubicBezTo>
                    <a:pt x="28741" y="560"/>
                    <a:pt x="25879" y="-973"/>
                    <a:pt x="24754" y="764"/>
                  </a:cubicBezTo>
                  <a:cubicBezTo>
                    <a:pt x="16577" y="13235"/>
                    <a:pt x="8400" y="25705"/>
                    <a:pt x="223" y="38277"/>
                  </a:cubicBezTo>
                  <a:cubicBezTo>
                    <a:pt x="-799" y="39912"/>
                    <a:pt x="1961" y="41548"/>
                    <a:pt x="3085" y="39810"/>
                  </a:cubicBezTo>
                  <a:lnTo>
                    <a:pt x="3085" y="39810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AB89A334-D5A9-4A39-BE43-AC62D533B37A}"/>
                </a:ext>
              </a:extLst>
            </p:cNvPr>
            <p:cNvSpPr/>
            <p:nvPr/>
          </p:nvSpPr>
          <p:spPr>
            <a:xfrm>
              <a:off x="9194832" y="4748154"/>
              <a:ext cx="15845" cy="31691"/>
            </a:xfrm>
            <a:custGeom>
              <a:avLst/>
              <a:gdLst>
                <a:gd name="connsiteX0" fmla="*/ 3119 w 20442"/>
                <a:gd name="connsiteY0" fmla="*/ 41426 h 40885"/>
                <a:gd name="connsiteX1" fmla="*/ 29797 w 20442"/>
                <a:gd name="connsiteY1" fmla="*/ 2278 h 40885"/>
                <a:gd name="connsiteX2" fmla="*/ 26935 w 20442"/>
                <a:gd name="connsiteY2" fmla="*/ 744 h 40885"/>
                <a:gd name="connsiteX3" fmla="*/ 257 w 20442"/>
                <a:gd name="connsiteY3" fmla="*/ 39892 h 40885"/>
                <a:gd name="connsiteX4" fmla="*/ 3119 w 20442"/>
                <a:gd name="connsiteY4" fmla="*/ 41426 h 40885"/>
                <a:gd name="connsiteX5" fmla="*/ 3119 w 20442"/>
                <a:gd name="connsiteY5" fmla="*/ 41426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3119" y="41426"/>
                  </a:moveTo>
                  <a:cubicBezTo>
                    <a:pt x="12012" y="28342"/>
                    <a:pt x="20904" y="15361"/>
                    <a:pt x="29797" y="2278"/>
                  </a:cubicBezTo>
                  <a:cubicBezTo>
                    <a:pt x="30921" y="642"/>
                    <a:pt x="28059" y="-993"/>
                    <a:pt x="26935" y="744"/>
                  </a:cubicBezTo>
                  <a:cubicBezTo>
                    <a:pt x="18042" y="13828"/>
                    <a:pt x="9150" y="26809"/>
                    <a:pt x="257" y="39892"/>
                  </a:cubicBezTo>
                  <a:cubicBezTo>
                    <a:pt x="-867" y="41528"/>
                    <a:pt x="1995" y="43163"/>
                    <a:pt x="3119" y="41426"/>
                  </a:cubicBezTo>
                  <a:lnTo>
                    <a:pt x="3119" y="41426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7B70790B-7E5A-4503-8C54-C79F85C8C43A}"/>
                </a:ext>
              </a:extLst>
            </p:cNvPr>
            <p:cNvSpPr/>
            <p:nvPr/>
          </p:nvSpPr>
          <p:spPr>
            <a:xfrm>
              <a:off x="9135393" y="4688191"/>
              <a:ext cx="15845" cy="31691"/>
            </a:xfrm>
            <a:custGeom>
              <a:avLst/>
              <a:gdLst>
                <a:gd name="connsiteX0" fmla="*/ 180 w 20442"/>
                <a:gd name="connsiteY0" fmla="*/ 2364 h 40885"/>
                <a:gd name="connsiteX1" fmla="*/ 21645 w 20442"/>
                <a:gd name="connsiteY1" fmla="*/ 47747 h 40885"/>
                <a:gd name="connsiteX2" fmla="*/ 24507 w 20442"/>
                <a:gd name="connsiteY2" fmla="*/ 46214 h 40885"/>
                <a:gd name="connsiteX3" fmla="*/ 3042 w 20442"/>
                <a:gd name="connsiteY3" fmla="*/ 831 h 40885"/>
                <a:gd name="connsiteX4" fmla="*/ 180 w 20442"/>
                <a:gd name="connsiteY4" fmla="*/ 2364 h 40885"/>
                <a:gd name="connsiteX5" fmla="*/ 180 w 20442"/>
                <a:gd name="connsiteY5" fmla="*/ 2364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442" h="40885">
                  <a:moveTo>
                    <a:pt x="180" y="2364"/>
                  </a:moveTo>
                  <a:cubicBezTo>
                    <a:pt x="7335" y="17492"/>
                    <a:pt x="14490" y="32619"/>
                    <a:pt x="21645" y="47747"/>
                  </a:cubicBezTo>
                  <a:cubicBezTo>
                    <a:pt x="22463" y="49587"/>
                    <a:pt x="25325" y="47952"/>
                    <a:pt x="24507" y="46214"/>
                  </a:cubicBezTo>
                  <a:cubicBezTo>
                    <a:pt x="17352" y="31086"/>
                    <a:pt x="10197" y="15958"/>
                    <a:pt x="3042" y="831"/>
                  </a:cubicBezTo>
                  <a:cubicBezTo>
                    <a:pt x="2122" y="-1009"/>
                    <a:pt x="-740" y="524"/>
                    <a:pt x="180" y="2364"/>
                  </a:cubicBezTo>
                  <a:lnTo>
                    <a:pt x="180" y="2364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F87B1798-9E45-4292-ADF1-C7E22E6CF587}"/>
                </a:ext>
              </a:extLst>
            </p:cNvPr>
            <p:cNvSpPr/>
            <p:nvPr/>
          </p:nvSpPr>
          <p:spPr>
            <a:xfrm>
              <a:off x="9150109" y="4698331"/>
              <a:ext cx="7922" cy="31691"/>
            </a:xfrm>
            <a:custGeom>
              <a:avLst/>
              <a:gdLst>
                <a:gd name="connsiteX0" fmla="*/ 104 w 10221"/>
                <a:gd name="connsiteY0" fmla="*/ 1855 h 40885"/>
                <a:gd name="connsiteX1" fmla="*/ 16357 w 10221"/>
                <a:gd name="connsiteY1" fmla="*/ 41923 h 40885"/>
                <a:gd name="connsiteX2" fmla="*/ 19525 w 10221"/>
                <a:gd name="connsiteY2" fmla="*/ 41105 h 40885"/>
                <a:gd name="connsiteX3" fmla="*/ 3273 w 10221"/>
                <a:gd name="connsiteY3" fmla="*/ 1037 h 40885"/>
                <a:gd name="connsiteX4" fmla="*/ 104 w 10221"/>
                <a:gd name="connsiteY4" fmla="*/ 1855 h 40885"/>
                <a:gd name="connsiteX5" fmla="*/ 104 w 10221"/>
                <a:gd name="connsiteY5" fmla="*/ 1855 h 408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40885">
                  <a:moveTo>
                    <a:pt x="104" y="1855"/>
                  </a:moveTo>
                  <a:cubicBezTo>
                    <a:pt x="5522" y="15245"/>
                    <a:pt x="10939" y="28533"/>
                    <a:pt x="16357" y="41923"/>
                  </a:cubicBezTo>
                  <a:cubicBezTo>
                    <a:pt x="17072" y="43763"/>
                    <a:pt x="20241" y="42945"/>
                    <a:pt x="19525" y="41105"/>
                  </a:cubicBezTo>
                  <a:cubicBezTo>
                    <a:pt x="14108" y="27715"/>
                    <a:pt x="8690" y="14427"/>
                    <a:pt x="3273" y="1037"/>
                  </a:cubicBezTo>
                  <a:cubicBezTo>
                    <a:pt x="2558" y="-803"/>
                    <a:pt x="-611" y="15"/>
                    <a:pt x="104" y="1855"/>
                  </a:cubicBezTo>
                  <a:lnTo>
                    <a:pt x="104" y="1855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FF454FB4-ADF9-43A1-AF09-D2C37B99FDEA}"/>
                </a:ext>
              </a:extLst>
            </p:cNvPr>
            <p:cNvSpPr/>
            <p:nvPr/>
          </p:nvSpPr>
          <p:spPr>
            <a:xfrm>
              <a:off x="8696365" y="4102910"/>
              <a:ext cx="7922" cy="71304"/>
            </a:xfrm>
            <a:custGeom>
              <a:avLst/>
              <a:gdLst>
                <a:gd name="connsiteX0" fmla="*/ 21 w 10221"/>
                <a:gd name="connsiteY0" fmla="*/ 2002 h 91992"/>
                <a:gd name="connsiteX1" fmla="*/ 17091 w 10221"/>
                <a:gd name="connsiteY1" fmla="*/ 91337 h 91992"/>
                <a:gd name="connsiteX2" fmla="*/ 20259 w 10221"/>
                <a:gd name="connsiteY2" fmla="*/ 90520 h 91992"/>
                <a:gd name="connsiteX3" fmla="*/ 3189 w 10221"/>
                <a:gd name="connsiteY3" fmla="*/ 1184 h 91992"/>
                <a:gd name="connsiteX4" fmla="*/ 21 w 10221"/>
                <a:gd name="connsiteY4" fmla="*/ 2002 h 91992"/>
                <a:gd name="connsiteX5" fmla="*/ 21 w 10221"/>
                <a:gd name="connsiteY5" fmla="*/ 2002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1" y="2002"/>
                  </a:moveTo>
                  <a:cubicBezTo>
                    <a:pt x="5029" y="31951"/>
                    <a:pt x="10753" y="61695"/>
                    <a:pt x="17091" y="91337"/>
                  </a:cubicBezTo>
                  <a:cubicBezTo>
                    <a:pt x="17500" y="93279"/>
                    <a:pt x="20668" y="92462"/>
                    <a:pt x="20259" y="90520"/>
                  </a:cubicBezTo>
                  <a:cubicBezTo>
                    <a:pt x="13922" y="60877"/>
                    <a:pt x="8198" y="31031"/>
                    <a:pt x="3189" y="1184"/>
                  </a:cubicBezTo>
                  <a:cubicBezTo>
                    <a:pt x="2883" y="-860"/>
                    <a:pt x="-286" y="-42"/>
                    <a:pt x="21" y="2002"/>
                  </a:cubicBezTo>
                  <a:lnTo>
                    <a:pt x="21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A397AB75-74FF-4621-8733-E24CED718360}"/>
                </a:ext>
              </a:extLst>
            </p:cNvPr>
            <p:cNvSpPr/>
            <p:nvPr/>
          </p:nvSpPr>
          <p:spPr>
            <a:xfrm>
              <a:off x="8708105" y="4090915"/>
              <a:ext cx="7922" cy="71304"/>
            </a:xfrm>
            <a:custGeom>
              <a:avLst/>
              <a:gdLst>
                <a:gd name="connsiteX0" fmla="*/ 2 w 10221"/>
                <a:gd name="connsiteY0" fmla="*/ 1533 h 91992"/>
                <a:gd name="connsiteX1" fmla="*/ 12064 w 10221"/>
                <a:gd name="connsiteY1" fmla="*/ 99046 h 91992"/>
                <a:gd name="connsiteX2" fmla="*/ 15232 w 10221"/>
                <a:gd name="connsiteY2" fmla="*/ 98228 h 91992"/>
                <a:gd name="connsiteX3" fmla="*/ 3273 w 10221"/>
                <a:gd name="connsiteY3" fmla="*/ 1533 h 91992"/>
                <a:gd name="connsiteX4" fmla="*/ 2 w 10221"/>
                <a:gd name="connsiteY4" fmla="*/ 1533 h 91992"/>
                <a:gd name="connsiteX5" fmla="*/ 2 w 10221"/>
                <a:gd name="connsiteY5" fmla="*/ 1533 h 9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91992">
                  <a:moveTo>
                    <a:pt x="2" y="1533"/>
                  </a:moveTo>
                  <a:cubicBezTo>
                    <a:pt x="1944" y="34242"/>
                    <a:pt x="5931" y="66848"/>
                    <a:pt x="12064" y="99046"/>
                  </a:cubicBezTo>
                  <a:cubicBezTo>
                    <a:pt x="12473" y="100988"/>
                    <a:pt x="15641" y="100170"/>
                    <a:pt x="15232" y="98228"/>
                  </a:cubicBezTo>
                  <a:cubicBezTo>
                    <a:pt x="9202" y="66235"/>
                    <a:pt x="5215" y="33935"/>
                    <a:pt x="3273" y="1533"/>
                  </a:cubicBezTo>
                  <a:cubicBezTo>
                    <a:pt x="3171" y="-511"/>
                    <a:pt x="-100" y="-511"/>
                    <a:pt x="2" y="1533"/>
                  </a:cubicBezTo>
                  <a:lnTo>
                    <a:pt x="2" y="1533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9C759733-F1FF-4DF0-A355-3E41A8D03F68}"/>
                </a:ext>
              </a:extLst>
            </p:cNvPr>
            <p:cNvSpPr/>
            <p:nvPr/>
          </p:nvSpPr>
          <p:spPr>
            <a:xfrm>
              <a:off x="8716715" y="4092453"/>
              <a:ext cx="7922" cy="39613"/>
            </a:xfrm>
            <a:custGeom>
              <a:avLst/>
              <a:gdLst>
                <a:gd name="connsiteX0" fmla="*/ 36 w 10221"/>
                <a:gd name="connsiteY0" fmla="*/ 2002 h 51107"/>
                <a:gd name="connsiteX1" fmla="*/ 9951 w 10221"/>
                <a:gd name="connsiteY1" fmla="*/ 56278 h 51107"/>
                <a:gd name="connsiteX2" fmla="*/ 13120 w 10221"/>
                <a:gd name="connsiteY2" fmla="*/ 55460 h 51107"/>
                <a:gd name="connsiteX3" fmla="*/ 3205 w 10221"/>
                <a:gd name="connsiteY3" fmla="*/ 1184 h 51107"/>
                <a:gd name="connsiteX4" fmla="*/ 36 w 10221"/>
                <a:gd name="connsiteY4" fmla="*/ 2002 h 51107"/>
                <a:gd name="connsiteX5" fmla="*/ 36 w 10221"/>
                <a:gd name="connsiteY5" fmla="*/ 2002 h 51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221" h="51107">
                  <a:moveTo>
                    <a:pt x="36" y="2002"/>
                  </a:moveTo>
                  <a:cubicBezTo>
                    <a:pt x="3307" y="20094"/>
                    <a:pt x="6680" y="38186"/>
                    <a:pt x="9951" y="56278"/>
                  </a:cubicBezTo>
                  <a:cubicBezTo>
                    <a:pt x="10258" y="58220"/>
                    <a:pt x="13529" y="57402"/>
                    <a:pt x="13120" y="55460"/>
                  </a:cubicBezTo>
                  <a:cubicBezTo>
                    <a:pt x="9747" y="37368"/>
                    <a:pt x="6476" y="19276"/>
                    <a:pt x="3205" y="1184"/>
                  </a:cubicBezTo>
                  <a:cubicBezTo>
                    <a:pt x="2796" y="-860"/>
                    <a:pt x="-373" y="-43"/>
                    <a:pt x="36" y="2002"/>
                  </a:cubicBezTo>
                  <a:lnTo>
                    <a:pt x="36" y="2002"/>
                  </a:lnTo>
                  <a:close/>
                </a:path>
              </a:pathLst>
            </a:custGeom>
            <a:solidFill>
              <a:schemeClr val="accent1"/>
            </a:solidFill>
            <a:ln w="1020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cxnSp>
        <p:nvCxnSpPr>
          <p:cNvPr id="335" name="直接连接符 334">
            <a:extLst>
              <a:ext uri="{FF2B5EF4-FFF2-40B4-BE49-F238E27FC236}">
                <a16:creationId xmlns:a16="http://schemas.microsoft.com/office/drawing/2014/main" id="{3EFA2722-BE49-433F-8064-8D6CB16802F2}"/>
              </a:ext>
            </a:extLst>
          </p:cNvPr>
          <p:cNvCxnSpPr>
            <a:cxnSpLocks/>
          </p:cNvCxnSpPr>
          <p:nvPr userDrawn="1"/>
        </p:nvCxnSpPr>
        <p:spPr>
          <a:xfrm>
            <a:off x="3222972" y="5088811"/>
            <a:ext cx="8969028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6" name="图片 335">
            <a:extLst>
              <a:ext uri="{FF2B5EF4-FFF2-40B4-BE49-F238E27FC236}">
                <a16:creationId xmlns:a16="http://schemas.microsoft.com/office/drawing/2014/main" id="{4BD9653B-F0A8-4661-AE96-B42D997C92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792" y="308902"/>
            <a:ext cx="134429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4" Type="http://schemas.openxmlformats.org/officeDocument/2006/relationships/image" Target="../media/image18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hemeOverride" Target="../theme/themeOverr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Rectangle 23_1">
            <a:extLst>
              <a:ext uri="{FF2B5EF4-FFF2-40B4-BE49-F238E27FC236}">
                <a16:creationId xmlns:a16="http://schemas.microsoft.com/office/drawing/2014/main" id="{A7DAD97A-77B1-461D-8231-34E49882F8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20772" y="2140270"/>
            <a:ext cx="4580257" cy="28905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-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9600" i="1" u="none" strike="noStrike" cap="none" spc="-300" normalizeH="0" baseline="0" dirty="0">
                <a:ln w="38100">
                  <a:noFill/>
                </a:ln>
                <a:solidFill>
                  <a:schemeClr val="accent1">
                    <a:lumMod val="40000"/>
                    <a:lumOff val="60000"/>
                  </a:schemeClr>
                </a:solidFill>
                <a:effectLst/>
                <a:latin typeface="Arial Black" panose="020B0A04020102020204" pitchFamily="34" charset="0"/>
              </a:rPr>
              <a:t>热熔胶枪教程</a:t>
            </a:r>
            <a:endParaRPr kumimoji="0" lang="zh-CN" altLang="zh-CN" sz="9600" i="1" u="none" strike="noStrike" cap="none" spc="-300" normalizeH="0" baseline="0" dirty="0">
              <a:ln w="38100"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latin typeface="Arial Black" panose="020B0A04020102020204" pitchFamily="34" charset="0"/>
            </a:endParaRPr>
          </a:p>
        </p:txBody>
      </p:sp>
      <p:sp>
        <p:nvSpPr>
          <p:cNvPr id="706" name="Rectangle 23">
            <a:extLst>
              <a:ext uri="{FF2B5EF4-FFF2-40B4-BE49-F238E27FC236}">
                <a16:creationId xmlns:a16="http://schemas.microsoft.com/office/drawing/2014/main" id="{66BD6BCF-6158-4708-8D3E-444A7CC572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4782" y="2208649"/>
            <a:ext cx="4580257" cy="28905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-6348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9600" i="1" spc="-300" dirty="0">
                <a:ln w="38100">
                  <a:solidFill>
                    <a:schemeClr val="accent1"/>
                  </a:solidFill>
                </a:ln>
                <a:noFill/>
                <a:latin typeface="Arial Black" panose="020B0A04020102020204" pitchFamily="34" charset="0"/>
              </a:rPr>
              <a:t>热熔胶枪教程</a:t>
            </a:r>
            <a:endParaRPr kumimoji="0" lang="zh-CN" altLang="zh-CN" sz="9600" i="1" u="none" strike="noStrike" cap="none" spc="-300" normalizeH="0" baseline="0" dirty="0">
              <a:ln w="38100">
                <a:solidFill>
                  <a:schemeClr val="accent1"/>
                </a:solidFill>
              </a:ln>
              <a:noFill/>
              <a:effectLst/>
              <a:latin typeface="Arial Black" panose="020B0A04020102020204" pitchFamily="34" charset="0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65" name="副标题 664">
            <a:extLst>
              <a:ext uri="{FF2B5EF4-FFF2-40B4-BE49-F238E27FC236}">
                <a16:creationId xmlns:a16="http://schemas.microsoft.com/office/drawing/2014/main" id="{BED061A3-A978-4104-8631-9CEF1A3286B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sz="2000" dirty="0"/>
              <a:t>2021</a:t>
            </a:r>
            <a:r>
              <a:rPr lang="zh-CN" altLang="en-US" sz="2000" dirty="0"/>
              <a:t>年</a:t>
            </a:r>
            <a:r>
              <a:rPr lang="en-US" altLang="zh-CN" sz="2000" dirty="0"/>
              <a:t>4</a:t>
            </a:r>
            <a:r>
              <a:rPr lang="zh-CN" altLang="en-US" sz="2000" dirty="0"/>
              <a:t>月</a:t>
            </a:r>
            <a:r>
              <a:rPr lang="en-US" altLang="zh-CN" sz="2000" dirty="0"/>
              <a:t>15</a:t>
            </a:r>
            <a:r>
              <a:rPr lang="zh-CN" altLang="en-US" sz="2000" dirty="0"/>
              <a:t>日</a:t>
            </a:r>
            <a:endParaRPr lang="zh-CN" altLang="en-US" dirty="0"/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768852" y="3845278"/>
            <a:ext cx="3797170" cy="1086806"/>
          </a:xfrm>
        </p:spPr>
        <p:txBody>
          <a:bodyPr>
            <a:noAutofit/>
          </a:bodyPr>
          <a:lstStyle/>
          <a:p>
            <a:r>
              <a:rPr lang="en-US" altLang="zh-CN" sz="2000" b="0" dirty="0"/>
              <a:t>MG-SPACE</a:t>
            </a:r>
            <a:endParaRPr lang="zh-CN" altLang="en-US" sz="2400" b="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5194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强制用力按压会造成胶枪坏掉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EDA2BF9-FD30-48F6-8363-37A3659C992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70092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7505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未加热完全会不黏，且胶的厚度增加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C430B50E-012B-4413-84C1-26FC51C03C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505" y="930441"/>
            <a:ext cx="9698989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68753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5194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加热完全，按压顺畅没有阻力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FD42BFA-7E94-47FB-BA4D-7781BEA320D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7501" y="1458000"/>
            <a:ext cx="7636999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58811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4">
            <a:extLst>
              <a:ext uri="{FF2B5EF4-FFF2-40B4-BE49-F238E27FC236}">
                <a16:creationId xmlns:a16="http://schemas.microsoft.com/office/drawing/2014/main" id="{7DB70812-6F58-4D65-A7D8-5F30C41F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968" y="3637452"/>
            <a:ext cx="5663716" cy="895350"/>
          </a:xfrm>
        </p:spPr>
        <p:txBody>
          <a:bodyPr>
            <a:normAutofit fontScale="90000"/>
          </a:bodyPr>
          <a:lstStyle/>
          <a:p>
            <a:r>
              <a:rPr lang="zh-CN" altLang="en-US" sz="4800" b="1" dirty="0"/>
              <a:t>预防烫伤以及处理方法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236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98167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别碰前端金属头，确认温度可以摸塑料外壳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59106CA-4FC2-4C15-A7DF-CC15F64DEC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0405" y="1817275"/>
            <a:ext cx="6109599" cy="432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48661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78583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小心刚挤出的胶，温度高达</a:t>
            </a:r>
            <a:r>
              <a:rPr lang="en-US" altLang="zh-CN" sz="4000" b="1" dirty="0">
                <a:solidFill>
                  <a:srgbClr val="FF0000"/>
                </a:solidFill>
              </a:rPr>
              <a:t>100</a:t>
            </a:r>
            <a:r>
              <a:rPr lang="zh-CN" altLang="en-US" sz="3200" dirty="0"/>
              <a:t>多度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4F322F3F-6850-4706-B07A-85FF3106FEF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01" y="1817275"/>
            <a:ext cx="6109599" cy="432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60685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9298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多余的胶会滴落，小心手的位置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51455873-B763-41AC-BD4F-3654F937F82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01" y="1817275"/>
            <a:ext cx="6109599" cy="432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45996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2883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非必要，避免倒着涂胶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170FCF-0091-44F6-BB79-D51DA9E002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01" y="1817275"/>
            <a:ext cx="6109599" cy="432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537573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2883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非必要，避免倒着涂胶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2170FCF-0091-44F6-BB79-D51DA9E0024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01" y="1817275"/>
            <a:ext cx="6109599" cy="432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13320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2883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皮肤碰到胶会造成烫伤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1C924FE2-4C84-469E-B330-E1CFCDEB53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022" y="1458000"/>
            <a:ext cx="7635957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06690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C0498D3A-B738-48EC-A39C-94C58B88932B}"/>
              </a:ext>
            </a:extLst>
          </p:cNvPr>
          <p:cNvGrpSpPr/>
          <p:nvPr/>
        </p:nvGrpSpPr>
        <p:grpSpPr>
          <a:xfrm>
            <a:off x="757282" y="1700808"/>
            <a:ext cx="10763205" cy="4083608"/>
            <a:chOff x="757282" y="1700808"/>
            <a:chExt cx="10763205" cy="4083608"/>
          </a:xfrm>
        </p:grpSpPr>
        <p:grpSp>
          <p:nvGrpSpPr>
            <p:cNvPr id="6" name="2b751056-6b97-492c-b763-340acee7e99d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A759C196-DA28-4241-ABB5-975367026F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57282" y="1700808"/>
              <a:ext cx="10763205" cy="4083608"/>
              <a:chOff x="1175743" y="1700808"/>
              <a:chExt cx="10344744" cy="4083608"/>
            </a:xfrm>
          </p:grpSpPr>
          <p:sp>
            <p:nvSpPr>
              <p:cNvPr id="7" name="iṡľïḑè">
                <a:extLst>
                  <a:ext uri="{FF2B5EF4-FFF2-40B4-BE49-F238E27FC236}">
                    <a16:creationId xmlns:a16="http://schemas.microsoft.com/office/drawing/2014/main" id="{48F70259-7598-4270-874A-6F50772D10F6}"/>
                  </a:ext>
                </a:extLst>
              </p:cNvPr>
              <p:cNvSpPr txBox="1"/>
              <p:nvPr/>
            </p:nvSpPr>
            <p:spPr bwMode="auto">
              <a:xfrm>
                <a:off x="3822192" y="1780800"/>
                <a:ext cx="7698295" cy="4003616"/>
              </a:xfrm>
              <a:prstGeom prst="rect">
                <a:avLst/>
              </a:prstGeom>
              <a:noFill/>
            </p:spPr>
            <p:txBody>
              <a:bodyPr wrap="square" tIns="0" anchor="t">
                <a:noAutofit/>
              </a:bodyPr>
              <a:lstStyle>
                <a:defPPr>
                  <a:defRPr lang="zh-CN"/>
                </a:defPPr>
                <a:lvl1pPr>
                  <a:defRPr sz="1600" b="1">
                    <a:latin typeface="Arial" panose="020B0604020202020204" pitchFamily="34" charset="0"/>
                    <a:ea typeface="微软雅黑" panose="020B0503020204020204" pitchFamily="34" charset="-122"/>
                    <a:cs typeface="+mn-ea"/>
                  </a:defRPr>
                </a:lvl1pPr>
                <a:lvl2pPr marL="742950" indent="-28575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2pPr>
                <a:lvl3pPr marL="11430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3pPr>
                <a:lvl4pPr marL="16002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4pPr>
                <a:lvl5pPr marL="2057400" indent="-228600"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3200" b="1">
                    <a:solidFill>
                      <a:srgbClr val="4D4D4D"/>
                    </a:solidFill>
                    <a:latin typeface="Arial" panose="020B0604020202020204" pitchFamily="34" charset="0"/>
                    <a:ea typeface="黑体" panose="02010609060101010101" pitchFamily="49" charset="-122"/>
                  </a:defRPr>
                </a:lvl9pPr>
              </a:lstStyle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原理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使用方法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预防烫伤以及处理方法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注意事项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r>
                  <a:rPr lang="zh-CN" altLang="en-US" sz="2800" b="0" dirty="0">
                    <a:latin typeface="+mn-lt"/>
                    <a:ea typeface="+mn-ea"/>
                    <a:sym typeface="+mn-lt"/>
                  </a:rPr>
                  <a:t>技巧</a:t>
                </a: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  <a:p>
                <a:pPr marL="342900" indent="-342900">
                  <a:lnSpc>
                    <a:spcPct val="150000"/>
                  </a:lnSpc>
                  <a:buFont typeface="+mj-lt"/>
                  <a:buAutoNum type="arabicPeriod"/>
                </a:pPr>
                <a:endParaRPr lang="en-US" altLang="zh-CN" sz="2800" b="0" dirty="0">
                  <a:latin typeface="+mn-lt"/>
                  <a:ea typeface="+mn-ea"/>
                  <a:sym typeface="+mn-lt"/>
                </a:endParaRPr>
              </a:p>
            </p:txBody>
          </p:sp>
          <p:cxnSp>
            <p:nvCxnSpPr>
              <p:cNvPr id="8" name="直接连接符 7">
                <a:extLst>
                  <a:ext uri="{FF2B5EF4-FFF2-40B4-BE49-F238E27FC236}">
                    <a16:creationId xmlns:a16="http://schemas.microsoft.com/office/drawing/2014/main" id="{DA1FB18E-FA01-4588-BEF9-FB96A98A84D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888" y="1780800"/>
                <a:ext cx="0" cy="4003616"/>
              </a:xfrm>
              <a:prstGeom prst="line">
                <a:avLst/>
              </a:prstGeom>
              <a:solidFill>
                <a:srgbClr val="FFCC00"/>
              </a:solidFill>
              <a:ln w="3175" cap="flat" cmpd="sng" algn="ctr">
                <a:solidFill>
                  <a:schemeClr val="bg1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" name="išľïḋé">
                <a:extLst>
                  <a:ext uri="{FF2B5EF4-FFF2-40B4-BE49-F238E27FC236}">
                    <a16:creationId xmlns:a16="http://schemas.microsoft.com/office/drawing/2014/main" id="{0DB1D0A1-2667-455C-9387-D7ABF0A00B8C}"/>
                  </a:ext>
                </a:extLst>
              </p:cNvPr>
              <p:cNvSpPr txBox="1"/>
              <p:nvPr/>
            </p:nvSpPr>
            <p:spPr>
              <a:xfrm>
                <a:off x="1175743" y="1700808"/>
                <a:ext cx="2521108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zh-CN" altLang="en-US" sz="36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目录</a:t>
                </a:r>
                <a:endParaRPr lang="tr-TR" sz="36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poetry_91022">
              <a:extLst>
                <a:ext uri="{FF2B5EF4-FFF2-40B4-BE49-F238E27FC236}">
                  <a16:creationId xmlns:a16="http://schemas.microsoft.com/office/drawing/2014/main" id="{ADAD6BE3-DC11-4582-9F68-50D831ADD00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79533" y="4867348"/>
              <a:ext cx="870506" cy="915667"/>
            </a:xfrm>
            <a:custGeom>
              <a:avLst/>
              <a:gdLst>
                <a:gd name="T0" fmla="*/ 3353 w 5127"/>
                <a:gd name="T1" fmla="*/ 1728 h 5401"/>
                <a:gd name="T2" fmla="*/ 2183 w 5127"/>
                <a:gd name="T3" fmla="*/ 1608 h 5401"/>
                <a:gd name="T4" fmla="*/ 3353 w 5127"/>
                <a:gd name="T5" fmla="*/ 1488 h 5401"/>
                <a:gd name="T6" fmla="*/ 3103 w 5127"/>
                <a:gd name="T7" fmla="*/ 2231 h 5401"/>
                <a:gd name="T8" fmla="*/ 3103 w 5127"/>
                <a:gd name="T9" fmla="*/ 1991 h 5401"/>
                <a:gd name="T10" fmla="*/ 2432 w 5127"/>
                <a:gd name="T11" fmla="*/ 2111 h 5401"/>
                <a:gd name="T12" fmla="*/ 3103 w 5127"/>
                <a:gd name="T13" fmla="*/ 2231 h 5401"/>
                <a:gd name="T14" fmla="*/ 3353 w 5127"/>
                <a:gd name="T15" fmla="*/ 2648 h 5401"/>
                <a:gd name="T16" fmla="*/ 2183 w 5127"/>
                <a:gd name="T17" fmla="*/ 2768 h 5401"/>
                <a:gd name="T18" fmla="*/ 3353 w 5127"/>
                <a:gd name="T19" fmla="*/ 2888 h 5401"/>
                <a:gd name="T20" fmla="*/ 2552 w 5127"/>
                <a:gd name="T21" fmla="*/ 3151 h 5401"/>
                <a:gd name="T22" fmla="*/ 2552 w 5127"/>
                <a:gd name="T23" fmla="*/ 3391 h 5401"/>
                <a:gd name="T24" fmla="*/ 3223 w 5127"/>
                <a:gd name="T25" fmla="*/ 3271 h 5401"/>
                <a:gd name="T26" fmla="*/ 2552 w 5127"/>
                <a:gd name="T27" fmla="*/ 3151 h 5401"/>
                <a:gd name="T28" fmla="*/ 4448 w 5127"/>
                <a:gd name="T29" fmla="*/ 1442 h 5401"/>
                <a:gd name="T30" fmla="*/ 4688 w 5127"/>
                <a:gd name="T31" fmla="*/ 1442 h 5401"/>
                <a:gd name="T32" fmla="*/ 3988 w 5127"/>
                <a:gd name="T33" fmla="*/ 0 h 5401"/>
                <a:gd name="T34" fmla="*/ 0 w 5127"/>
                <a:gd name="T35" fmla="*/ 604 h 5401"/>
                <a:gd name="T36" fmla="*/ 120 w 5127"/>
                <a:gd name="T37" fmla="*/ 1792 h 5401"/>
                <a:gd name="T38" fmla="*/ 686 w 5127"/>
                <a:gd name="T39" fmla="*/ 1672 h 5401"/>
                <a:gd name="T40" fmla="*/ 240 w 5127"/>
                <a:gd name="T41" fmla="*/ 1552 h 5401"/>
                <a:gd name="T42" fmla="*/ 604 w 5127"/>
                <a:gd name="T43" fmla="*/ 240 h 5401"/>
                <a:gd name="T44" fmla="*/ 968 w 5127"/>
                <a:gd name="T45" fmla="*/ 4179 h 5401"/>
                <a:gd name="T46" fmla="*/ 3904 w 5127"/>
                <a:gd name="T47" fmla="*/ 4879 h 5401"/>
                <a:gd name="T48" fmla="*/ 3904 w 5127"/>
                <a:gd name="T49" fmla="*/ 4639 h 5401"/>
                <a:gd name="T50" fmla="*/ 1208 w 5127"/>
                <a:gd name="T51" fmla="*/ 4179 h 5401"/>
                <a:gd name="T52" fmla="*/ 1086 w 5127"/>
                <a:gd name="T53" fmla="*/ 240 h 5401"/>
                <a:gd name="T54" fmla="*/ 4448 w 5127"/>
                <a:gd name="T55" fmla="*/ 700 h 5401"/>
                <a:gd name="T56" fmla="*/ 4568 w 5127"/>
                <a:gd name="T57" fmla="*/ 2000 h 5401"/>
                <a:gd name="T58" fmla="*/ 4568 w 5127"/>
                <a:gd name="T59" fmla="*/ 2240 h 5401"/>
                <a:gd name="T60" fmla="*/ 4887 w 5127"/>
                <a:gd name="T61" fmla="*/ 2340 h 5401"/>
                <a:gd name="T62" fmla="*/ 5007 w 5127"/>
                <a:gd name="T63" fmla="*/ 3838 h 5401"/>
                <a:gd name="T64" fmla="*/ 5127 w 5127"/>
                <a:gd name="T65" fmla="*/ 2340 h 5401"/>
                <a:gd name="T66" fmla="*/ 4568 w 5127"/>
                <a:gd name="T67" fmla="*/ 5139 h 5401"/>
                <a:gd name="T68" fmla="*/ 4448 w 5127"/>
                <a:gd name="T69" fmla="*/ 5281 h 5401"/>
                <a:gd name="T70" fmla="*/ 4688 w 5127"/>
                <a:gd name="T71" fmla="*/ 5281 h 5401"/>
                <a:gd name="T72" fmla="*/ 4568 w 5127"/>
                <a:gd name="T73" fmla="*/ 5139 h 5401"/>
                <a:gd name="T74" fmla="*/ 4448 w 5127"/>
                <a:gd name="T75" fmla="*/ 2559 h 5401"/>
                <a:gd name="T76" fmla="*/ 4568 w 5127"/>
                <a:gd name="T77" fmla="*/ 4974 h 5401"/>
                <a:gd name="T78" fmla="*/ 4688 w 5127"/>
                <a:gd name="T79" fmla="*/ 2559 h 5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7" h="5401">
                  <a:moveTo>
                    <a:pt x="3473" y="1608"/>
                  </a:moveTo>
                  <a:cubicBezTo>
                    <a:pt x="3473" y="1674"/>
                    <a:pt x="3419" y="1728"/>
                    <a:pt x="3353" y="1728"/>
                  </a:cubicBezTo>
                  <a:lnTo>
                    <a:pt x="2303" y="1728"/>
                  </a:lnTo>
                  <a:cubicBezTo>
                    <a:pt x="2236" y="1728"/>
                    <a:pt x="2183" y="1674"/>
                    <a:pt x="2183" y="1608"/>
                  </a:cubicBezTo>
                  <a:cubicBezTo>
                    <a:pt x="2183" y="1542"/>
                    <a:pt x="2236" y="1488"/>
                    <a:pt x="2303" y="1488"/>
                  </a:cubicBezTo>
                  <a:lnTo>
                    <a:pt x="3353" y="1488"/>
                  </a:lnTo>
                  <a:cubicBezTo>
                    <a:pt x="3419" y="1488"/>
                    <a:pt x="3473" y="1542"/>
                    <a:pt x="3473" y="1608"/>
                  </a:cubicBezTo>
                  <a:close/>
                  <a:moveTo>
                    <a:pt x="3103" y="2231"/>
                  </a:moveTo>
                  <a:cubicBezTo>
                    <a:pt x="3170" y="2231"/>
                    <a:pt x="3223" y="2178"/>
                    <a:pt x="3223" y="2111"/>
                  </a:cubicBezTo>
                  <a:cubicBezTo>
                    <a:pt x="3223" y="2045"/>
                    <a:pt x="3170" y="1991"/>
                    <a:pt x="3103" y="1991"/>
                  </a:cubicBezTo>
                  <a:lnTo>
                    <a:pt x="2552" y="1991"/>
                  </a:lnTo>
                  <a:cubicBezTo>
                    <a:pt x="2486" y="1991"/>
                    <a:pt x="2432" y="2045"/>
                    <a:pt x="2432" y="2111"/>
                  </a:cubicBezTo>
                  <a:cubicBezTo>
                    <a:pt x="2432" y="2178"/>
                    <a:pt x="2486" y="2231"/>
                    <a:pt x="2552" y="2231"/>
                  </a:cubicBezTo>
                  <a:lnTo>
                    <a:pt x="3103" y="2231"/>
                  </a:lnTo>
                  <a:close/>
                  <a:moveTo>
                    <a:pt x="3473" y="2768"/>
                  </a:moveTo>
                  <a:cubicBezTo>
                    <a:pt x="3473" y="2701"/>
                    <a:pt x="3419" y="2648"/>
                    <a:pt x="3353" y="2648"/>
                  </a:cubicBezTo>
                  <a:lnTo>
                    <a:pt x="2303" y="2648"/>
                  </a:lnTo>
                  <a:cubicBezTo>
                    <a:pt x="2236" y="2648"/>
                    <a:pt x="2183" y="2701"/>
                    <a:pt x="2183" y="2768"/>
                  </a:cubicBezTo>
                  <a:cubicBezTo>
                    <a:pt x="2183" y="2834"/>
                    <a:pt x="2236" y="2888"/>
                    <a:pt x="2303" y="2888"/>
                  </a:cubicBezTo>
                  <a:lnTo>
                    <a:pt x="3353" y="2888"/>
                  </a:lnTo>
                  <a:cubicBezTo>
                    <a:pt x="3419" y="2888"/>
                    <a:pt x="3473" y="2834"/>
                    <a:pt x="3473" y="2768"/>
                  </a:cubicBezTo>
                  <a:close/>
                  <a:moveTo>
                    <a:pt x="2552" y="3151"/>
                  </a:moveTo>
                  <a:cubicBezTo>
                    <a:pt x="2486" y="3151"/>
                    <a:pt x="2432" y="3205"/>
                    <a:pt x="2432" y="3271"/>
                  </a:cubicBezTo>
                  <a:cubicBezTo>
                    <a:pt x="2432" y="3338"/>
                    <a:pt x="2486" y="3391"/>
                    <a:pt x="2552" y="3391"/>
                  </a:cubicBezTo>
                  <a:lnTo>
                    <a:pt x="3103" y="3391"/>
                  </a:lnTo>
                  <a:cubicBezTo>
                    <a:pt x="3170" y="3391"/>
                    <a:pt x="3223" y="3338"/>
                    <a:pt x="3223" y="3271"/>
                  </a:cubicBezTo>
                  <a:cubicBezTo>
                    <a:pt x="3223" y="3205"/>
                    <a:pt x="3170" y="3151"/>
                    <a:pt x="3103" y="3151"/>
                  </a:cubicBezTo>
                  <a:lnTo>
                    <a:pt x="2552" y="3151"/>
                  </a:lnTo>
                  <a:close/>
                  <a:moveTo>
                    <a:pt x="4448" y="700"/>
                  </a:moveTo>
                  <a:lnTo>
                    <a:pt x="4448" y="1442"/>
                  </a:lnTo>
                  <a:cubicBezTo>
                    <a:pt x="4448" y="1509"/>
                    <a:pt x="4501" y="1562"/>
                    <a:pt x="4568" y="1562"/>
                  </a:cubicBezTo>
                  <a:cubicBezTo>
                    <a:pt x="4634" y="1562"/>
                    <a:pt x="4688" y="1509"/>
                    <a:pt x="4688" y="1442"/>
                  </a:cubicBezTo>
                  <a:lnTo>
                    <a:pt x="4688" y="700"/>
                  </a:lnTo>
                  <a:cubicBezTo>
                    <a:pt x="4688" y="314"/>
                    <a:pt x="4374" y="0"/>
                    <a:pt x="3988" y="0"/>
                  </a:cubicBezTo>
                  <a:lnTo>
                    <a:pt x="604" y="0"/>
                  </a:lnTo>
                  <a:cubicBezTo>
                    <a:pt x="271" y="0"/>
                    <a:pt x="0" y="271"/>
                    <a:pt x="0" y="604"/>
                  </a:cubicBezTo>
                  <a:lnTo>
                    <a:pt x="0" y="1672"/>
                  </a:lnTo>
                  <a:cubicBezTo>
                    <a:pt x="0" y="1738"/>
                    <a:pt x="53" y="1792"/>
                    <a:pt x="120" y="1792"/>
                  </a:cubicBezTo>
                  <a:lnTo>
                    <a:pt x="566" y="1792"/>
                  </a:lnTo>
                  <a:cubicBezTo>
                    <a:pt x="632" y="1792"/>
                    <a:pt x="686" y="1738"/>
                    <a:pt x="686" y="1672"/>
                  </a:cubicBezTo>
                  <a:cubicBezTo>
                    <a:pt x="686" y="1606"/>
                    <a:pt x="632" y="1552"/>
                    <a:pt x="566" y="1552"/>
                  </a:cubicBezTo>
                  <a:lnTo>
                    <a:pt x="240" y="1552"/>
                  </a:lnTo>
                  <a:lnTo>
                    <a:pt x="240" y="604"/>
                  </a:lnTo>
                  <a:cubicBezTo>
                    <a:pt x="240" y="403"/>
                    <a:pt x="403" y="240"/>
                    <a:pt x="604" y="240"/>
                  </a:cubicBezTo>
                  <a:cubicBezTo>
                    <a:pt x="805" y="240"/>
                    <a:pt x="968" y="403"/>
                    <a:pt x="968" y="604"/>
                  </a:cubicBezTo>
                  <a:lnTo>
                    <a:pt x="968" y="4179"/>
                  </a:lnTo>
                  <a:cubicBezTo>
                    <a:pt x="968" y="4565"/>
                    <a:pt x="1282" y="4879"/>
                    <a:pt x="1668" y="4879"/>
                  </a:cubicBezTo>
                  <a:lnTo>
                    <a:pt x="3904" y="4879"/>
                  </a:lnTo>
                  <a:cubicBezTo>
                    <a:pt x="3970" y="4879"/>
                    <a:pt x="4024" y="4825"/>
                    <a:pt x="4024" y="4759"/>
                  </a:cubicBezTo>
                  <a:cubicBezTo>
                    <a:pt x="4024" y="4693"/>
                    <a:pt x="3970" y="4639"/>
                    <a:pt x="3904" y="4639"/>
                  </a:cubicBezTo>
                  <a:lnTo>
                    <a:pt x="1668" y="4639"/>
                  </a:lnTo>
                  <a:cubicBezTo>
                    <a:pt x="1415" y="4639"/>
                    <a:pt x="1208" y="4433"/>
                    <a:pt x="1208" y="4179"/>
                  </a:cubicBezTo>
                  <a:lnTo>
                    <a:pt x="1208" y="604"/>
                  </a:lnTo>
                  <a:cubicBezTo>
                    <a:pt x="1208" y="468"/>
                    <a:pt x="1163" y="341"/>
                    <a:pt x="1086" y="240"/>
                  </a:cubicBezTo>
                  <a:lnTo>
                    <a:pt x="3988" y="240"/>
                  </a:lnTo>
                  <a:cubicBezTo>
                    <a:pt x="4241" y="240"/>
                    <a:pt x="4448" y="446"/>
                    <a:pt x="4448" y="700"/>
                  </a:cubicBezTo>
                  <a:close/>
                  <a:moveTo>
                    <a:pt x="4787" y="2000"/>
                  </a:moveTo>
                  <a:lnTo>
                    <a:pt x="4568" y="2000"/>
                  </a:lnTo>
                  <a:cubicBezTo>
                    <a:pt x="4501" y="2000"/>
                    <a:pt x="4448" y="2054"/>
                    <a:pt x="4448" y="2120"/>
                  </a:cubicBezTo>
                  <a:cubicBezTo>
                    <a:pt x="4448" y="2187"/>
                    <a:pt x="4501" y="2240"/>
                    <a:pt x="4568" y="2240"/>
                  </a:cubicBezTo>
                  <a:lnTo>
                    <a:pt x="4787" y="2240"/>
                  </a:lnTo>
                  <a:cubicBezTo>
                    <a:pt x="4842" y="2240"/>
                    <a:pt x="4887" y="2285"/>
                    <a:pt x="4887" y="2340"/>
                  </a:cubicBezTo>
                  <a:lnTo>
                    <a:pt x="4887" y="3718"/>
                  </a:lnTo>
                  <a:cubicBezTo>
                    <a:pt x="4887" y="3785"/>
                    <a:pt x="4941" y="3838"/>
                    <a:pt x="5007" y="3838"/>
                  </a:cubicBezTo>
                  <a:cubicBezTo>
                    <a:pt x="5073" y="3838"/>
                    <a:pt x="5127" y="3785"/>
                    <a:pt x="5127" y="3718"/>
                  </a:cubicBezTo>
                  <a:lnTo>
                    <a:pt x="5127" y="2340"/>
                  </a:lnTo>
                  <a:cubicBezTo>
                    <a:pt x="5127" y="2153"/>
                    <a:pt x="4975" y="2000"/>
                    <a:pt x="4787" y="2000"/>
                  </a:cubicBezTo>
                  <a:close/>
                  <a:moveTo>
                    <a:pt x="4568" y="5139"/>
                  </a:moveTo>
                  <a:cubicBezTo>
                    <a:pt x="4501" y="5139"/>
                    <a:pt x="4448" y="5193"/>
                    <a:pt x="4448" y="5259"/>
                  </a:cubicBezTo>
                  <a:lnTo>
                    <a:pt x="4448" y="5281"/>
                  </a:lnTo>
                  <a:cubicBezTo>
                    <a:pt x="4448" y="5347"/>
                    <a:pt x="4501" y="5401"/>
                    <a:pt x="4568" y="5401"/>
                  </a:cubicBezTo>
                  <a:cubicBezTo>
                    <a:pt x="4634" y="5401"/>
                    <a:pt x="4688" y="5347"/>
                    <a:pt x="4688" y="5281"/>
                  </a:cubicBezTo>
                  <a:lnTo>
                    <a:pt x="4688" y="5259"/>
                  </a:lnTo>
                  <a:cubicBezTo>
                    <a:pt x="4688" y="5193"/>
                    <a:pt x="4634" y="5139"/>
                    <a:pt x="4568" y="5139"/>
                  </a:cubicBezTo>
                  <a:close/>
                  <a:moveTo>
                    <a:pt x="4568" y="2439"/>
                  </a:moveTo>
                  <a:cubicBezTo>
                    <a:pt x="4501" y="2439"/>
                    <a:pt x="4448" y="2492"/>
                    <a:pt x="4448" y="2559"/>
                  </a:cubicBezTo>
                  <a:lnTo>
                    <a:pt x="4448" y="4854"/>
                  </a:lnTo>
                  <a:cubicBezTo>
                    <a:pt x="4448" y="4920"/>
                    <a:pt x="4501" y="4974"/>
                    <a:pt x="4568" y="4974"/>
                  </a:cubicBezTo>
                  <a:cubicBezTo>
                    <a:pt x="4634" y="4974"/>
                    <a:pt x="4688" y="4920"/>
                    <a:pt x="4688" y="4854"/>
                  </a:cubicBezTo>
                  <a:lnTo>
                    <a:pt x="4688" y="2559"/>
                  </a:lnTo>
                  <a:cubicBezTo>
                    <a:pt x="4688" y="2492"/>
                    <a:pt x="4634" y="2439"/>
                    <a:pt x="4568" y="243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8438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胶的温度温度超过</a:t>
            </a:r>
            <a:r>
              <a:rPr lang="en-US" altLang="zh-CN" sz="3200" dirty="0"/>
              <a:t>100</a:t>
            </a:r>
            <a:r>
              <a:rPr lang="zh-CN" altLang="en-US" sz="3200" dirty="0"/>
              <a:t>度，会持续加热皮肤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C1B0267-6A35-4C00-97A1-BECE9145E8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022" y="1458000"/>
            <a:ext cx="7635957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55838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5713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用手轻搓开，将热快速平均散到其它地方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15BF6E1-1013-4E3D-B88F-8D8B79F121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021" y="1458000"/>
            <a:ext cx="7635958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5782118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b="1" dirty="0"/>
              <a:t>预防烫伤以及处理方法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340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b="0" i="0" dirty="0">
                <a:solidFill>
                  <a:srgbClr val="333333"/>
                </a:solidFill>
                <a:effectLst/>
                <a:latin typeface="Arial" panose="020B0604020202020204" pitchFamily="34" charset="0"/>
              </a:rPr>
              <a:t>立即对受伤部位进行冷却降温处理</a:t>
            </a:r>
            <a:endParaRPr lang="zh-CN" altLang="en-US" sz="3200" dirty="0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5B9FFF0B-E5EE-4D7A-8D23-63C85602EE2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059" y="1860215"/>
            <a:ext cx="7254291" cy="475603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006734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4">
            <a:extLst>
              <a:ext uri="{FF2B5EF4-FFF2-40B4-BE49-F238E27FC236}">
                <a16:creationId xmlns:a16="http://schemas.microsoft.com/office/drawing/2014/main" id="{7DB70812-6F58-4D65-A7D8-5F30C41F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注意事项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800435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事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16093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请勿拔除胶条，粘黏的塑胶会造成堵住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97929E04-F0BB-4B24-9DD1-23F90CB9A6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242" y="1458000"/>
            <a:ext cx="7639516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399620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事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839204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开机长久放置，胶会持续流出，内部产生空气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F6A0093C-2538-467D-9F62-3CC58A73699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781645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注意事项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340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重新使用要留意空气挤出产生气泡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197E215-F700-4C57-BFCB-D488350BD4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95245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4">
            <a:extLst>
              <a:ext uri="{FF2B5EF4-FFF2-40B4-BE49-F238E27FC236}">
                <a16:creationId xmlns:a16="http://schemas.microsoft.com/office/drawing/2014/main" id="{7DB70812-6F58-4D65-A7D8-5F30C41F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技巧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58980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7436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挤胶后在</a:t>
            </a:r>
            <a:r>
              <a:rPr lang="en-US" altLang="zh-CN" sz="3200" dirty="0"/>
              <a:t>10</a:t>
            </a:r>
            <a:r>
              <a:rPr lang="zh-CN" altLang="en-US" sz="3200" dirty="0"/>
              <a:t>秒内快速粘接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C7A98F0F-8394-4640-9189-208E12D8E7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764" y="0"/>
            <a:ext cx="969447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801486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75056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冷却会造成不平整，且无法顺利接合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9ECEABE9-4B03-436C-AE56-F76DB411223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764" y="737935"/>
            <a:ext cx="969447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68431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4">
            <a:extLst>
              <a:ext uri="{FF2B5EF4-FFF2-40B4-BE49-F238E27FC236}">
                <a16:creationId xmlns:a16="http://schemas.microsoft.com/office/drawing/2014/main" id="{7DB70812-6F58-4D65-A7D8-5F30C41F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原理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2883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热熔胶本身可以当结构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A1A52EA0-BDD5-4FA4-A93E-36FB6045A9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764" y="0"/>
            <a:ext cx="969447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726187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97471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胶凝固约</a:t>
            </a:r>
            <a:r>
              <a:rPr lang="en-US" altLang="zh-CN" sz="3200" dirty="0"/>
              <a:t>30</a:t>
            </a:r>
            <a:r>
              <a:rPr lang="zh-CN" altLang="en-US" sz="3200" dirty="0"/>
              <a:t>秒，胶越厚时间越久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30A2FC33-EEAD-4CB8-B273-B4E762452BC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505" y="994606"/>
            <a:ext cx="9698989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25257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2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10909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牵丝可用前端金属把丝熔断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21FAAE3-5BDF-4AC3-9697-BFC7E8070A8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505" y="946483"/>
            <a:ext cx="9698989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747228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6987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黄色工业级胶条粘性更强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517DD810-EADA-418A-9630-08FDDA31CA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316806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5713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大量挤出后，需要等待加热才能再次使用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67EA4943-2161-43D7-8503-8CE07B7257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4907" y="1010654"/>
            <a:ext cx="9702185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109973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技巧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9298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瓦数越高的胶枪，加热时间越快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BDC79B37-479A-4DAD-B9ED-6B3A8CDB7D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6242" y="1458000"/>
            <a:ext cx="7639516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1419479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标题 9">
            <a:extLst>
              <a:ext uri="{FF2B5EF4-FFF2-40B4-BE49-F238E27FC236}">
                <a16:creationId xmlns:a16="http://schemas.microsoft.com/office/drawing/2014/main" id="{5EFA72BC-D956-430A-A1A0-C7D08A6643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5869" y="1685894"/>
            <a:ext cx="5422900" cy="2417016"/>
          </a:xfrm>
        </p:spPr>
        <p:txBody>
          <a:bodyPr>
            <a:normAutofit/>
          </a:bodyPr>
          <a:lstStyle/>
          <a:p>
            <a:r>
              <a:rPr lang="en-US" altLang="zh-CN" sz="6600" dirty="0"/>
              <a:t>THANKS</a:t>
            </a:r>
            <a:endParaRPr lang="zh-CN" altLang="en-US" sz="6600" dirty="0"/>
          </a:p>
        </p:txBody>
      </p:sp>
      <p:sp>
        <p:nvSpPr>
          <p:cNvPr id="14" name="文本占位符 5">
            <a:extLst>
              <a:ext uri="{FF2B5EF4-FFF2-40B4-BE49-F238E27FC236}">
                <a16:creationId xmlns:a16="http://schemas.microsoft.com/office/drawing/2014/main" id="{3E1C1A88-14B1-47C7-A086-523C55D43249}"/>
              </a:ext>
            </a:extLst>
          </p:cNvPr>
          <p:cNvSpPr txBox="1">
            <a:spLocks/>
          </p:cNvSpPr>
          <p:nvPr/>
        </p:nvSpPr>
        <p:spPr>
          <a:xfrm>
            <a:off x="5405869" y="4251608"/>
            <a:ext cx="5422900" cy="296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77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1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9" indent="0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2400"/>
              <a:t>MG-SPACE</a:t>
            </a:r>
            <a:endParaRPr lang="en-US" altLang="zh-CN" sz="24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原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592982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扳机挤压胶条，推入前端加热器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4D76997-6B82-4C2B-9854-DBA367E0126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022" y="1458000"/>
            <a:ext cx="7635957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1362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原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469872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加热器将胶条熔化成液态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8FA9ADA5-6A3D-4850-977B-ADA96FC618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022" y="1458000"/>
            <a:ext cx="7635957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0421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原理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75713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液态流动的胶渗入连接处，冷却粘住表面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22BB16A7-D958-47F7-AC47-BA703E14C8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764" y="561470"/>
            <a:ext cx="969447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197328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2744352" y="363745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A548161-0D6E-46E2-9B4F-6D8718A5FFE2}"/>
              </a:ext>
            </a:extLst>
          </p:cNvPr>
          <p:cNvCxnSpPr>
            <a:cxnSpLocks/>
          </p:cNvCxnSpPr>
          <p:nvPr/>
        </p:nvCxnSpPr>
        <p:spPr>
          <a:xfrm>
            <a:off x="0" y="4763730"/>
            <a:ext cx="7721600" cy="0"/>
          </a:xfrm>
          <a:prstGeom prst="line">
            <a:avLst/>
          </a:prstGeom>
          <a:ln w="25400">
            <a:solidFill>
              <a:srgbClr val="002CE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标题 4">
            <a:extLst>
              <a:ext uri="{FF2B5EF4-FFF2-40B4-BE49-F238E27FC236}">
                <a16:creationId xmlns:a16="http://schemas.microsoft.com/office/drawing/2014/main" id="{7DB70812-6F58-4D65-A7D8-5F30C41F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1968" y="3637452"/>
            <a:ext cx="3948063" cy="895350"/>
          </a:xfrm>
        </p:spPr>
        <p:txBody>
          <a:bodyPr>
            <a:normAutofit/>
          </a:bodyPr>
          <a:lstStyle/>
          <a:p>
            <a:r>
              <a:rPr lang="zh-CN" altLang="en-US" sz="4800" b="1" dirty="0"/>
              <a:t>使用方法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2334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644278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冷却的胶枪需要插电加热</a:t>
            </a:r>
            <a:r>
              <a:rPr lang="en-US" altLang="zh-CN" sz="3200" dirty="0"/>
              <a:t>5~10</a:t>
            </a:r>
            <a:r>
              <a:rPr lang="zh-CN" altLang="en-US" sz="3200" dirty="0"/>
              <a:t>分钟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B172E939-3B1A-4E80-9723-981EC50A19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436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使用方法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17EF45BB-1B6E-4E6B-AEBB-F94B386FCB03}"/>
              </a:ext>
            </a:extLst>
          </p:cNvPr>
          <p:cNvSpPr txBox="1"/>
          <p:nvPr/>
        </p:nvSpPr>
        <p:spPr>
          <a:xfrm>
            <a:off x="815065" y="1275440"/>
            <a:ext cx="387798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200" dirty="0"/>
              <a:t>没加热完全不能按压</a:t>
            </a:r>
          </a:p>
        </p:txBody>
      </p:sp>
      <p:pic>
        <p:nvPicPr>
          <p:cNvPr id="6" name="图片 5">
            <a:extLst>
              <a:ext uri="{FF2B5EF4-FFF2-40B4-BE49-F238E27FC236}">
                <a16:creationId xmlns:a16="http://schemas.microsoft.com/office/drawing/2014/main" id="{D085E024-EDD7-444C-8848-C51306EAC5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279" y="1458000"/>
            <a:ext cx="7633442" cy="5400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738876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7260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2BE5"/>
      </a:accent1>
      <a:accent2>
        <a:srgbClr val="28A7E0"/>
      </a:accent2>
      <a:accent3>
        <a:srgbClr val="498AFB"/>
      </a:accent3>
      <a:accent4>
        <a:srgbClr val="777B77"/>
      </a:accent4>
      <a:accent5>
        <a:srgbClr val="8E8D88"/>
      </a:accent5>
      <a:accent6>
        <a:srgbClr val="ACACAC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BE5"/>
    </a:accent1>
    <a:accent2>
      <a:srgbClr val="28A7E0"/>
    </a:accent2>
    <a:accent3>
      <a:srgbClr val="498AFB"/>
    </a:accent3>
    <a:accent4>
      <a:srgbClr val="777B77"/>
    </a:accent4>
    <a:accent5>
      <a:srgbClr val="8E8D88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BE5"/>
    </a:accent1>
    <a:accent2>
      <a:srgbClr val="28A7E0"/>
    </a:accent2>
    <a:accent3>
      <a:srgbClr val="498AFB"/>
    </a:accent3>
    <a:accent4>
      <a:srgbClr val="777B77"/>
    </a:accent4>
    <a:accent5>
      <a:srgbClr val="8E8D88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BE5"/>
    </a:accent1>
    <a:accent2>
      <a:srgbClr val="28A7E0"/>
    </a:accent2>
    <a:accent3>
      <a:srgbClr val="498AFB"/>
    </a:accent3>
    <a:accent4>
      <a:srgbClr val="777B77"/>
    </a:accent4>
    <a:accent5>
      <a:srgbClr val="8E8D88"/>
    </a:accent5>
    <a:accent6>
      <a:srgbClr val="ACACAC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BE5"/>
    </a:accent1>
    <a:accent2>
      <a:srgbClr val="28A7E0"/>
    </a:accent2>
    <a:accent3>
      <a:srgbClr val="498AFB"/>
    </a:accent3>
    <a:accent4>
      <a:srgbClr val="777B77"/>
    </a:accent4>
    <a:accent5>
      <a:srgbClr val="8E8D88"/>
    </a:accent5>
    <a:accent6>
      <a:srgbClr val="ACACAC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71</TotalTime>
  <Words>453</Words>
  <Application>Microsoft Office PowerPoint</Application>
  <PresentationFormat>宽屏</PresentationFormat>
  <Paragraphs>112</Paragraphs>
  <Slides>36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6</vt:i4>
      </vt:variant>
    </vt:vector>
  </HeadingPairs>
  <TitlesOfParts>
    <vt:vector size="44" baseType="lpstr">
      <vt:lpstr>等线</vt:lpstr>
      <vt:lpstr>Arial</vt:lpstr>
      <vt:lpstr>Arial</vt:lpstr>
      <vt:lpstr>Arial Black</vt:lpstr>
      <vt:lpstr>Calibri</vt:lpstr>
      <vt:lpstr>Impact</vt:lpstr>
      <vt:lpstr>主题5</vt:lpstr>
      <vt:lpstr>think-cell Slide</vt:lpstr>
      <vt:lpstr>MG-SPACE</vt:lpstr>
      <vt:lpstr>PowerPoint 演示文稿</vt:lpstr>
      <vt:lpstr>原理</vt:lpstr>
      <vt:lpstr>原理</vt:lpstr>
      <vt:lpstr>原理</vt:lpstr>
      <vt:lpstr>原理</vt:lpstr>
      <vt:lpstr>使用方法</vt:lpstr>
      <vt:lpstr>使用方法</vt:lpstr>
      <vt:lpstr>使用方法</vt:lpstr>
      <vt:lpstr>使用方法</vt:lpstr>
      <vt:lpstr>使用方法</vt:lpstr>
      <vt:lpstr>使用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预防烫伤以及处理方法</vt:lpstr>
      <vt:lpstr>注意事项</vt:lpstr>
      <vt:lpstr>注意事项</vt:lpstr>
      <vt:lpstr>注意事项</vt:lpstr>
      <vt:lpstr>注意事项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技巧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yuanhan</cp:lastModifiedBy>
  <cp:revision>10</cp:revision>
  <cp:lastPrinted>2019-04-29T16:00:00Z</cp:lastPrinted>
  <dcterms:created xsi:type="dcterms:W3CDTF">2019-04-29T16:00:00Z</dcterms:created>
  <dcterms:modified xsi:type="dcterms:W3CDTF">2021-04-15T07:4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